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3.xml" ContentType="application/vnd.openxmlformats-officedocument.presentationml.tags+xml"/>
  <Override PartName="/ppt/tags/tag14.xml" ContentType="application/vnd.openxmlformats-officedocument.presentationml.tags+xml"/>
  <Override PartName="/ppt/notesSlides/notesSlide6.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7.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17.xml" ContentType="application/vnd.openxmlformats-officedocument.presentationml.tags+xml"/>
  <Override PartName="/ppt/tags/tag18.xml" ContentType="application/vnd.openxmlformats-officedocument.presentationml.tags+xml"/>
  <Override PartName="/ppt/notesSlides/notesSlide8.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2.xml" ContentType="application/vnd.openxmlformats-officedocument.drawingml.chartshapes+xml"/>
  <Override PartName="/ppt/tags/tag19.xml" ContentType="application/vnd.openxmlformats-officedocument.presentationml.tags+xml"/>
  <Override PartName="/ppt/tags/tag20.xml" ContentType="application/vnd.openxmlformats-officedocument.presentationml.tags+xml"/>
  <Override PartName="/ppt/notesSlides/notesSlide9.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21.xml" ContentType="application/vnd.openxmlformats-officedocument.presentationml.tags+xml"/>
  <Override PartName="/ppt/tags/tag22.xml" ContentType="application/vnd.openxmlformats-officedocument.presentationml.tags+xml"/>
  <Override PartName="/ppt/notesSlides/notesSlide10.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3.xml" ContentType="application/vnd.openxmlformats-officedocument.drawingml.chartshape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4.xml" ContentType="application/vnd.openxmlformats-officedocument.drawingml.chartshape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23.xml" ContentType="application/vnd.openxmlformats-officedocument.presentationml.tags+xml"/>
  <Override PartName="/ppt/tags/tag24.xml" ContentType="application/vnd.openxmlformats-officedocument.presentationml.tags+xml"/>
  <Override PartName="/ppt/notesSlides/notesSlide11.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drawings/drawing5.xml" ContentType="application/vnd.openxmlformats-officedocument.drawingml.chartshapes+xml"/>
  <Override PartName="/ppt/tags/tag25.xml" ContentType="application/vnd.openxmlformats-officedocument.presentationml.tags+xml"/>
  <Override PartName="/ppt/tags/tag26.xml" ContentType="application/vnd.openxmlformats-officedocument.presentationml.tags+xml"/>
  <Override PartName="/ppt/notesSlides/notesSlide12.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drawings/drawing6.xml" ContentType="application/vnd.openxmlformats-officedocument.drawingml.chartshapes+xml"/>
  <Override PartName="/ppt/tags/tag27.xml" ContentType="application/vnd.openxmlformats-officedocument.presentationml.tags+xml"/>
  <Override PartName="/ppt/tags/tag28.xml" ContentType="application/vnd.openxmlformats-officedocument.presentationml.tags+xml"/>
  <Override PartName="/ppt/notesSlides/notesSlide13.xml" ContentType="application/vnd.openxmlformats-officedocument.presentationml.notesSlide+xml"/>
  <Override PartName="/ppt/charts/chart14.xml" ContentType="application/vnd.openxmlformats-officedocument.drawingml.chart+xml"/>
  <Override PartName="/ppt/drawings/drawing7.xml" ContentType="application/vnd.openxmlformats-officedocument.drawingml.chartshapes+xml"/>
  <Override PartName="/ppt/charts/chart15.xml" ContentType="application/vnd.openxmlformats-officedocument.drawingml.chart+xml"/>
  <Override PartName="/ppt/drawings/drawing8.xml" ContentType="application/vnd.openxmlformats-officedocument.drawingml.chartshapes+xml"/>
  <Override PartName="/ppt/charts/chart16.xml" ContentType="application/vnd.openxmlformats-officedocument.drawingml.chart+xml"/>
  <Override PartName="/ppt/drawings/drawing9.xml" ContentType="application/vnd.openxmlformats-officedocument.drawingml.chartshapes+xml"/>
  <Override PartName="/ppt/charts/chart17.xml" ContentType="application/vnd.openxmlformats-officedocument.drawingml.chart+xml"/>
  <Override PartName="/ppt/drawings/drawing10.xml" ContentType="application/vnd.openxmlformats-officedocument.drawingml.chartshapes+xml"/>
  <Override PartName="/ppt/notesSlides/notesSlide14.xml" ContentType="application/vnd.openxmlformats-officedocument.presentationml.notesSlide+xml"/>
  <Override PartName="/ppt/charts/chart18.xml" ContentType="application/vnd.openxmlformats-officedocument.drawingml.chart+xml"/>
  <Override PartName="/ppt/charts/style14.xml" ContentType="application/vnd.ms-office.chartstyle+xml"/>
  <Override PartName="/ppt/charts/colors14.xml" ContentType="application/vnd.ms-office.chartcolorstyle+xml"/>
  <Override PartName="/ppt/drawings/drawing11.xml" ContentType="application/vnd.openxmlformats-officedocument.drawingml.chartshapes+xml"/>
  <Override PartName="/ppt/charts/chart19.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20.xml" ContentType="application/vnd.openxmlformats-officedocument.drawingml.chart+xml"/>
  <Override PartName="/ppt/charts/style16.xml" ContentType="application/vnd.ms-office.chartstyle+xml"/>
  <Override PartName="/ppt/charts/colors16.xml" ContentType="application/vnd.ms-office.chartcolorstyle+xml"/>
  <Override PartName="/ppt/drawings/drawing12.xml" ContentType="application/vnd.openxmlformats-officedocument.drawingml.chartshapes+xml"/>
  <Override PartName="/ppt/charts/chart21.xml" ContentType="application/vnd.openxmlformats-officedocument.drawingml.chart+xml"/>
  <Override PartName="/ppt/charts/style17.xml" ContentType="application/vnd.ms-office.chartstyle+xml"/>
  <Override PartName="/ppt/charts/colors17.xml" ContentType="application/vnd.ms-office.chartcolorstyle+xml"/>
  <Override PartName="/ppt/drawings/drawing13.xml" ContentType="application/vnd.openxmlformats-officedocument.drawingml.chartshapes+xml"/>
  <Override PartName="/ppt/charts/chart22.xml" ContentType="application/vnd.openxmlformats-officedocument.drawingml.chart+xml"/>
  <Override PartName="/ppt/charts/style18.xml" ContentType="application/vnd.ms-office.chartstyle+xml"/>
  <Override PartName="/ppt/charts/colors18.xml" ContentType="application/vnd.ms-office.chartcolorstyle+xml"/>
  <Override PartName="/ppt/tags/tag29.xml" ContentType="application/vnd.openxmlformats-officedocument.presentationml.tags+xml"/>
  <Override PartName="/ppt/tags/tag30.xml" ContentType="application/vnd.openxmlformats-officedocument.presentationml.tags+xml"/>
  <Override PartName="/ppt/notesSlides/notesSlide15.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6.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7.xml" ContentType="application/vnd.openxmlformats-officedocument.presentationml.notesSlide+xml"/>
  <Override PartName="/ppt/charts/chart23.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4.xml" ContentType="application/vnd.openxmlformats-officedocument.drawingml.chart+xml"/>
  <Override PartName="/ppt/charts/style20.xml" ContentType="application/vnd.ms-office.chartstyle+xml"/>
  <Override PartName="/ppt/charts/colors20.xml" ContentType="application/vnd.ms-office.chartcolorstyle+xml"/>
  <Override PartName="/ppt/tags/tag35.xml" ContentType="application/vnd.openxmlformats-officedocument.presentationml.tags+xml"/>
  <Override PartName="/ppt/tags/tag36.xml" ContentType="application/vnd.openxmlformats-officedocument.presentationml.tags+xml"/>
  <Override PartName="/ppt/notesSlides/notesSlide18.xml" ContentType="application/vnd.openxmlformats-officedocument.presentationml.notesSlide+xml"/>
  <Override PartName="/ppt/charts/chart25.xml" ContentType="application/vnd.openxmlformats-officedocument.drawingml.chart+xml"/>
  <Override PartName="/ppt/charts/style21.xml" ContentType="application/vnd.ms-office.chartstyle+xml"/>
  <Override PartName="/ppt/charts/colors21.xml" ContentType="application/vnd.ms-office.chartcolorstyle+xml"/>
  <Override PartName="/ppt/drawings/drawing14.xml" ContentType="application/vnd.openxmlformats-officedocument.drawingml.chartshapes+xml"/>
  <Override PartName="/ppt/tags/tag37.xml" ContentType="application/vnd.openxmlformats-officedocument.presentationml.tags+xml"/>
  <Override PartName="/ppt/tags/tag38.xml" ContentType="application/vnd.openxmlformats-officedocument.presentationml.tags+xml"/>
  <Override PartName="/ppt/notesSlides/notesSlide19.xml" ContentType="application/vnd.openxmlformats-officedocument.presentationml.notesSlide+xml"/>
  <Override PartName="/ppt/charts/chart26.xml" ContentType="application/vnd.openxmlformats-officedocument.drawingml.chart+xml"/>
  <Override PartName="/ppt/charts/style22.xml" ContentType="application/vnd.ms-office.chartstyle+xml"/>
  <Override PartName="/ppt/charts/colors22.xml" ContentType="application/vnd.ms-office.chartcolorstyle+xml"/>
  <Override PartName="/ppt/drawings/drawing15.xml" ContentType="application/vnd.openxmlformats-officedocument.drawingml.chartshapes+xml"/>
  <Override PartName="/ppt/tags/tag39.xml" ContentType="application/vnd.openxmlformats-officedocument.presentationml.tags+xml"/>
  <Override PartName="/ppt/tags/tag40.xml" ContentType="application/vnd.openxmlformats-officedocument.presentationml.tags+xml"/>
  <Override PartName="/ppt/notesSlides/notesSlide20.xml" ContentType="application/vnd.openxmlformats-officedocument.presentationml.notesSlide+xml"/>
  <Override PartName="/ppt/charts/chart27.xml" ContentType="application/vnd.openxmlformats-officedocument.drawingml.chart+xml"/>
  <Override PartName="/ppt/charts/style23.xml" ContentType="application/vnd.ms-office.chartstyle+xml"/>
  <Override PartName="/ppt/charts/colors23.xml" ContentType="application/vnd.ms-office.chartcolorstyle+xml"/>
  <Override PartName="/ppt/tags/tag41.xml" ContentType="application/vnd.openxmlformats-officedocument.presentationml.tags+xml"/>
  <Override PartName="/ppt/tags/tag42.xml" ContentType="application/vnd.openxmlformats-officedocument.presentationml.tags+xml"/>
  <Override PartName="/ppt/notesSlides/notesSlide21.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22.xml" ContentType="application/vnd.openxmlformats-officedocument.presentationml.notesSlide+xml"/>
  <Override PartName="/ppt/charts/chart28.xml" ContentType="application/vnd.openxmlformats-officedocument.drawingml.chart+xml"/>
  <Override PartName="/ppt/charts/style24.xml" ContentType="application/vnd.ms-office.chartstyle+xml"/>
  <Override PartName="/ppt/charts/colors24.xml" ContentType="application/vnd.ms-office.chartcolorstyle+xml"/>
  <Override PartName="/ppt/drawings/drawing16.xml" ContentType="application/vnd.openxmlformats-officedocument.drawingml.chartshapes+xml"/>
  <Override PartName="/ppt/tags/tag45.xml" ContentType="application/vnd.openxmlformats-officedocument.presentationml.tags+xml"/>
  <Override PartName="/ppt/tags/tag46.xml" ContentType="application/vnd.openxmlformats-officedocument.presentationml.tags+xml"/>
  <Override PartName="/ppt/notesSlides/notesSlide23.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24.xml" ContentType="application/vnd.openxmlformats-officedocument.presentationml.notesSlide+xml"/>
  <Override PartName="/ppt/charts/chart29.xml" ContentType="application/vnd.openxmlformats-officedocument.drawingml.chart+xml"/>
  <Override PartName="/ppt/charts/style25.xml" ContentType="application/vnd.ms-office.chartstyle+xml"/>
  <Override PartName="/ppt/charts/colors25.xml" ContentType="application/vnd.ms-office.chartcolorstyle+xml"/>
  <Override PartName="/ppt/tags/tag49.xml" ContentType="application/vnd.openxmlformats-officedocument.presentationml.tags+xml"/>
  <Override PartName="/ppt/tags/tag50.xml" ContentType="application/vnd.openxmlformats-officedocument.presentationml.tags+xml"/>
  <Override PartName="/ppt/notesSlides/notesSlide25.xml" ContentType="application/vnd.openxmlformats-officedocument.presentationml.notesSlide+xml"/>
  <Override PartName="/ppt/charts/chart30.xml" ContentType="application/vnd.openxmlformats-officedocument.drawingml.chart+xml"/>
  <Override PartName="/ppt/charts/style26.xml" ContentType="application/vnd.ms-office.chartstyle+xml"/>
  <Override PartName="/ppt/charts/colors26.xml" ContentType="application/vnd.ms-office.chartcolorstyle+xml"/>
  <Override PartName="/ppt/drawings/drawing17.xml" ContentType="application/vnd.openxmlformats-officedocument.drawingml.chartshapes+xml"/>
  <Override PartName="/ppt/charts/chart31.xml" ContentType="application/vnd.openxmlformats-officedocument.drawingml.chart+xml"/>
  <Override PartName="/ppt/charts/style27.xml" ContentType="application/vnd.ms-office.chartstyle+xml"/>
  <Override PartName="/ppt/charts/colors27.xml" ContentType="application/vnd.ms-office.chartcolorstyle+xml"/>
  <Override PartName="/ppt/drawings/drawing18.xml" ContentType="application/vnd.openxmlformats-officedocument.drawingml.chartshapes+xml"/>
  <Override PartName="/ppt/charts/chart32.xml" ContentType="application/vnd.openxmlformats-officedocument.drawingml.chart+xml"/>
  <Override PartName="/ppt/charts/style28.xml" ContentType="application/vnd.ms-office.chartstyle+xml"/>
  <Override PartName="/ppt/charts/colors28.xml" ContentType="application/vnd.ms-office.chartcolorstyle+xml"/>
  <Override PartName="/ppt/drawings/drawing19.xml" ContentType="application/vnd.openxmlformats-officedocument.drawingml.chartshape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6"/>
  </p:notesMasterIdLst>
  <p:sldIdLst>
    <p:sldId id="363" r:id="rId2"/>
    <p:sldId id="436" r:id="rId3"/>
    <p:sldId id="431" r:id="rId4"/>
    <p:sldId id="423" r:id="rId5"/>
    <p:sldId id="430" r:id="rId6"/>
    <p:sldId id="441" r:id="rId7"/>
    <p:sldId id="432" r:id="rId8"/>
    <p:sldId id="429" r:id="rId9"/>
    <p:sldId id="434" r:id="rId10"/>
    <p:sldId id="433" r:id="rId11"/>
    <p:sldId id="427" r:id="rId12"/>
    <p:sldId id="425" r:id="rId13"/>
    <p:sldId id="399" r:id="rId14"/>
    <p:sldId id="400" r:id="rId15"/>
    <p:sldId id="437" r:id="rId16"/>
    <p:sldId id="424" r:id="rId17"/>
    <p:sldId id="264" r:id="rId18"/>
    <p:sldId id="265" r:id="rId19"/>
    <p:sldId id="438" r:id="rId20"/>
    <p:sldId id="396" r:id="rId21"/>
    <p:sldId id="413" r:id="rId22"/>
    <p:sldId id="393" r:id="rId23"/>
    <p:sldId id="421" r:id="rId24"/>
    <p:sldId id="397" r:id="rId25"/>
    <p:sldId id="410" r:id="rId26"/>
    <p:sldId id="387" r:id="rId27"/>
    <p:sldId id="398" r:id="rId28"/>
    <p:sldId id="439" r:id="rId29"/>
    <p:sldId id="416" r:id="rId30"/>
    <p:sldId id="415" r:id="rId31"/>
    <p:sldId id="401" r:id="rId32"/>
    <p:sldId id="268" r:id="rId33"/>
    <p:sldId id="266" r:id="rId34"/>
    <p:sldId id="440" r:id="rId35"/>
  </p:sldIdLst>
  <p:sldSz cx="12192000" cy="6858000"/>
  <p:notesSz cx="7010400" cy="9296400"/>
  <p:defaultTextStyle>
    <a:defPPr>
      <a:defRPr lang="es-G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3963"/>
    <a:srgbClr val="0385B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ABE6A0A-9041-4617-94E2-9B3F90F18C8C}" v="394" dt="2021-08-24T17:25:52.238"/>
    <p1510:client id="{ED974807-E5CD-4A6B-857D-6502B8A07215}" v="346" dt="2021-08-24T19:32:06.687"/>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055" autoAdjust="0"/>
    <p:restoredTop sz="94660"/>
  </p:normalViewPr>
  <p:slideViewPr>
    <p:cSldViewPr snapToGrid="0">
      <p:cViewPr>
        <p:scale>
          <a:sx n="200" d="100"/>
          <a:sy n="200" d="100"/>
        </p:scale>
        <p:origin x="360" y="632"/>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Hoja_de_c_lculo_de_Microsoft_Excel.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Hoja_de_c_lculo_de_Microsoft_Excel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Hoja_de_c_lculo_de_Microsoft_Excel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Hoja_de_c_lculo_de_Microsoft_Excel11.xlsx"/><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chartUserShapes" Target="../drawings/drawing5.xml"/></Relationships>
</file>

<file path=ppt/charts/_rels/chart13.xml.rels><?xml version="1.0" encoding="UTF-8" standalone="yes"?>
<Relationships xmlns="http://schemas.openxmlformats.org/package/2006/relationships"><Relationship Id="rId3" Type="http://schemas.openxmlformats.org/officeDocument/2006/relationships/package" Target="../embeddings/Hoja_de_c_lculo_de_Microsoft_Excel12.xlsx"/><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chartUserShapes" Target="../drawings/drawing6.xml"/></Relationships>
</file>

<file path=ppt/charts/_rels/chart14.xml.rels><?xml version="1.0" encoding="UTF-8" standalone="yes"?>
<Relationships xmlns="http://schemas.openxmlformats.org/package/2006/relationships"><Relationship Id="rId2" Type="http://schemas.openxmlformats.org/officeDocument/2006/relationships/chartUserShapes" Target="../drawings/drawing7.xml"/><Relationship Id="rId1" Type="http://schemas.openxmlformats.org/officeDocument/2006/relationships/oleObject" Target="file:///C:\Users\rrodas\AppData\Local\Microsoft\Windows\INetCache\Content.Outlook\30LC68V9\Resumen%20Diario%20COVID-19%20%20y%20Vacunacion%20(19082021%20Ajustada).xlsx" TargetMode="External"/></Relationships>
</file>

<file path=ppt/charts/_rels/chart15.xml.rels><?xml version="1.0" encoding="UTF-8" standalone="yes"?>
<Relationships xmlns="http://schemas.openxmlformats.org/package/2006/relationships"><Relationship Id="rId2" Type="http://schemas.openxmlformats.org/officeDocument/2006/relationships/chartUserShapes" Target="../drawings/drawing8.xml"/><Relationship Id="rId1" Type="http://schemas.openxmlformats.org/officeDocument/2006/relationships/oleObject" Target="file:///C:\Users\rrodas\AppData\Local\Microsoft\Windows\INetCache\Content.Outlook\30LC68V9\Resumen%20Diario%20COVID-19%20%20y%20Vacunacion%20(19082021%20Ajustada).xlsx" TargetMode="External"/></Relationships>
</file>

<file path=ppt/charts/_rels/chart16.xml.rels><?xml version="1.0" encoding="UTF-8" standalone="yes"?>
<Relationships xmlns="http://schemas.openxmlformats.org/package/2006/relationships"><Relationship Id="rId2" Type="http://schemas.openxmlformats.org/officeDocument/2006/relationships/chartUserShapes" Target="../drawings/drawing9.xml"/><Relationship Id="rId1" Type="http://schemas.openxmlformats.org/officeDocument/2006/relationships/oleObject" Target="file:///C:\Users\rrodas\AppData\Local\Microsoft\Windows\INetCache\Content.Outlook\30LC68V9\Resumen%20Diario%20COVID-19%20%20y%20Vacunacion%20(19082021%20Ajustada).xlsx" TargetMode="External"/></Relationships>
</file>

<file path=ppt/charts/_rels/chart17.xml.rels><?xml version="1.0" encoding="UTF-8" standalone="yes"?>
<Relationships xmlns="http://schemas.openxmlformats.org/package/2006/relationships"><Relationship Id="rId2" Type="http://schemas.openxmlformats.org/officeDocument/2006/relationships/chartUserShapes" Target="../drawings/drawing10.xml"/><Relationship Id="rId1" Type="http://schemas.openxmlformats.org/officeDocument/2006/relationships/oleObject" Target="file:///C:\Users\rrodas\AppData\Local\Microsoft\Windows\INetCache\Content.Outlook\30LC68V9\Resumen%20Diario%20COVID-19%20%20y%20Vacunacion%20(19082021%20Ajustada).xlsx" TargetMode="External"/></Relationships>
</file>

<file path=ppt/charts/_rels/chart18.xml.rels><?xml version="1.0" encoding="UTF-8" standalone="yes"?>
<Relationships xmlns="http://schemas.openxmlformats.org/package/2006/relationships"><Relationship Id="rId3" Type="http://schemas.openxmlformats.org/officeDocument/2006/relationships/package" Target="../embeddings/Hoja_de_c_lculo_de_Microsoft_Excel13.xlsx"/><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chartUserShapes" Target="../drawings/drawing11.xml"/></Relationships>
</file>

<file path=ppt/charts/_rels/chart19.xml.rels><?xml version="1.0" encoding="UTF-8" standalone="yes"?>
<Relationships xmlns="http://schemas.openxmlformats.org/package/2006/relationships"><Relationship Id="rId3" Type="http://schemas.openxmlformats.org/officeDocument/2006/relationships/package" Target="../embeddings/Hoja_de_c_lculo_de_Microsoft_Excel14.xlsx"/><Relationship Id="rId2" Type="http://schemas.microsoft.com/office/2011/relationships/chartColorStyle" Target="colors15.xml"/><Relationship Id="rId1" Type="http://schemas.microsoft.com/office/2011/relationships/chartStyle" Target="style15.xml"/></Relationships>
</file>

<file path=ppt/charts/_rels/chart2.xml.rels><?xml version="1.0" encoding="UTF-8" standalone="yes"?>
<Relationships xmlns="http://schemas.openxmlformats.org/package/2006/relationships"><Relationship Id="rId3" Type="http://schemas.openxmlformats.org/officeDocument/2006/relationships/package" Target="../embeddings/Hoja_de_c_lculo_de_Microsoft_Excel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Hoja_de_c_lculo_de_Microsoft_Excel15.xlsx"/><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chartUserShapes" Target="../drawings/drawing12.xml"/></Relationships>
</file>

<file path=ppt/charts/_rels/chart21.xml.rels><?xml version="1.0" encoding="UTF-8" standalone="yes"?>
<Relationships xmlns="http://schemas.openxmlformats.org/package/2006/relationships"><Relationship Id="rId3" Type="http://schemas.openxmlformats.org/officeDocument/2006/relationships/package" Target="../embeddings/Hoja_de_c_lculo_de_Microsoft_Excel16.xlsx"/><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chartUserShapes" Target="../drawings/drawing13.xml"/></Relationships>
</file>

<file path=ppt/charts/_rels/chart22.xml.rels><?xml version="1.0" encoding="UTF-8" standalone="yes"?>
<Relationships xmlns="http://schemas.openxmlformats.org/package/2006/relationships"><Relationship Id="rId3" Type="http://schemas.openxmlformats.org/officeDocument/2006/relationships/package" Target="../embeddings/Hoja_de_c_lculo_de_Microsoft_Excel17.xlsx"/><Relationship Id="rId2" Type="http://schemas.microsoft.com/office/2011/relationships/chartColorStyle" Target="colors18.xml"/><Relationship Id="rId1" Type="http://schemas.microsoft.com/office/2011/relationships/chartStyle" Target="style18.xml"/></Relationships>
</file>

<file path=ppt/charts/_rels/chart23.xml.rels><?xml version="1.0" encoding="UTF-8" standalone="yes"?>
<Relationships xmlns="http://schemas.openxmlformats.org/package/2006/relationships"><Relationship Id="rId3" Type="http://schemas.openxmlformats.org/officeDocument/2006/relationships/package" Target="../embeddings/Hoja_de_c_lculo_de_Microsoft_Excel18.xlsx"/><Relationship Id="rId2" Type="http://schemas.microsoft.com/office/2011/relationships/chartColorStyle" Target="colors19.xml"/><Relationship Id="rId1" Type="http://schemas.microsoft.com/office/2011/relationships/chartStyle" Target="style19.xml"/></Relationships>
</file>

<file path=ppt/charts/_rels/chart24.xml.rels><?xml version="1.0" encoding="UTF-8" standalone="yes"?>
<Relationships xmlns="http://schemas.openxmlformats.org/package/2006/relationships"><Relationship Id="rId3" Type="http://schemas.openxmlformats.org/officeDocument/2006/relationships/package" Target="../embeddings/Hoja_de_c_lculo_de_Microsoft_Excel19.xlsx"/><Relationship Id="rId2" Type="http://schemas.microsoft.com/office/2011/relationships/chartColorStyle" Target="colors20.xml"/><Relationship Id="rId1" Type="http://schemas.microsoft.com/office/2011/relationships/chartStyle" Target="style20.xml"/></Relationships>
</file>

<file path=ppt/charts/_rels/chart25.xml.rels><?xml version="1.0" encoding="UTF-8" standalone="yes"?>
<Relationships xmlns="http://schemas.openxmlformats.org/package/2006/relationships"><Relationship Id="rId3" Type="http://schemas.openxmlformats.org/officeDocument/2006/relationships/package" Target="../embeddings/Hoja_de_c_lculo_de_Microsoft_Excel20.xlsx"/><Relationship Id="rId2" Type="http://schemas.microsoft.com/office/2011/relationships/chartColorStyle" Target="colors21.xml"/><Relationship Id="rId1" Type="http://schemas.microsoft.com/office/2011/relationships/chartStyle" Target="style21.xml"/><Relationship Id="rId4" Type="http://schemas.openxmlformats.org/officeDocument/2006/relationships/chartUserShapes" Target="../drawings/drawing14.xml"/></Relationships>
</file>

<file path=ppt/charts/_rels/chart26.xml.rels><?xml version="1.0" encoding="UTF-8" standalone="yes"?>
<Relationships xmlns="http://schemas.openxmlformats.org/package/2006/relationships"><Relationship Id="rId3" Type="http://schemas.openxmlformats.org/officeDocument/2006/relationships/package" Target="../embeddings/Hoja_de_c_lculo_de_Microsoft_Excel21.xlsx"/><Relationship Id="rId2" Type="http://schemas.microsoft.com/office/2011/relationships/chartColorStyle" Target="colors22.xml"/><Relationship Id="rId1" Type="http://schemas.microsoft.com/office/2011/relationships/chartStyle" Target="style22.xml"/><Relationship Id="rId4" Type="http://schemas.openxmlformats.org/officeDocument/2006/relationships/chartUserShapes" Target="../drawings/drawing15.xml"/></Relationships>
</file>

<file path=ppt/charts/_rels/chart27.xml.rels><?xml version="1.0" encoding="UTF-8" standalone="yes"?>
<Relationships xmlns="http://schemas.openxmlformats.org/package/2006/relationships"><Relationship Id="rId3" Type="http://schemas.openxmlformats.org/officeDocument/2006/relationships/package" Target="../embeddings/Hoja_de_c_lculo_de_Microsoft_Excel22.xlsx"/><Relationship Id="rId2" Type="http://schemas.microsoft.com/office/2011/relationships/chartColorStyle" Target="colors23.xml"/><Relationship Id="rId1" Type="http://schemas.microsoft.com/office/2011/relationships/chartStyle" Target="style23.xml"/></Relationships>
</file>

<file path=ppt/charts/_rels/chart28.xml.rels><?xml version="1.0" encoding="UTF-8" standalone="yes"?>
<Relationships xmlns="http://schemas.openxmlformats.org/package/2006/relationships"><Relationship Id="rId3" Type="http://schemas.openxmlformats.org/officeDocument/2006/relationships/image" Target="../media/image19.jpg"/><Relationship Id="rId2" Type="http://schemas.microsoft.com/office/2011/relationships/chartColorStyle" Target="colors24.xml"/><Relationship Id="rId1" Type="http://schemas.microsoft.com/office/2011/relationships/chartStyle" Target="style24.xml"/><Relationship Id="rId5" Type="http://schemas.openxmlformats.org/officeDocument/2006/relationships/chartUserShapes" Target="../drawings/drawing16.xml"/><Relationship Id="rId4" Type="http://schemas.openxmlformats.org/officeDocument/2006/relationships/package" Target="../embeddings/Hoja_de_c_lculo_de_Microsoft_Excel23.xlsx"/></Relationships>
</file>

<file path=ppt/charts/_rels/chart29.xml.rels><?xml version="1.0" encoding="UTF-8" standalone="yes"?>
<Relationships xmlns="http://schemas.openxmlformats.org/package/2006/relationships"><Relationship Id="rId3" Type="http://schemas.openxmlformats.org/officeDocument/2006/relationships/package" Target="../embeddings/Hoja_de_c_lculo_de_Microsoft_Excel24.xlsx"/><Relationship Id="rId2" Type="http://schemas.microsoft.com/office/2011/relationships/chartColorStyle" Target="colors25.xml"/><Relationship Id="rId1" Type="http://schemas.microsoft.com/office/2011/relationships/chartStyle" Target="style25.xml"/></Relationships>
</file>

<file path=ppt/charts/_rels/chart3.xml.rels><?xml version="1.0" encoding="UTF-8" standalone="yes"?>
<Relationships xmlns="http://schemas.openxmlformats.org/package/2006/relationships"><Relationship Id="rId3" Type="http://schemas.openxmlformats.org/officeDocument/2006/relationships/package" Target="../embeddings/Hoja_de_c_lculo_de_Microsoft_Excel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30.xml.rels><?xml version="1.0" encoding="UTF-8" standalone="yes"?>
<Relationships xmlns="http://schemas.openxmlformats.org/package/2006/relationships"><Relationship Id="rId3" Type="http://schemas.openxmlformats.org/officeDocument/2006/relationships/package" Target="../embeddings/Hoja_de_c_lculo_de_Microsoft_Excel25.xlsx"/><Relationship Id="rId2" Type="http://schemas.microsoft.com/office/2011/relationships/chartColorStyle" Target="colors26.xml"/><Relationship Id="rId1" Type="http://schemas.microsoft.com/office/2011/relationships/chartStyle" Target="style26.xml"/><Relationship Id="rId4" Type="http://schemas.openxmlformats.org/officeDocument/2006/relationships/chartUserShapes" Target="../drawings/drawing17.xml"/></Relationships>
</file>

<file path=ppt/charts/_rels/chart31.xml.rels><?xml version="1.0" encoding="UTF-8" standalone="yes"?>
<Relationships xmlns="http://schemas.openxmlformats.org/package/2006/relationships"><Relationship Id="rId3" Type="http://schemas.openxmlformats.org/officeDocument/2006/relationships/package" Target="../embeddings/Hoja_de_c_lculo_de_Microsoft_Excel26.xlsx"/><Relationship Id="rId2" Type="http://schemas.microsoft.com/office/2011/relationships/chartColorStyle" Target="colors27.xml"/><Relationship Id="rId1" Type="http://schemas.microsoft.com/office/2011/relationships/chartStyle" Target="style27.xml"/><Relationship Id="rId4" Type="http://schemas.openxmlformats.org/officeDocument/2006/relationships/chartUserShapes" Target="../drawings/drawing18.xml"/></Relationships>
</file>

<file path=ppt/charts/_rels/chart32.xml.rels><?xml version="1.0" encoding="UTF-8" standalone="yes"?>
<Relationships xmlns="http://schemas.openxmlformats.org/package/2006/relationships"><Relationship Id="rId3" Type="http://schemas.openxmlformats.org/officeDocument/2006/relationships/package" Target="../embeddings/Hoja_de_c_lculo_de_Microsoft_Excel27.xlsx"/><Relationship Id="rId2" Type="http://schemas.microsoft.com/office/2011/relationships/chartColorStyle" Target="colors28.xml"/><Relationship Id="rId1" Type="http://schemas.microsoft.com/office/2011/relationships/chartStyle" Target="style28.xml"/><Relationship Id="rId4" Type="http://schemas.openxmlformats.org/officeDocument/2006/relationships/chartUserShapes" Target="../drawings/drawing19.xml"/></Relationships>
</file>

<file path=ppt/charts/_rels/chart4.xml.rels><?xml version="1.0" encoding="UTF-8" standalone="yes"?>
<Relationships xmlns="http://schemas.openxmlformats.org/package/2006/relationships"><Relationship Id="rId3" Type="http://schemas.openxmlformats.org/officeDocument/2006/relationships/package" Target="../embeddings/Hoja_de_c_lculo_de_Microsoft_Excel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Hoja_de_c_lculo_de_Microsoft_Excel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Hoja_de_c_lculo_de_Microsoft_Excel5.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2.xml"/></Relationships>
</file>

<file path=ppt/charts/_rels/chart7.xml.rels><?xml version="1.0" encoding="UTF-8" standalone="yes"?>
<Relationships xmlns="http://schemas.openxmlformats.org/package/2006/relationships"><Relationship Id="rId3" Type="http://schemas.openxmlformats.org/officeDocument/2006/relationships/package" Target="../embeddings/Hoja_de_c_lculo_de_Microsoft_Excel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Hoja_de_c_lculo_de_Microsoft_Excel7.xlsx"/><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3.xml"/></Relationships>
</file>

<file path=ppt/charts/_rels/chart9.xml.rels><?xml version="1.0" encoding="UTF-8" standalone="yes"?>
<Relationships xmlns="http://schemas.openxmlformats.org/package/2006/relationships"><Relationship Id="rId3" Type="http://schemas.openxmlformats.org/officeDocument/2006/relationships/package" Target="../embeddings/Hoja_de_c_lculo_de_Microsoft_Excel8.xlsx"/><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MX"/>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accent1">
                    <a:lumMod val="50000"/>
                  </a:schemeClr>
                </a:solidFill>
                <a:latin typeface="+mn-lt"/>
                <a:ea typeface="+mn-ea"/>
                <a:cs typeface="+mn-cs"/>
              </a:defRPr>
            </a:pPr>
            <a:r>
              <a:rPr lang="en-US" sz="1400" dirty="0" err="1">
                <a:solidFill>
                  <a:schemeClr val="accent1">
                    <a:lumMod val="50000"/>
                  </a:schemeClr>
                </a:solidFill>
              </a:rPr>
              <a:t>Millones</a:t>
            </a:r>
            <a:r>
              <a:rPr lang="en-US" sz="1400" dirty="0">
                <a:solidFill>
                  <a:schemeClr val="accent1">
                    <a:lumMod val="50000"/>
                  </a:schemeClr>
                </a:solidFill>
              </a:rPr>
              <a:t> de </a:t>
            </a:r>
            <a:r>
              <a:rPr lang="en-US" sz="1400" dirty="0" err="1">
                <a:solidFill>
                  <a:schemeClr val="accent1">
                    <a:lumMod val="50000"/>
                  </a:schemeClr>
                </a:solidFill>
              </a:rPr>
              <a:t>quetzales</a:t>
            </a:r>
            <a:endParaRPr lang="en-US" sz="1400" dirty="0">
              <a:solidFill>
                <a:schemeClr val="accent1">
                  <a:lumMod val="50000"/>
                </a:schemeClr>
              </a:solidFill>
            </a:endParaRPr>
          </a:p>
        </c:rich>
      </c:tx>
      <c:layout>
        <c:manualLayout>
          <c:xMode val="edge"/>
          <c:yMode val="edge"/>
          <c:x val="0.36336395450568681"/>
          <c:y val="0"/>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accent1">
                  <a:lumMod val="50000"/>
                </a:schemeClr>
              </a:solidFill>
              <a:latin typeface="+mn-lt"/>
              <a:ea typeface="+mn-ea"/>
              <a:cs typeface="+mn-cs"/>
            </a:defRPr>
          </a:pPr>
          <a:endParaRPr lang="es-GT"/>
        </a:p>
      </c:txPr>
    </c:title>
    <c:autoTitleDeleted val="0"/>
    <c:plotArea>
      <c:layout>
        <c:manualLayout>
          <c:layoutTarget val="inner"/>
          <c:xMode val="edge"/>
          <c:yMode val="edge"/>
          <c:x val="4.4867047869016373E-2"/>
          <c:y val="9.9250402068833093E-2"/>
          <c:w val="0.95513295213098359"/>
          <c:h val="0.76792023784673191"/>
        </c:manualLayout>
      </c:layout>
      <c:barChart>
        <c:barDir val="col"/>
        <c:grouping val="stacked"/>
        <c:varyColors val="0"/>
        <c:ser>
          <c:idx val="0"/>
          <c:order val="0"/>
          <c:tx>
            <c:strRef>
              <c:f>Hoja1!$B$1</c:f>
              <c:strCache>
                <c:ptCount val="1"/>
                <c:pt idx="0">
                  <c:v>Serie 1</c:v>
                </c:pt>
              </c:strCache>
            </c:strRef>
          </c:tx>
          <c:spPr>
            <a:solidFill>
              <a:srgbClr val="0B3963"/>
            </a:solidFill>
            <a:ln>
              <a:noFill/>
            </a:ln>
            <a:effectLst/>
            <a:scene3d>
              <a:camera prst="orthographicFront"/>
              <a:lightRig rig="threePt" dir="t"/>
            </a:scene3d>
            <a:sp3d/>
          </c:spPr>
          <c:invertIfNegative val="0"/>
          <c:dLbls>
            <c:dLbl>
              <c:idx val="0"/>
              <c:layout>
                <c:manualLayout>
                  <c:x val="7.2418682039744808E-3"/>
                  <c:y val="-0.3994834323849752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08E-4DC9-B33E-4145EAC0F675}"/>
                </c:ext>
              </c:extLst>
            </c:dLbl>
            <c:dLbl>
              <c:idx val="1"/>
              <c:layout>
                <c:manualLayout>
                  <c:x val="0"/>
                  <c:y val="-0.1624394485443092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08E-4DC9-B33E-4145EAC0F675}"/>
                </c:ext>
              </c:extLst>
            </c:dLbl>
            <c:dLbl>
              <c:idx val="2"/>
              <c:layout>
                <c:manualLayout>
                  <c:x val="2.2815423226100009E-3"/>
                  <c:y val="-5.567817630373662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08E-4DC9-B33E-4145EAC0F675}"/>
                </c:ext>
              </c:extLst>
            </c:dLbl>
            <c:dLbl>
              <c:idx val="3"/>
              <c:layout>
                <c:manualLayout>
                  <c:x val="-2.2815423226100846E-3"/>
                  <c:y val="-6.763459460455073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08E-4DC9-B33E-4145EAC0F675}"/>
                </c:ext>
              </c:extLst>
            </c:dLbl>
            <c:numFmt formatCode="#,##0.0" sourceLinked="0"/>
            <c:spPr>
              <a:noFill/>
              <a:ln>
                <a:noFill/>
              </a:ln>
              <a:effectLst/>
            </c:spPr>
            <c:txPr>
              <a:bodyPr rot="0" spcFirstLastPara="1" vertOverflow="ellipsis" vert="horz" wrap="square" lIns="38100" tIns="19050" rIns="38100" bIns="19050" anchor="t" anchorCtr="1">
                <a:spAutoFit/>
              </a:bodyPr>
              <a:lstStyle/>
              <a:p>
                <a:pPr>
                  <a:defRPr sz="1300" b="1" i="0" u="none" strike="noStrike" kern="1200" baseline="0">
                    <a:solidFill>
                      <a:schemeClr val="tx1"/>
                    </a:solidFill>
                    <a:latin typeface="+mn-lt"/>
                    <a:ea typeface="+mn-ea"/>
                    <a:cs typeface="+mn-cs"/>
                  </a:defRPr>
                </a:pPr>
                <a:endParaRPr lang="es-GT"/>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5</c:f>
              <c:strCache>
                <c:ptCount val="4"/>
                <c:pt idx="0">
                  <c:v>Tributarios</c:v>
                </c:pt>
                <c:pt idx="1">
                  <c:v>Bonos y préstamos</c:v>
                </c:pt>
                <c:pt idx="2">
                  <c:v>No tributarios</c:v>
                </c:pt>
                <c:pt idx="3">
                  <c:v>Saldo de Caja</c:v>
                </c:pt>
              </c:strCache>
            </c:strRef>
          </c:cat>
          <c:val>
            <c:numRef>
              <c:f>Hoja1!$B$2:$B$5</c:f>
              <c:numCache>
                <c:formatCode>#,##0.00</c:formatCode>
                <c:ptCount val="4"/>
                <c:pt idx="0" formatCode="General">
                  <c:v>64027</c:v>
                </c:pt>
                <c:pt idx="1">
                  <c:v>22147.9</c:v>
                </c:pt>
                <c:pt idx="2" formatCode="General">
                  <c:v>4799.1000000000004</c:v>
                </c:pt>
                <c:pt idx="3" formatCode="General">
                  <c:v>3380</c:v>
                </c:pt>
              </c:numCache>
            </c:numRef>
          </c:val>
          <c:extLst>
            <c:ext xmlns:c16="http://schemas.microsoft.com/office/drawing/2014/chart" uri="{C3380CC4-5D6E-409C-BE32-E72D297353CC}">
              <c16:uniqueId val="{00000004-D08E-4DC9-B33E-4145EAC0F675}"/>
            </c:ext>
          </c:extLst>
        </c:ser>
        <c:dLbls>
          <c:showLegendKey val="0"/>
          <c:showVal val="0"/>
          <c:showCatName val="0"/>
          <c:showSerName val="0"/>
          <c:showPercent val="0"/>
          <c:showBubbleSize val="0"/>
        </c:dLbls>
        <c:gapWidth val="60"/>
        <c:overlap val="100"/>
        <c:axId val="810742040"/>
        <c:axId val="810743680"/>
      </c:barChart>
      <c:catAx>
        <c:axId val="8107420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300" b="1" i="0" u="none" strike="noStrike" kern="1200" baseline="0">
                <a:solidFill>
                  <a:schemeClr val="tx1">
                    <a:lumMod val="65000"/>
                    <a:lumOff val="35000"/>
                  </a:schemeClr>
                </a:solidFill>
                <a:latin typeface="+mn-lt"/>
                <a:ea typeface="+mn-ea"/>
                <a:cs typeface="+mn-cs"/>
              </a:defRPr>
            </a:pPr>
            <a:endParaRPr lang="es-GT"/>
          </a:p>
        </c:txPr>
        <c:crossAx val="810743680"/>
        <c:crosses val="autoZero"/>
        <c:auto val="1"/>
        <c:lblAlgn val="ctr"/>
        <c:lblOffset val="100"/>
        <c:noMultiLvlLbl val="0"/>
      </c:catAx>
      <c:valAx>
        <c:axId val="810743680"/>
        <c:scaling>
          <c:orientation val="minMax"/>
        </c:scaling>
        <c:delete val="1"/>
        <c:axPos val="l"/>
        <c:numFmt formatCode="General" sourceLinked="1"/>
        <c:majorTickMark val="none"/>
        <c:minorTickMark val="none"/>
        <c:tickLblPos val="nextTo"/>
        <c:crossAx val="8107420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GT"/>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MX"/>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chemeClr val="tx1"/>
                </a:solidFill>
                <a:latin typeface="+mn-lt"/>
                <a:ea typeface="+mn-ea"/>
                <a:cs typeface="+mn-cs"/>
              </a:defRPr>
            </a:pPr>
            <a:r>
              <a:rPr lang="en-US" sz="1600" b="1" dirty="0">
                <a:solidFill>
                  <a:srgbClr val="0B3963"/>
                </a:solidFill>
              </a:rPr>
              <a:t>Deficit Fiscal</a:t>
            </a:r>
          </a:p>
        </c:rich>
      </c:tx>
      <c:layout>
        <c:manualLayout>
          <c:xMode val="edge"/>
          <c:yMode val="edge"/>
          <c:x val="0.39150151339250111"/>
          <c:y val="0"/>
        </c:manualLayout>
      </c:layout>
      <c:overlay val="0"/>
      <c:spPr>
        <a:noFill/>
        <a:ln>
          <a:noFill/>
        </a:ln>
        <a:effectLst/>
      </c:spPr>
      <c:txPr>
        <a:bodyPr rot="0" spcFirstLastPara="1" vertOverflow="ellipsis" vert="horz" wrap="square" anchor="ctr" anchorCtr="1"/>
        <a:lstStyle/>
        <a:p>
          <a:pPr>
            <a:defRPr sz="1600" b="1" i="0" u="none" strike="noStrike" kern="1200" spc="0" baseline="0">
              <a:solidFill>
                <a:schemeClr val="tx1"/>
              </a:solidFill>
              <a:latin typeface="+mn-lt"/>
              <a:ea typeface="+mn-ea"/>
              <a:cs typeface="+mn-cs"/>
            </a:defRPr>
          </a:pPr>
          <a:endParaRPr lang="es-GT"/>
        </a:p>
      </c:txPr>
    </c:title>
    <c:autoTitleDeleted val="0"/>
    <c:plotArea>
      <c:layout/>
      <c:barChart>
        <c:barDir val="col"/>
        <c:grouping val="clustered"/>
        <c:varyColors val="0"/>
        <c:ser>
          <c:idx val="0"/>
          <c:order val="0"/>
          <c:tx>
            <c:strRef>
              <c:f>Hoja1!$B$1</c:f>
              <c:strCache>
                <c:ptCount val="1"/>
                <c:pt idx="0">
                  <c:v>Serie 1</c:v>
                </c:pt>
              </c:strCache>
            </c:strRef>
          </c:tx>
          <c:spPr>
            <a:solidFill>
              <a:srgbClr val="FF6969"/>
            </a:solidFill>
            <a:ln>
              <a:noFill/>
            </a:ln>
            <a:effectLst/>
          </c:spPr>
          <c:invertIfNegative val="0"/>
          <c:dPt>
            <c:idx val="0"/>
            <c:invertIfNegative val="0"/>
            <c:bubble3D val="0"/>
            <c:spPr>
              <a:solidFill>
                <a:schemeClr val="accent5">
                  <a:lumMod val="75000"/>
                </a:schemeClr>
              </a:solidFill>
              <a:ln>
                <a:noFill/>
              </a:ln>
              <a:effectLst/>
            </c:spPr>
            <c:extLst>
              <c:ext xmlns:c16="http://schemas.microsoft.com/office/drawing/2014/chart" uri="{C3380CC4-5D6E-409C-BE32-E72D297353CC}">
                <c16:uniqueId val="{00000002-AEF1-894B-B401-0C958FEB8B60}"/>
              </c:ext>
            </c:extLst>
          </c:dPt>
          <c:dPt>
            <c:idx val="1"/>
            <c:invertIfNegative val="0"/>
            <c:bubble3D val="0"/>
            <c:spPr>
              <a:solidFill>
                <a:schemeClr val="accent5">
                  <a:lumMod val="75000"/>
                </a:schemeClr>
              </a:solidFill>
              <a:ln>
                <a:noFill/>
              </a:ln>
              <a:effectLst/>
            </c:spPr>
            <c:extLst>
              <c:ext xmlns:c16="http://schemas.microsoft.com/office/drawing/2014/chart" uri="{C3380CC4-5D6E-409C-BE32-E72D297353CC}">
                <c16:uniqueId val="{00000003-AEF1-894B-B401-0C958FEB8B60}"/>
              </c:ext>
            </c:extLst>
          </c:dPt>
          <c:dPt>
            <c:idx val="2"/>
            <c:invertIfNegative val="0"/>
            <c:bubble3D val="0"/>
            <c:spPr>
              <a:solidFill>
                <a:srgbClr val="0B3963"/>
              </a:solidFill>
              <a:ln>
                <a:noFill/>
              </a:ln>
              <a:effectLst/>
            </c:spPr>
            <c:extLst>
              <c:ext xmlns:c16="http://schemas.microsoft.com/office/drawing/2014/chart" uri="{C3380CC4-5D6E-409C-BE32-E72D297353CC}">
                <c16:uniqueId val="{00000001-AB91-4363-B01A-F94ED4276796}"/>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B3963"/>
                    </a:solidFill>
                    <a:latin typeface="+mn-lt"/>
                    <a:ea typeface="+mn-ea"/>
                    <a:cs typeface="+mn-cs"/>
                  </a:defRPr>
                </a:pPr>
                <a:endParaRPr lang="es-G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2020</c:v>
                </c:pt>
                <c:pt idx="1">
                  <c:v>Presupuesto vigente 2021</c:v>
                </c:pt>
                <c:pt idx="2">
                  <c:v>Estimación 2021</c:v>
                </c:pt>
              </c:strCache>
            </c:strRef>
          </c:cat>
          <c:val>
            <c:numRef>
              <c:f>Hoja1!$B$2:$B$4</c:f>
              <c:numCache>
                <c:formatCode>General</c:formatCode>
                <c:ptCount val="3"/>
                <c:pt idx="0">
                  <c:v>4.9000000000000004</c:v>
                </c:pt>
                <c:pt idx="1">
                  <c:v>5.4</c:v>
                </c:pt>
                <c:pt idx="2" formatCode="0.0">
                  <c:v>2.2999999999999998</c:v>
                </c:pt>
              </c:numCache>
            </c:numRef>
          </c:val>
          <c:extLst>
            <c:ext xmlns:c16="http://schemas.microsoft.com/office/drawing/2014/chart" uri="{C3380CC4-5D6E-409C-BE32-E72D297353CC}">
              <c16:uniqueId val="{00000002-AB91-4363-B01A-F94ED4276796}"/>
            </c:ext>
          </c:extLst>
        </c:ser>
        <c:dLbls>
          <c:showLegendKey val="0"/>
          <c:showVal val="0"/>
          <c:showCatName val="0"/>
          <c:showSerName val="0"/>
          <c:showPercent val="0"/>
          <c:showBubbleSize val="0"/>
        </c:dLbls>
        <c:gapWidth val="80"/>
        <c:overlap val="-27"/>
        <c:axId val="820041824"/>
        <c:axId val="820042152"/>
      </c:barChart>
      <c:catAx>
        <c:axId val="8200418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s-GT"/>
          </a:p>
        </c:txPr>
        <c:crossAx val="820042152"/>
        <c:crosses val="autoZero"/>
        <c:auto val="1"/>
        <c:lblAlgn val="ctr"/>
        <c:lblOffset val="100"/>
        <c:noMultiLvlLbl val="0"/>
      </c:catAx>
      <c:valAx>
        <c:axId val="820042152"/>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8200418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GT"/>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MX"/>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chemeClr val="tx1"/>
                </a:solidFill>
                <a:latin typeface="+mn-lt"/>
                <a:ea typeface="+mn-ea"/>
                <a:cs typeface="+mn-cs"/>
              </a:defRPr>
            </a:pPr>
            <a:r>
              <a:rPr lang="en-US" sz="1600" b="1" dirty="0" err="1">
                <a:solidFill>
                  <a:srgbClr val="0B3963"/>
                </a:solidFill>
              </a:rPr>
              <a:t>Deuda</a:t>
            </a:r>
            <a:r>
              <a:rPr lang="en-US" sz="1600" b="1" dirty="0">
                <a:solidFill>
                  <a:srgbClr val="0B3963"/>
                </a:solidFill>
              </a:rPr>
              <a:t> </a:t>
            </a:r>
            <a:r>
              <a:rPr lang="en-US" sz="1600" b="1" dirty="0" err="1">
                <a:solidFill>
                  <a:srgbClr val="0B3963"/>
                </a:solidFill>
              </a:rPr>
              <a:t>Pública</a:t>
            </a:r>
            <a:endParaRPr lang="en-US" sz="1600" b="1" dirty="0">
              <a:solidFill>
                <a:srgbClr val="0B3963"/>
              </a:solidFill>
            </a:endParaRPr>
          </a:p>
        </c:rich>
      </c:tx>
      <c:layout>
        <c:manualLayout>
          <c:xMode val="edge"/>
          <c:yMode val="edge"/>
          <c:x val="0.39150151339250111"/>
          <c:y val="0"/>
        </c:manualLayout>
      </c:layout>
      <c:overlay val="0"/>
      <c:spPr>
        <a:noFill/>
        <a:ln>
          <a:noFill/>
        </a:ln>
        <a:effectLst/>
      </c:spPr>
      <c:txPr>
        <a:bodyPr rot="0" spcFirstLastPara="1" vertOverflow="ellipsis" vert="horz" wrap="square" anchor="ctr" anchorCtr="1"/>
        <a:lstStyle/>
        <a:p>
          <a:pPr>
            <a:defRPr sz="1600" b="1" i="0" u="none" strike="noStrike" kern="1200" spc="0" baseline="0">
              <a:solidFill>
                <a:schemeClr val="tx1"/>
              </a:solidFill>
              <a:latin typeface="+mn-lt"/>
              <a:ea typeface="+mn-ea"/>
              <a:cs typeface="+mn-cs"/>
            </a:defRPr>
          </a:pPr>
          <a:endParaRPr lang="es-GT"/>
        </a:p>
      </c:txPr>
    </c:title>
    <c:autoTitleDeleted val="0"/>
    <c:plotArea>
      <c:layout/>
      <c:barChart>
        <c:barDir val="col"/>
        <c:grouping val="clustered"/>
        <c:varyColors val="0"/>
        <c:ser>
          <c:idx val="0"/>
          <c:order val="0"/>
          <c:tx>
            <c:strRef>
              <c:f>Hoja1!$B$1</c:f>
              <c:strCache>
                <c:ptCount val="1"/>
                <c:pt idx="0">
                  <c:v>Serie 1</c:v>
                </c:pt>
              </c:strCache>
            </c:strRef>
          </c:tx>
          <c:spPr>
            <a:solidFill>
              <a:schemeClr val="bg1">
                <a:lumMod val="75000"/>
              </a:schemeClr>
            </a:solidFill>
            <a:ln>
              <a:noFill/>
            </a:ln>
            <a:effectLst/>
          </c:spPr>
          <c:invertIfNegative val="0"/>
          <c:dPt>
            <c:idx val="2"/>
            <c:invertIfNegative val="0"/>
            <c:bubble3D val="0"/>
            <c:spPr>
              <a:solidFill>
                <a:schemeClr val="bg2">
                  <a:lumMod val="50000"/>
                </a:schemeClr>
              </a:solidFill>
              <a:ln>
                <a:noFill/>
              </a:ln>
              <a:effectLst/>
            </c:spPr>
            <c:extLst>
              <c:ext xmlns:c16="http://schemas.microsoft.com/office/drawing/2014/chart" uri="{C3380CC4-5D6E-409C-BE32-E72D297353CC}">
                <c16:uniqueId val="{00000001-7606-4DF8-A209-1D46BE7066AB}"/>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B3963"/>
                    </a:solidFill>
                    <a:latin typeface="+mn-lt"/>
                    <a:ea typeface="+mn-ea"/>
                    <a:cs typeface="+mn-cs"/>
                  </a:defRPr>
                </a:pPr>
                <a:endParaRPr lang="es-G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2020</c:v>
                </c:pt>
                <c:pt idx="1">
                  <c:v>Presupuesto vigente 2021</c:v>
                </c:pt>
                <c:pt idx="2">
                  <c:v>Estimación 2021</c:v>
                </c:pt>
              </c:strCache>
            </c:strRef>
          </c:cat>
          <c:val>
            <c:numRef>
              <c:f>Hoja1!$B$2:$B$4</c:f>
              <c:numCache>
                <c:formatCode>General</c:formatCode>
                <c:ptCount val="3"/>
                <c:pt idx="0">
                  <c:v>31.6</c:v>
                </c:pt>
                <c:pt idx="1">
                  <c:v>34.9</c:v>
                </c:pt>
                <c:pt idx="2">
                  <c:v>31.9</c:v>
                </c:pt>
              </c:numCache>
            </c:numRef>
          </c:val>
          <c:extLst>
            <c:ext xmlns:c16="http://schemas.microsoft.com/office/drawing/2014/chart" uri="{C3380CC4-5D6E-409C-BE32-E72D297353CC}">
              <c16:uniqueId val="{00000002-7606-4DF8-A209-1D46BE7066AB}"/>
            </c:ext>
          </c:extLst>
        </c:ser>
        <c:dLbls>
          <c:showLegendKey val="0"/>
          <c:showVal val="0"/>
          <c:showCatName val="0"/>
          <c:showSerName val="0"/>
          <c:showPercent val="0"/>
          <c:showBubbleSize val="0"/>
        </c:dLbls>
        <c:gapWidth val="80"/>
        <c:overlap val="-27"/>
        <c:axId val="820041824"/>
        <c:axId val="820042152"/>
      </c:barChart>
      <c:catAx>
        <c:axId val="8200418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s-GT"/>
          </a:p>
        </c:txPr>
        <c:crossAx val="820042152"/>
        <c:crosses val="autoZero"/>
        <c:auto val="1"/>
        <c:lblAlgn val="ctr"/>
        <c:lblOffset val="100"/>
        <c:noMultiLvlLbl val="0"/>
      </c:catAx>
      <c:valAx>
        <c:axId val="820042152"/>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8200418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GT"/>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MX"/>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s-GT" sz="1600" b="1" dirty="0">
                <a:solidFill>
                  <a:srgbClr val="0B3963"/>
                </a:solidFill>
              </a:rPr>
              <a:t>Indicador EMBI América Latina</a:t>
            </a:r>
          </a:p>
          <a:p>
            <a:pPr>
              <a:defRPr sz="1600" b="1"/>
            </a:pPr>
            <a:r>
              <a:rPr lang="es-GT" sz="1600" b="1" dirty="0">
                <a:solidFill>
                  <a:srgbClr val="0B3963"/>
                </a:solidFill>
              </a:rPr>
              <a:t>en puntos básicos  </a:t>
            </a:r>
          </a:p>
          <a:p>
            <a:pPr>
              <a:defRPr sz="1600" b="1"/>
            </a:pPr>
            <a:r>
              <a:rPr lang="es-GT" sz="1600" b="1" dirty="0">
                <a:solidFill>
                  <a:srgbClr val="0B3963"/>
                </a:solidFill>
              </a:rPr>
              <a:t>al 12 de agosto de 2021</a:t>
            </a:r>
          </a:p>
        </c:rich>
      </c:tx>
      <c:layout>
        <c:manualLayout>
          <c:xMode val="edge"/>
          <c:yMode val="edge"/>
          <c:x val="0.37710363153232956"/>
          <c:y val="5.8611537293962242E-2"/>
        </c:manualLayout>
      </c:layout>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endParaRPr lang="es-GT"/>
        </a:p>
      </c:txPr>
    </c:title>
    <c:autoTitleDeleted val="0"/>
    <c:plotArea>
      <c:layout>
        <c:manualLayout>
          <c:layoutTarget val="inner"/>
          <c:xMode val="edge"/>
          <c:yMode val="edge"/>
          <c:x val="3.6646120671937475E-2"/>
          <c:y val="0.12048531776843931"/>
          <c:w val="0.94979455488136566"/>
          <c:h val="0.61747962397106204"/>
        </c:manualLayout>
      </c:layout>
      <c:barChart>
        <c:barDir val="col"/>
        <c:grouping val="clustered"/>
        <c:varyColors val="0"/>
        <c:ser>
          <c:idx val="0"/>
          <c:order val="0"/>
          <c:tx>
            <c:strRef>
              <c:f>Hoja1!$B$1</c:f>
              <c:strCache>
                <c:ptCount val="1"/>
                <c:pt idx="0">
                  <c:v>EMBI</c:v>
                </c:pt>
              </c:strCache>
            </c:strRef>
          </c:tx>
          <c:spPr>
            <a:solidFill>
              <a:srgbClr val="0385B3"/>
            </a:solidFill>
            <a:ln>
              <a:noFill/>
            </a:ln>
            <a:effectLst/>
          </c:spPr>
          <c:invertIfNegative val="0"/>
          <c:dPt>
            <c:idx val="12"/>
            <c:invertIfNegative val="0"/>
            <c:bubble3D val="0"/>
            <c:spPr>
              <a:solidFill>
                <a:srgbClr val="0B3963"/>
              </a:solidFill>
              <a:ln>
                <a:noFill/>
              </a:ln>
              <a:effectLst/>
            </c:spPr>
            <c:extLst>
              <c:ext xmlns:c16="http://schemas.microsoft.com/office/drawing/2014/chart" uri="{C3380CC4-5D6E-409C-BE32-E72D297353CC}">
                <c16:uniqueId val="{00000001-EACC-44FB-9B72-C8CF8C175D00}"/>
              </c:ext>
            </c:extLst>
          </c:dPt>
          <c:dLbls>
            <c:numFmt formatCode="#,##0" sourceLinked="0"/>
            <c:spPr>
              <a:noFill/>
              <a:ln>
                <a:noFill/>
              </a:ln>
              <a:effectLst/>
            </c:spPr>
            <c:txPr>
              <a:bodyPr rot="0" spcFirstLastPara="1" vertOverflow="ellipsis" vert="horz" wrap="square" anchor="ctr" anchorCtr="1"/>
              <a:lstStyle/>
              <a:p>
                <a:pPr>
                  <a:defRPr sz="1800" b="1" i="0" u="none" strike="noStrike" kern="1200" baseline="0">
                    <a:solidFill>
                      <a:schemeClr val="tx1">
                        <a:lumMod val="75000"/>
                        <a:lumOff val="25000"/>
                      </a:schemeClr>
                    </a:solidFill>
                    <a:latin typeface="+mn-lt"/>
                    <a:ea typeface="+mn-ea"/>
                    <a:cs typeface="+mn-cs"/>
                  </a:defRPr>
                </a:pPr>
                <a:endParaRPr lang="es-G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19</c:f>
              <c:strCache>
                <c:ptCount val="18"/>
                <c:pt idx="0">
                  <c:v>Argentina</c:v>
                </c:pt>
                <c:pt idx="1">
                  <c:v>El Salvador</c:v>
                </c:pt>
                <c:pt idx="2">
                  <c:v>Ecuador</c:v>
                </c:pt>
                <c:pt idx="3">
                  <c:v>Bolivia</c:v>
                </c:pt>
                <c:pt idx="4">
                  <c:v>Costa Rica</c:v>
                </c:pt>
                <c:pt idx="5">
                  <c:v>Latino</c:v>
                </c:pt>
                <c:pt idx="6">
                  <c:v>Rep. Dom</c:v>
                </c:pt>
                <c:pt idx="7">
                  <c:v>México</c:v>
                </c:pt>
                <c:pt idx="8">
                  <c:v>Honduras</c:v>
                </c:pt>
                <c:pt idx="9">
                  <c:v>Global</c:v>
                </c:pt>
                <c:pt idx="10">
                  <c:v>Brasil</c:v>
                </c:pt>
                <c:pt idx="11">
                  <c:v>Colombia</c:v>
                </c:pt>
                <c:pt idx="12">
                  <c:v>Guatemala</c:v>
                </c:pt>
                <c:pt idx="13">
                  <c:v>Paraguay</c:v>
                </c:pt>
                <c:pt idx="14">
                  <c:v>Perú</c:v>
                </c:pt>
                <c:pt idx="15">
                  <c:v>Panamá</c:v>
                </c:pt>
                <c:pt idx="16">
                  <c:v>Uruguay</c:v>
                </c:pt>
                <c:pt idx="17">
                  <c:v>Chile</c:v>
                </c:pt>
              </c:strCache>
            </c:strRef>
          </c:cat>
          <c:val>
            <c:numRef>
              <c:f>Hoja1!$B$2:$B$19</c:f>
              <c:numCache>
                <c:formatCode>0</c:formatCode>
                <c:ptCount val="18"/>
                <c:pt idx="0">
                  <c:v>1538.258</c:v>
                </c:pt>
                <c:pt idx="1">
                  <c:v>920.25799999999992</c:v>
                </c:pt>
                <c:pt idx="2">
                  <c:v>788.34500000000003</c:v>
                </c:pt>
                <c:pt idx="3">
                  <c:v>498.07300000000004</c:v>
                </c:pt>
                <c:pt idx="4">
                  <c:v>466.59</c:v>
                </c:pt>
                <c:pt idx="5">
                  <c:v>362.12399999999997</c:v>
                </c:pt>
                <c:pt idx="6">
                  <c:v>358.43700000000001</c:v>
                </c:pt>
                <c:pt idx="7">
                  <c:v>355.31</c:v>
                </c:pt>
                <c:pt idx="8">
                  <c:v>318.774</c:v>
                </c:pt>
                <c:pt idx="9">
                  <c:v>317.12799999999999</c:v>
                </c:pt>
                <c:pt idx="10">
                  <c:v>279.00399999999996</c:v>
                </c:pt>
                <c:pt idx="11">
                  <c:v>277.20999999999998</c:v>
                </c:pt>
                <c:pt idx="12">
                  <c:v>254.54500000000002</c:v>
                </c:pt>
                <c:pt idx="13">
                  <c:v>227.59700000000001</c:v>
                </c:pt>
                <c:pt idx="14">
                  <c:v>183.07</c:v>
                </c:pt>
                <c:pt idx="15">
                  <c:v>176.12799999999999</c:v>
                </c:pt>
                <c:pt idx="16">
                  <c:v>135.393</c:v>
                </c:pt>
                <c:pt idx="17">
                  <c:v>134.73699999999999</c:v>
                </c:pt>
              </c:numCache>
            </c:numRef>
          </c:val>
          <c:extLst>
            <c:ext xmlns:c16="http://schemas.microsoft.com/office/drawing/2014/chart" uri="{C3380CC4-5D6E-409C-BE32-E72D297353CC}">
              <c16:uniqueId val="{00000002-EACC-44FB-9B72-C8CF8C175D00}"/>
            </c:ext>
          </c:extLst>
        </c:ser>
        <c:dLbls>
          <c:showLegendKey val="0"/>
          <c:showVal val="0"/>
          <c:showCatName val="0"/>
          <c:showSerName val="0"/>
          <c:showPercent val="0"/>
          <c:showBubbleSize val="0"/>
        </c:dLbls>
        <c:gapWidth val="80"/>
        <c:overlap val="-27"/>
        <c:axId val="1995529952"/>
        <c:axId val="1995530368"/>
      </c:barChart>
      <c:catAx>
        <c:axId val="199552995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s-GT"/>
          </a:p>
        </c:txPr>
        <c:crossAx val="1995530368"/>
        <c:crosses val="autoZero"/>
        <c:auto val="1"/>
        <c:lblAlgn val="ctr"/>
        <c:lblOffset val="100"/>
        <c:noMultiLvlLbl val="0"/>
      </c:catAx>
      <c:valAx>
        <c:axId val="1995530368"/>
        <c:scaling>
          <c:orientation val="minMax"/>
        </c:scaling>
        <c:delete val="1"/>
        <c:axPos val="l"/>
        <c:numFmt formatCode="0" sourceLinked="1"/>
        <c:majorTickMark val="none"/>
        <c:minorTickMark val="none"/>
        <c:tickLblPos val="nextTo"/>
        <c:crossAx val="19955299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s-GT"/>
    </a:p>
  </c:txPr>
  <c:externalData r:id="rId3">
    <c:autoUpdate val="0"/>
  </c:externalData>
  <c:userShapes r:id="rId4"/>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MX"/>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1" i="0" u="none" strike="noStrike" kern="1200" spc="0" baseline="0">
                <a:solidFill>
                  <a:srgbClr val="0B3963"/>
                </a:solidFill>
                <a:latin typeface="+mn-lt"/>
                <a:ea typeface="+mn-ea"/>
                <a:cs typeface="+mn-cs"/>
              </a:defRPr>
            </a:pPr>
            <a:r>
              <a:rPr lang="es-GT" sz="2400" b="1" dirty="0">
                <a:solidFill>
                  <a:srgbClr val="0B3963"/>
                </a:solidFill>
              </a:rPr>
              <a:t>Indicador EMBI para</a:t>
            </a:r>
            <a:r>
              <a:rPr lang="es-GT" sz="2400" b="1" baseline="0" dirty="0">
                <a:solidFill>
                  <a:srgbClr val="0B3963"/>
                </a:solidFill>
              </a:rPr>
              <a:t> Guatemala</a:t>
            </a:r>
          </a:p>
          <a:p>
            <a:pPr>
              <a:defRPr sz="2400" b="1">
                <a:solidFill>
                  <a:srgbClr val="0B3963"/>
                </a:solidFill>
              </a:defRPr>
            </a:pPr>
            <a:r>
              <a:rPr lang="es-GT" sz="2400" b="1" dirty="0">
                <a:solidFill>
                  <a:srgbClr val="0B3963"/>
                </a:solidFill>
              </a:rPr>
              <a:t> </a:t>
            </a:r>
            <a:r>
              <a:rPr lang="es-GT" sz="1800" b="1" dirty="0">
                <a:solidFill>
                  <a:srgbClr val="0B3963"/>
                </a:solidFill>
              </a:rPr>
              <a:t>en puntos básicos</a:t>
            </a:r>
            <a:endParaRPr lang="es-GT" sz="2400" b="1" dirty="0">
              <a:solidFill>
                <a:srgbClr val="0B3963"/>
              </a:solidFill>
            </a:endParaRPr>
          </a:p>
        </c:rich>
      </c:tx>
      <c:layout>
        <c:manualLayout>
          <c:xMode val="edge"/>
          <c:yMode val="edge"/>
          <c:x val="0.31237023124683888"/>
          <c:y val="4.1027895721928585E-4"/>
        </c:manualLayout>
      </c:layout>
      <c:overlay val="0"/>
      <c:spPr>
        <a:noFill/>
        <a:ln>
          <a:noFill/>
        </a:ln>
        <a:effectLst/>
      </c:spPr>
      <c:txPr>
        <a:bodyPr rot="0" spcFirstLastPara="1" vertOverflow="ellipsis" vert="horz" wrap="square" anchor="ctr" anchorCtr="1"/>
        <a:lstStyle/>
        <a:p>
          <a:pPr>
            <a:defRPr sz="2400" b="1" i="0" u="none" strike="noStrike" kern="1200" spc="0" baseline="0">
              <a:solidFill>
                <a:srgbClr val="0B3963"/>
              </a:solidFill>
              <a:latin typeface="+mn-lt"/>
              <a:ea typeface="+mn-ea"/>
              <a:cs typeface="+mn-cs"/>
            </a:defRPr>
          </a:pPr>
          <a:endParaRPr lang="es-GT"/>
        </a:p>
      </c:txPr>
    </c:title>
    <c:autoTitleDeleted val="0"/>
    <c:plotArea>
      <c:layout>
        <c:manualLayout>
          <c:layoutTarget val="inner"/>
          <c:xMode val="edge"/>
          <c:yMode val="edge"/>
          <c:x val="4.0716340097377526E-2"/>
          <c:y val="0.14328006255333461"/>
          <c:w val="0.94979455488136566"/>
          <c:h val="0.65157948468833082"/>
        </c:manualLayout>
      </c:layout>
      <c:lineChart>
        <c:grouping val="standard"/>
        <c:varyColors val="0"/>
        <c:ser>
          <c:idx val="0"/>
          <c:order val="0"/>
          <c:tx>
            <c:strRef>
              <c:f>Hoja1!$B$1</c:f>
              <c:strCache>
                <c:ptCount val="1"/>
                <c:pt idx="0">
                  <c:v>EMBI</c:v>
                </c:pt>
              </c:strCache>
            </c:strRef>
          </c:tx>
          <c:spPr>
            <a:ln w="28575" cap="rnd">
              <a:solidFill>
                <a:schemeClr val="accent5">
                  <a:lumMod val="50000"/>
                </a:schemeClr>
              </a:solidFill>
              <a:round/>
            </a:ln>
            <a:effectLst/>
          </c:spPr>
          <c:marker>
            <c:symbol val="none"/>
          </c:marker>
          <c:dLbls>
            <c:dLbl>
              <c:idx val="1400"/>
              <c:layout>
                <c:manualLayout>
                  <c:x val="-5.7712870742710112E-3"/>
                  <c:y val="-4.1238961271744701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2060"/>
                      </a:solidFill>
                      <a:latin typeface="+mn-lt"/>
                      <a:ea typeface="+mn-ea"/>
                      <a:cs typeface="+mn-cs"/>
                    </a:defRPr>
                  </a:pPr>
                  <a:endParaRPr lang="es-GT"/>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4A7-48C0-93CD-9A595A0DCC65}"/>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s-GT"/>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Hoja1!$A$2:$A$1404</c:f>
              <c:strCache>
                <c:ptCount val="1403"/>
                <c:pt idx="0">
                  <c:v>Jan-16</c:v>
                </c:pt>
                <c:pt idx="1">
                  <c:v>Jan-16</c:v>
                </c:pt>
                <c:pt idx="2">
                  <c:v>Jan-16</c:v>
                </c:pt>
                <c:pt idx="3">
                  <c:v>Jan-16</c:v>
                </c:pt>
                <c:pt idx="4">
                  <c:v>Jan-16</c:v>
                </c:pt>
                <c:pt idx="5">
                  <c:v>Jan-16</c:v>
                </c:pt>
                <c:pt idx="6">
                  <c:v>Jan-16</c:v>
                </c:pt>
                <c:pt idx="7">
                  <c:v>Jan-16</c:v>
                </c:pt>
                <c:pt idx="8">
                  <c:v>Jan-16</c:v>
                </c:pt>
                <c:pt idx="9">
                  <c:v>Jan-16</c:v>
                </c:pt>
                <c:pt idx="10">
                  <c:v>Jan-16</c:v>
                </c:pt>
                <c:pt idx="11">
                  <c:v>Jan-16</c:v>
                </c:pt>
                <c:pt idx="12">
                  <c:v>Jan-16</c:v>
                </c:pt>
                <c:pt idx="13">
                  <c:v>Jan-16</c:v>
                </c:pt>
                <c:pt idx="14">
                  <c:v>Jan-16</c:v>
                </c:pt>
                <c:pt idx="15">
                  <c:v>Jan-16</c:v>
                </c:pt>
                <c:pt idx="16">
                  <c:v>Jan-16</c:v>
                </c:pt>
                <c:pt idx="17">
                  <c:v>Jan-16</c:v>
                </c:pt>
                <c:pt idx="18">
                  <c:v>Jan-16</c:v>
                </c:pt>
                <c:pt idx="19">
                  <c:v>Feb-16</c:v>
                </c:pt>
                <c:pt idx="20">
                  <c:v>Feb-16</c:v>
                </c:pt>
                <c:pt idx="21">
                  <c:v>Feb-16</c:v>
                </c:pt>
                <c:pt idx="22">
                  <c:v>Feb-16</c:v>
                </c:pt>
                <c:pt idx="23">
                  <c:v>Feb-16</c:v>
                </c:pt>
                <c:pt idx="24">
                  <c:v>Feb-16</c:v>
                </c:pt>
                <c:pt idx="25">
                  <c:v>Feb-16</c:v>
                </c:pt>
                <c:pt idx="26">
                  <c:v>Feb-16</c:v>
                </c:pt>
                <c:pt idx="27">
                  <c:v>Feb-16</c:v>
                </c:pt>
                <c:pt idx="28">
                  <c:v>Feb-16</c:v>
                </c:pt>
                <c:pt idx="29">
                  <c:v>Feb-16</c:v>
                </c:pt>
                <c:pt idx="30">
                  <c:v>Feb-16</c:v>
                </c:pt>
                <c:pt idx="31">
                  <c:v>Feb-16</c:v>
                </c:pt>
                <c:pt idx="32">
                  <c:v>Feb-16</c:v>
                </c:pt>
                <c:pt idx="33">
                  <c:v>Feb-16</c:v>
                </c:pt>
                <c:pt idx="34">
                  <c:v>Feb-16</c:v>
                </c:pt>
                <c:pt idx="35">
                  <c:v>Feb-16</c:v>
                </c:pt>
                <c:pt idx="36">
                  <c:v>Feb-16</c:v>
                </c:pt>
                <c:pt idx="37">
                  <c:v>Feb-16</c:v>
                </c:pt>
                <c:pt idx="38">
                  <c:v>Feb-16</c:v>
                </c:pt>
                <c:pt idx="39">
                  <c:v>Mar-16</c:v>
                </c:pt>
                <c:pt idx="40">
                  <c:v>Mar-16</c:v>
                </c:pt>
                <c:pt idx="41">
                  <c:v>Mar-16</c:v>
                </c:pt>
                <c:pt idx="42">
                  <c:v>Mar-16</c:v>
                </c:pt>
                <c:pt idx="43">
                  <c:v>Mar-16</c:v>
                </c:pt>
                <c:pt idx="44">
                  <c:v>Mar-16</c:v>
                </c:pt>
                <c:pt idx="45">
                  <c:v>Mar-16</c:v>
                </c:pt>
                <c:pt idx="46">
                  <c:v>Mar-16</c:v>
                </c:pt>
                <c:pt idx="47">
                  <c:v>Mar-16</c:v>
                </c:pt>
                <c:pt idx="48">
                  <c:v>Mar-16</c:v>
                </c:pt>
                <c:pt idx="49">
                  <c:v>Mar-16</c:v>
                </c:pt>
                <c:pt idx="50">
                  <c:v>Mar-16</c:v>
                </c:pt>
                <c:pt idx="51">
                  <c:v>Mar-16</c:v>
                </c:pt>
                <c:pt idx="52">
                  <c:v>Mar-16</c:v>
                </c:pt>
                <c:pt idx="53">
                  <c:v>Mar-16</c:v>
                </c:pt>
                <c:pt idx="54">
                  <c:v>Mar-16</c:v>
                </c:pt>
                <c:pt idx="55">
                  <c:v>Mar-16</c:v>
                </c:pt>
                <c:pt idx="56">
                  <c:v>Mar-16</c:v>
                </c:pt>
                <c:pt idx="57">
                  <c:v>Mar-16</c:v>
                </c:pt>
                <c:pt idx="58">
                  <c:v>Mar-16</c:v>
                </c:pt>
                <c:pt idx="59">
                  <c:v>Mar-16</c:v>
                </c:pt>
                <c:pt idx="60">
                  <c:v>Mar-16</c:v>
                </c:pt>
                <c:pt idx="61">
                  <c:v>Apr-16</c:v>
                </c:pt>
                <c:pt idx="62">
                  <c:v>Apr-16</c:v>
                </c:pt>
                <c:pt idx="63">
                  <c:v>Apr-16</c:v>
                </c:pt>
                <c:pt idx="64">
                  <c:v>Apr-16</c:v>
                </c:pt>
                <c:pt idx="65">
                  <c:v>Apr-16</c:v>
                </c:pt>
                <c:pt idx="66">
                  <c:v>Apr-16</c:v>
                </c:pt>
                <c:pt idx="67">
                  <c:v>Apr-16</c:v>
                </c:pt>
                <c:pt idx="68">
                  <c:v>Apr-16</c:v>
                </c:pt>
                <c:pt idx="69">
                  <c:v>Apr-16</c:v>
                </c:pt>
                <c:pt idx="70">
                  <c:v>Apr-16</c:v>
                </c:pt>
                <c:pt idx="71">
                  <c:v>Apr-16</c:v>
                </c:pt>
                <c:pt idx="72">
                  <c:v>Apr-16</c:v>
                </c:pt>
                <c:pt idx="73">
                  <c:v>Apr-16</c:v>
                </c:pt>
                <c:pt idx="74">
                  <c:v>Apr-16</c:v>
                </c:pt>
                <c:pt idx="75">
                  <c:v>Apr-16</c:v>
                </c:pt>
                <c:pt idx="76">
                  <c:v>Apr-16</c:v>
                </c:pt>
                <c:pt idx="77">
                  <c:v>Apr-16</c:v>
                </c:pt>
                <c:pt idx="78">
                  <c:v>Apr-16</c:v>
                </c:pt>
                <c:pt idx="79">
                  <c:v>Apr-16</c:v>
                </c:pt>
                <c:pt idx="80">
                  <c:v>Apr-16</c:v>
                </c:pt>
                <c:pt idx="81">
                  <c:v>Apr-16</c:v>
                </c:pt>
                <c:pt idx="82">
                  <c:v>May-16</c:v>
                </c:pt>
                <c:pt idx="83">
                  <c:v>May-16</c:v>
                </c:pt>
                <c:pt idx="84">
                  <c:v>May-16</c:v>
                </c:pt>
                <c:pt idx="85">
                  <c:v>May-16</c:v>
                </c:pt>
                <c:pt idx="86">
                  <c:v>May-16</c:v>
                </c:pt>
                <c:pt idx="87">
                  <c:v>May-16</c:v>
                </c:pt>
                <c:pt idx="88">
                  <c:v>May-16</c:v>
                </c:pt>
                <c:pt idx="89">
                  <c:v>May-16</c:v>
                </c:pt>
                <c:pt idx="90">
                  <c:v>May-16</c:v>
                </c:pt>
                <c:pt idx="91">
                  <c:v>May-16</c:v>
                </c:pt>
                <c:pt idx="92">
                  <c:v>May-16</c:v>
                </c:pt>
                <c:pt idx="93">
                  <c:v>May-16</c:v>
                </c:pt>
                <c:pt idx="94">
                  <c:v>May-16</c:v>
                </c:pt>
                <c:pt idx="95">
                  <c:v>May-16</c:v>
                </c:pt>
                <c:pt idx="96">
                  <c:v>May-16</c:v>
                </c:pt>
                <c:pt idx="97">
                  <c:v>May-16</c:v>
                </c:pt>
                <c:pt idx="98">
                  <c:v>May-16</c:v>
                </c:pt>
                <c:pt idx="99">
                  <c:v>May-16</c:v>
                </c:pt>
                <c:pt idx="100">
                  <c:v>May-16</c:v>
                </c:pt>
                <c:pt idx="101">
                  <c:v>May-16</c:v>
                </c:pt>
                <c:pt idx="102">
                  <c:v>May-16</c:v>
                </c:pt>
                <c:pt idx="103">
                  <c:v>Jun-16</c:v>
                </c:pt>
                <c:pt idx="104">
                  <c:v>Jun-16</c:v>
                </c:pt>
                <c:pt idx="105">
                  <c:v>Jun-16</c:v>
                </c:pt>
                <c:pt idx="106">
                  <c:v>Jun-16</c:v>
                </c:pt>
                <c:pt idx="107">
                  <c:v>Jun-16</c:v>
                </c:pt>
                <c:pt idx="108">
                  <c:v>Jun-16</c:v>
                </c:pt>
                <c:pt idx="109">
                  <c:v>Jun-16</c:v>
                </c:pt>
                <c:pt idx="110">
                  <c:v>Jun-16</c:v>
                </c:pt>
                <c:pt idx="111">
                  <c:v>Jun-16</c:v>
                </c:pt>
                <c:pt idx="112">
                  <c:v>Jun-16</c:v>
                </c:pt>
                <c:pt idx="113">
                  <c:v>Jun-16</c:v>
                </c:pt>
                <c:pt idx="114">
                  <c:v>Jun-16</c:v>
                </c:pt>
                <c:pt idx="115">
                  <c:v>Jun-16</c:v>
                </c:pt>
                <c:pt idx="116">
                  <c:v>Jun-16</c:v>
                </c:pt>
                <c:pt idx="117">
                  <c:v>Jun-16</c:v>
                </c:pt>
                <c:pt idx="118">
                  <c:v>Jun-16</c:v>
                </c:pt>
                <c:pt idx="119">
                  <c:v>Jun-16</c:v>
                </c:pt>
                <c:pt idx="120">
                  <c:v>Jun-16</c:v>
                </c:pt>
                <c:pt idx="121">
                  <c:v>Jun-16</c:v>
                </c:pt>
                <c:pt idx="122">
                  <c:v>Jun-16</c:v>
                </c:pt>
                <c:pt idx="123">
                  <c:v>Jun-16</c:v>
                </c:pt>
                <c:pt idx="124">
                  <c:v>Jun-16</c:v>
                </c:pt>
                <c:pt idx="125">
                  <c:v>Jul-16</c:v>
                </c:pt>
                <c:pt idx="126">
                  <c:v>Jul-16</c:v>
                </c:pt>
                <c:pt idx="127">
                  <c:v>Jul-16</c:v>
                </c:pt>
                <c:pt idx="128">
                  <c:v>Jul-16</c:v>
                </c:pt>
                <c:pt idx="129">
                  <c:v>Jul-16</c:v>
                </c:pt>
                <c:pt idx="130">
                  <c:v>Jul-16</c:v>
                </c:pt>
                <c:pt idx="131">
                  <c:v>Jul-16</c:v>
                </c:pt>
                <c:pt idx="132">
                  <c:v>Jul-16</c:v>
                </c:pt>
                <c:pt idx="133">
                  <c:v>Jul-16</c:v>
                </c:pt>
                <c:pt idx="134">
                  <c:v>Jul-16</c:v>
                </c:pt>
                <c:pt idx="135">
                  <c:v>Jul-16</c:v>
                </c:pt>
                <c:pt idx="136">
                  <c:v>Jul-16</c:v>
                </c:pt>
                <c:pt idx="137">
                  <c:v>Jul-16</c:v>
                </c:pt>
                <c:pt idx="138">
                  <c:v>Jul-16</c:v>
                </c:pt>
                <c:pt idx="139">
                  <c:v>Jul-16</c:v>
                </c:pt>
                <c:pt idx="140">
                  <c:v>Jul-16</c:v>
                </c:pt>
                <c:pt idx="141">
                  <c:v>Jul-16</c:v>
                </c:pt>
                <c:pt idx="142">
                  <c:v>Jul-16</c:v>
                </c:pt>
                <c:pt idx="143">
                  <c:v>Jul-16</c:v>
                </c:pt>
                <c:pt idx="144">
                  <c:v>Jul-16</c:v>
                </c:pt>
                <c:pt idx="145">
                  <c:v>Aug-16</c:v>
                </c:pt>
                <c:pt idx="146">
                  <c:v>Aug-16</c:v>
                </c:pt>
                <c:pt idx="147">
                  <c:v>Aug-16</c:v>
                </c:pt>
                <c:pt idx="148">
                  <c:v>Aug-16</c:v>
                </c:pt>
                <c:pt idx="149">
                  <c:v>Aug-16</c:v>
                </c:pt>
                <c:pt idx="150">
                  <c:v>Aug-16</c:v>
                </c:pt>
                <c:pt idx="151">
                  <c:v>Aug-16</c:v>
                </c:pt>
                <c:pt idx="152">
                  <c:v>Aug-16</c:v>
                </c:pt>
                <c:pt idx="153">
                  <c:v>Aug-16</c:v>
                </c:pt>
                <c:pt idx="154">
                  <c:v>Aug-16</c:v>
                </c:pt>
                <c:pt idx="155">
                  <c:v>Aug-16</c:v>
                </c:pt>
                <c:pt idx="156">
                  <c:v>Aug-16</c:v>
                </c:pt>
                <c:pt idx="157">
                  <c:v>Aug-16</c:v>
                </c:pt>
                <c:pt idx="158">
                  <c:v>Aug-16</c:v>
                </c:pt>
                <c:pt idx="159">
                  <c:v>Aug-16</c:v>
                </c:pt>
                <c:pt idx="160">
                  <c:v>Aug-16</c:v>
                </c:pt>
                <c:pt idx="161">
                  <c:v>Aug-16</c:v>
                </c:pt>
                <c:pt idx="162">
                  <c:v>Aug-16</c:v>
                </c:pt>
                <c:pt idx="163">
                  <c:v>Aug-16</c:v>
                </c:pt>
                <c:pt idx="164">
                  <c:v>Aug-16</c:v>
                </c:pt>
                <c:pt idx="165">
                  <c:v>Aug-16</c:v>
                </c:pt>
                <c:pt idx="166">
                  <c:v>Aug-16</c:v>
                </c:pt>
                <c:pt idx="167">
                  <c:v>Aug-16</c:v>
                </c:pt>
                <c:pt idx="168">
                  <c:v>Sep-16</c:v>
                </c:pt>
                <c:pt idx="169">
                  <c:v>Sep-16</c:v>
                </c:pt>
                <c:pt idx="170">
                  <c:v>Sep-16</c:v>
                </c:pt>
                <c:pt idx="171">
                  <c:v>Sep-16</c:v>
                </c:pt>
                <c:pt idx="172">
                  <c:v>Sep-16</c:v>
                </c:pt>
                <c:pt idx="173">
                  <c:v>Sep-16</c:v>
                </c:pt>
                <c:pt idx="174">
                  <c:v>Sep-16</c:v>
                </c:pt>
                <c:pt idx="175">
                  <c:v>Sep-16</c:v>
                </c:pt>
                <c:pt idx="176">
                  <c:v>Sep-16</c:v>
                </c:pt>
                <c:pt idx="177">
                  <c:v>Sep-16</c:v>
                </c:pt>
                <c:pt idx="178">
                  <c:v>Sep-16</c:v>
                </c:pt>
                <c:pt idx="179">
                  <c:v>Sep-16</c:v>
                </c:pt>
                <c:pt idx="180">
                  <c:v>Sep-16</c:v>
                </c:pt>
                <c:pt idx="181">
                  <c:v>Sep-16</c:v>
                </c:pt>
                <c:pt idx="182">
                  <c:v>Sep-16</c:v>
                </c:pt>
                <c:pt idx="183">
                  <c:v>Sep-16</c:v>
                </c:pt>
                <c:pt idx="184">
                  <c:v>Sep-16</c:v>
                </c:pt>
                <c:pt idx="185">
                  <c:v>Sep-16</c:v>
                </c:pt>
                <c:pt idx="186">
                  <c:v>Sep-16</c:v>
                </c:pt>
                <c:pt idx="187">
                  <c:v>Sep-16</c:v>
                </c:pt>
                <c:pt idx="188">
                  <c:v>Sep-16</c:v>
                </c:pt>
                <c:pt idx="189">
                  <c:v>Oct-16</c:v>
                </c:pt>
                <c:pt idx="190">
                  <c:v>Oct-16</c:v>
                </c:pt>
                <c:pt idx="191">
                  <c:v>Oct-16</c:v>
                </c:pt>
                <c:pt idx="192">
                  <c:v>Oct-16</c:v>
                </c:pt>
                <c:pt idx="193">
                  <c:v>Oct-16</c:v>
                </c:pt>
                <c:pt idx="194">
                  <c:v>Oct-16</c:v>
                </c:pt>
                <c:pt idx="195">
                  <c:v>Oct-16</c:v>
                </c:pt>
                <c:pt idx="196">
                  <c:v>Oct-16</c:v>
                </c:pt>
                <c:pt idx="197">
                  <c:v>Oct-16</c:v>
                </c:pt>
                <c:pt idx="198">
                  <c:v>Oct-16</c:v>
                </c:pt>
                <c:pt idx="199">
                  <c:v>Oct-16</c:v>
                </c:pt>
                <c:pt idx="200">
                  <c:v>Oct-16</c:v>
                </c:pt>
                <c:pt idx="201">
                  <c:v>Oct-16</c:v>
                </c:pt>
                <c:pt idx="202">
                  <c:v>Oct-16</c:v>
                </c:pt>
                <c:pt idx="203">
                  <c:v>Oct-16</c:v>
                </c:pt>
                <c:pt idx="204">
                  <c:v>Oct-16</c:v>
                </c:pt>
                <c:pt idx="205">
                  <c:v>Oct-16</c:v>
                </c:pt>
                <c:pt idx="206">
                  <c:v>Oct-16</c:v>
                </c:pt>
                <c:pt idx="207">
                  <c:v>Oct-16</c:v>
                </c:pt>
                <c:pt idx="208">
                  <c:v>Oct-16</c:v>
                </c:pt>
                <c:pt idx="209">
                  <c:v>Nov-16</c:v>
                </c:pt>
                <c:pt idx="210">
                  <c:v>Nov-16</c:v>
                </c:pt>
                <c:pt idx="211">
                  <c:v>Nov-16</c:v>
                </c:pt>
                <c:pt idx="212">
                  <c:v>Nov-16</c:v>
                </c:pt>
                <c:pt idx="213">
                  <c:v>Nov-16</c:v>
                </c:pt>
                <c:pt idx="214">
                  <c:v>Nov-16</c:v>
                </c:pt>
                <c:pt idx="215">
                  <c:v>Nov-16</c:v>
                </c:pt>
                <c:pt idx="216">
                  <c:v>Nov-16</c:v>
                </c:pt>
                <c:pt idx="217">
                  <c:v>Nov-16</c:v>
                </c:pt>
                <c:pt idx="218">
                  <c:v>Nov-16</c:v>
                </c:pt>
                <c:pt idx="219">
                  <c:v>Nov-16</c:v>
                </c:pt>
                <c:pt idx="220">
                  <c:v>Nov-16</c:v>
                </c:pt>
                <c:pt idx="221">
                  <c:v>Nov-16</c:v>
                </c:pt>
                <c:pt idx="222">
                  <c:v>Nov-16</c:v>
                </c:pt>
                <c:pt idx="223">
                  <c:v>Nov-16</c:v>
                </c:pt>
                <c:pt idx="224">
                  <c:v>Nov-16</c:v>
                </c:pt>
                <c:pt idx="225">
                  <c:v>Nov-16</c:v>
                </c:pt>
                <c:pt idx="226">
                  <c:v>Nov-16</c:v>
                </c:pt>
                <c:pt idx="227">
                  <c:v>Nov-16</c:v>
                </c:pt>
                <c:pt idx="228">
                  <c:v>Nov-16</c:v>
                </c:pt>
                <c:pt idx="229">
                  <c:v>Dec-16</c:v>
                </c:pt>
                <c:pt idx="230">
                  <c:v>Dec-16</c:v>
                </c:pt>
                <c:pt idx="231">
                  <c:v>Dec-16</c:v>
                </c:pt>
                <c:pt idx="232">
                  <c:v>Dec-16</c:v>
                </c:pt>
                <c:pt idx="233">
                  <c:v>Dec-16</c:v>
                </c:pt>
                <c:pt idx="234">
                  <c:v>Dec-16</c:v>
                </c:pt>
                <c:pt idx="235">
                  <c:v>Dec-16</c:v>
                </c:pt>
                <c:pt idx="236">
                  <c:v>Dec-16</c:v>
                </c:pt>
                <c:pt idx="237">
                  <c:v>Dec-16</c:v>
                </c:pt>
                <c:pt idx="238">
                  <c:v>Dec-16</c:v>
                </c:pt>
                <c:pt idx="239">
                  <c:v>Dec-16</c:v>
                </c:pt>
                <c:pt idx="240">
                  <c:v>Dec-16</c:v>
                </c:pt>
                <c:pt idx="241">
                  <c:v>Dec-16</c:v>
                </c:pt>
                <c:pt idx="242">
                  <c:v>Dec-16</c:v>
                </c:pt>
                <c:pt idx="243">
                  <c:v>Dec-16</c:v>
                </c:pt>
                <c:pt idx="244">
                  <c:v>Dec-16</c:v>
                </c:pt>
                <c:pt idx="245">
                  <c:v>Dec-16</c:v>
                </c:pt>
                <c:pt idx="246">
                  <c:v>Dec-16</c:v>
                </c:pt>
                <c:pt idx="247">
                  <c:v>Dec-16</c:v>
                </c:pt>
                <c:pt idx="248">
                  <c:v>Dec-16</c:v>
                </c:pt>
                <c:pt idx="249">
                  <c:v>Dec-16</c:v>
                </c:pt>
                <c:pt idx="250">
                  <c:v>Jan-17</c:v>
                </c:pt>
                <c:pt idx="251">
                  <c:v>Jan-17</c:v>
                </c:pt>
                <c:pt idx="252">
                  <c:v>Jan-17</c:v>
                </c:pt>
                <c:pt idx="253">
                  <c:v>Jan-17</c:v>
                </c:pt>
                <c:pt idx="254">
                  <c:v>Jan-17</c:v>
                </c:pt>
                <c:pt idx="255">
                  <c:v>Jan-17</c:v>
                </c:pt>
                <c:pt idx="256">
                  <c:v>Jan-17</c:v>
                </c:pt>
                <c:pt idx="257">
                  <c:v>Jan-17</c:v>
                </c:pt>
                <c:pt idx="258">
                  <c:v>Jan-17</c:v>
                </c:pt>
                <c:pt idx="259">
                  <c:v>Jan-17</c:v>
                </c:pt>
                <c:pt idx="260">
                  <c:v>Jan-17</c:v>
                </c:pt>
                <c:pt idx="261">
                  <c:v>Jan-17</c:v>
                </c:pt>
                <c:pt idx="262">
                  <c:v>Jan-17</c:v>
                </c:pt>
                <c:pt idx="263">
                  <c:v>Jan-17</c:v>
                </c:pt>
                <c:pt idx="264">
                  <c:v>Jan-17</c:v>
                </c:pt>
                <c:pt idx="265">
                  <c:v>Jan-17</c:v>
                </c:pt>
                <c:pt idx="266">
                  <c:v>Jan-17</c:v>
                </c:pt>
                <c:pt idx="267">
                  <c:v>Jan-17</c:v>
                </c:pt>
                <c:pt idx="268">
                  <c:v>Jan-17</c:v>
                </c:pt>
                <c:pt idx="269">
                  <c:v>Jan-17</c:v>
                </c:pt>
                <c:pt idx="270">
                  <c:v>Feb-17</c:v>
                </c:pt>
                <c:pt idx="271">
                  <c:v>Feb-17</c:v>
                </c:pt>
                <c:pt idx="272">
                  <c:v>Feb-17</c:v>
                </c:pt>
                <c:pt idx="273">
                  <c:v>Feb-17</c:v>
                </c:pt>
                <c:pt idx="274">
                  <c:v>Feb-17</c:v>
                </c:pt>
                <c:pt idx="275">
                  <c:v>Feb-17</c:v>
                </c:pt>
                <c:pt idx="276">
                  <c:v>Feb-17</c:v>
                </c:pt>
                <c:pt idx="277">
                  <c:v>Feb-17</c:v>
                </c:pt>
                <c:pt idx="278">
                  <c:v>Feb-17</c:v>
                </c:pt>
                <c:pt idx="279">
                  <c:v>Feb-17</c:v>
                </c:pt>
                <c:pt idx="280">
                  <c:v>Feb-17</c:v>
                </c:pt>
                <c:pt idx="281">
                  <c:v>Feb-17</c:v>
                </c:pt>
                <c:pt idx="282">
                  <c:v>Feb-17</c:v>
                </c:pt>
                <c:pt idx="283">
                  <c:v>Feb-17</c:v>
                </c:pt>
                <c:pt idx="284">
                  <c:v>Feb-17</c:v>
                </c:pt>
                <c:pt idx="285">
                  <c:v>Feb-17</c:v>
                </c:pt>
                <c:pt idx="286">
                  <c:v>Feb-17</c:v>
                </c:pt>
                <c:pt idx="287">
                  <c:v>Feb-17</c:v>
                </c:pt>
                <c:pt idx="288">
                  <c:v>Feb-17</c:v>
                </c:pt>
                <c:pt idx="289">
                  <c:v>Mar-17</c:v>
                </c:pt>
                <c:pt idx="290">
                  <c:v>Mar-17</c:v>
                </c:pt>
                <c:pt idx="291">
                  <c:v>Mar-17</c:v>
                </c:pt>
                <c:pt idx="292">
                  <c:v>Mar-17</c:v>
                </c:pt>
                <c:pt idx="293">
                  <c:v>Mar-17</c:v>
                </c:pt>
                <c:pt idx="294">
                  <c:v>Mar-17</c:v>
                </c:pt>
                <c:pt idx="295">
                  <c:v>Mar-17</c:v>
                </c:pt>
                <c:pt idx="296">
                  <c:v>Mar-17</c:v>
                </c:pt>
                <c:pt idx="297">
                  <c:v>Mar-17</c:v>
                </c:pt>
                <c:pt idx="298">
                  <c:v>Mar-17</c:v>
                </c:pt>
                <c:pt idx="299">
                  <c:v>Mar-17</c:v>
                </c:pt>
                <c:pt idx="300">
                  <c:v>Mar-17</c:v>
                </c:pt>
                <c:pt idx="301">
                  <c:v>Mar-17</c:v>
                </c:pt>
                <c:pt idx="302">
                  <c:v>Mar-17</c:v>
                </c:pt>
                <c:pt idx="303">
                  <c:v>Mar-17</c:v>
                </c:pt>
                <c:pt idx="304">
                  <c:v>Mar-17</c:v>
                </c:pt>
                <c:pt idx="305">
                  <c:v>Mar-17</c:v>
                </c:pt>
                <c:pt idx="306">
                  <c:v>Mar-17</c:v>
                </c:pt>
                <c:pt idx="307">
                  <c:v>Mar-17</c:v>
                </c:pt>
                <c:pt idx="308">
                  <c:v>Mar-17</c:v>
                </c:pt>
                <c:pt idx="309">
                  <c:v>Mar-17</c:v>
                </c:pt>
                <c:pt idx="310">
                  <c:v>Mar-17</c:v>
                </c:pt>
                <c:pt idx="311">
                  <c:v>Mar-17</c:v>
                </c:pt>
                <c:pt idx="312">
                  <c:v>Apr-17</c:v>
                </c:pt>
                <c:pt idx="313">
                  <c:v>Apr-17</c:v>
                </c:pt>
                <c:pt idx="314">
                  <c:v>Apr-17</c:v>
                </c:pt>
                <c:pt idx="315">
                  <c:v>Apr-17</c:v>
                </c:pt>
                <c:pt idx="316">
                  <c:v>Apr-17</c:v>
                </c:pt>
                <c:pt idx="317">
                  <c:v>Apr-17</c:v>
                </c:pt>
                <c:pt idx="318">
                  <c:v>Apr-17</c:v>
                </c:pt>
                <c:pt idx="319">
                  <c:v>Apr-17</c:v>
                </c:pt>
                <c:pt idx="320">
                  <c:v>Apr-17</c:v>
                </c:pt>
                <c:pt idx="321">
                  <c:v>Apr-17</c:v>
                </c:pt>
                <c:pt idx="322">
                  <c:v>Apr-17</c:v>
                </c:pt>
                <c:pt idx="323">
                  <c:v>Apr-17</c:v>
                </c:pt>
                <c:pt idx="324">
                  <c:v>Apr-17</c:v>
                </c:pt>
                <c:pt idx="325">
                  <c:v>Apr-17</c:v>
                </c:pt>
                <c:pt idx="326">
                  <c:v>Apr-17</c:v>
                </c:pt>
                <c:pt idx="327">
                  <c:v>Apr-17</c:v>
                </c:pt>
                <c:pt idx="328">
                  <c:v>Apr-17</c:v>
                </c:pt>
                <c:pt idx="329">
                  <c:v>Apr-17</c:v>
                </c:pt>
                <c:pt idx="330">
                  <c:v>Apr-17</c:v>
                </c:pt>
                <c:pt idx="331">
                  <c:v>May-17</c:v>
                </c:pt>
                <c:pt idx="332">
                  <c:v>May-17</c:v>
                </c:pt>
                <c:pt idx="333">
                  <c:v>May-17</c:v>
                </c:pt>
                <c:pt idx="334">
                  <c:v>May-17</c:v>
                </c:pt>
                <c:pt idx="335">
                  <c:v>May-17</c:v>
                </c:pt>
                <c:pt idx="336">
                  <c:v>May-17</c:v>
                </c:pt>
                <c:pt idx="337">
                  <c:v>May-17</c:v>
                </c:pt>
                <c:pt idx="338">
                  <c:v>May-17</c:v>
                </c:pt>
                <c:pt idx="339">
                  <c:v>May-17</c:v>
                </c:pt>
                <c:pt idx="340">
                  <c:v>May-17</c:v>
                </c:pt>
                <c:pt idx="341">
                  <c:v>May-17</c:v>
                </c:pt>
                <c:pt idx="342">
                  <c:v>May-17</c:v>
                </c:pt>
                <c:pt idx="343">
                  <c:v>May-17</c:v>
                </c:pt>
                <c:pt idx="344">
                  <c:v>May-17</c:v>
                </c:pt>
                <c:pt idx="345">
                  <c:v>May-17</c:v>
                </c:pt>
                <c:pt idx="346">
                  <c:v>May-17</c:v>
                </c:pt>
                <c:pt idx="347">
                  <c:v>May-17</c:v>
                </c:pt>
                <c:pt idx="348">
                  <c:v>May-17</c:v>
                </c:pt>
                <c:pt idx="349">
                  <c:v>May-17</c:v>
                </c:pt>
                <c:pt idx="350">
                  <c:v>May-17</c:v>
                </c:pt>
                <c:pt idx="351">
                  <c:v>May-17</c:v>
                </c:pt>
                <c:pt idx="352">
                  <c:v>May-17</c:v>
                </c:pt>
                <c:pt idx="353">
                  <c:v>Jun-17</c:v>
                </c:pt>
                <c:pt idx="354">
                  <c:v>Jun-17</c:v>
                </c:pt>
                <c:pt idx="355">
                  <c:v>Jun-17</c:v>
                </c:pt>
                <c:pt idx="356">
                  <c:v>Jun-17</c:v>
                </c:pt>
                <c:pt idx="357">
                  <c:v>Jun-17</c:v>
                </c:pt>
                <c:pt idx="358">
                  <c:v>Jun-17</c:v>
                </c:pt>
                <c:pt idx="359">
                  <c:v>Jun-17</c:v>
                </c:pt>
                <c:pt idx="360">
                  <c:v>Jun-17</c:v>
                </c:pt>
                <c:pt idx="361">
                  <c:v>Jun-17</c:v>
                </c:pt>
                <c:pt idx="362">
                  <c:v>Jun-17</c:v>
                </c:pt>
                <c:pt idx="363">
                  <c:v>Jun-17</c:v>
                </c:pt>
                <c:pt idx="364">
                  <c:v>Jun-17</c:v>
                </c:pt>
                <c:pt idx="365">
                  <c:v>Jun-17</c:v>
                </c:pt>
                <c:pt idx="366">
                  <c:v>Jun-17</c:v>
                </c:pt>
                <c:pt idx="367">
                  <c:v>Jun-17</c:v>
                </c:pt>
                <c:pt idx="368">
                  <c:v>Jun-17</c:v>
                </c:pt>
                <c:pt idx="369">
                  <c:v>Jun-17</c:v>
                </c:pt>
                <c:pt idx="370">
                  <c:v>Jun-17</c:v>
                </c:pt>
                <c:pt idx="371">
                  <c:v>Jun-17</c:v>
                </c:pt>
                <c:pt idx="372">
                  <c:v>Jun-17</c:v>
                </c:pt>
                <c:pt idx="373">
                  <c:v>Jun-17</c:v>
                </c:pt>
                <c:pt idx="374">
                  <c:v>Jun-17</c:v>
                </c:pt>
                <c:pt idx="375">
                  <c:v>Jul-17</c:v>
                </c:pt>
                <c:pt idx="376">
                  <c:v>Jul-17</c:v>
                </c:pt>
                <c:pt idx="377">
                  <c:v>Jul-17</c:v>
                </c:pt>
                <c:pt idx="378">
                  <c:v>Jul-17</c:v>
                </c:pt>
                <c:pt idx="379">
                  <c:v>Jul-17</c:v>
                </c:pt>
                <c:pt idx="380">
                  <c:v>Jul-17</c:v>
                </c:pt>
                <c:pt idx="381">
                  <c:v>Jul-17</c:v>
                </c:pt>
                <c:pt idx="382">
                  <c:v>Jul-17</c:v>
                </c:pt>
                <c:pt idx="383">
                  <c:v>Jul-17</c:v>
                </c:pt>
                <c:pt idx="384">
                  <c:v>Jul-17</c:v>
                </c:pt>
                <c:pt idx="385">
                  <c:v>Jul-17</c:v>
                </c:pt>
                <c:pt idx="386">
                  <c:v>Jul-17</c:v>
                </c:pt>
                <c:pt idx="387">
                  <c:v>Jul-17</c:v>
                </c:pt>
                <c:pt idx="388">
                  <c:v>Jul-17</c:v>
                </c:pt>
                <c:pt idx="389">
                  <c:v>Jul-17</c:v>
                </c:pt>
                <c:pt idx="390">
                  <c:v>Jul-17</c:v>
                </c:pt>
                <c:pt idx="391">
                  <c:v>Jul-17</c:v>
                </c:pt>
                <c:pt idx="392">
                  <c:v>Jul-17</c:v>
                </c:pt>
                <c:pt idx="393">
                  <c:v>Jul-17</c:v>
                </c:pt>
                <c:pt idx="394">
                  <c:v>Jul-17</c:v>
                </c:pt>
                <c:pt idx="395">
                  <c:v>Aug-17</c:v>
                </c:pt>
                <c:pt idx="396">
                  <c:v>Aug-17</c:v>
                </c:pt>
                <c:pt idx="397">
                  <c:v>Aug-17</c:v>
                </c:pt>
                <c:pt idx="398">
                  <c:v>Aug-17</c:v>
                </c:pt>
                <c:pt idx="399">
                  <c:v>Aug-17</c:v>
                </c:pt>
                <c:pt idx="400">
                  <c:v>Aug-17</c:v>
                </c:pt>
                <c:pt idx="401">
                  <c:v>Aug-17</c:v>
                </c:pt>
                <c:pt idx="402">
                  <c:v>Aug-17</c:v>
                </c:pt>
                <c:pt idx="403">
                  <c:v>Aug-17</c:v>
                </c:pt>
                <c:pt idx="404">
                  <c:v>Aug-17</c:v>
                </c:pt>
                <c:pt idx="405">
                  <c:v>Aug-17</c:v>
                </c:pt>
                <c:pt idx="406">
                  <c:v>Aug-17</c:v>
                </c:pt>
                <c:pt idx="407">
                  <c:v>Aug-17</c:v>
                </c:pt>
                <c:pt idx="408">
                  <c:v>Aug-17</c:v>
                </c:pt>
                <c:pt idx="409">
                  <c:v>Aug-17</c:v>
                </c:pt>
                <c:pt idx="410">
                  <c:v>Aug-17</c:v>
                </c:pt>
                <c:pt idx="411">
                  <c:v>Aug-17</c:v>
                </c:pt>
                <c:pt idx="412">
                  <c:v>Aug-17</c:v>
                </c:pt>
                <c:pt idx="413">
                  <c:v>Aug-17</c:v>
                </c:pt>
                <c:pt idx="414">
                  <c:v>Aug-17</c:v>
                </c:pt>
                <c:pt idx="415">
                  <c:v>Aug-17</c:v>
                </c:pt>
                <c:pt idx="416">
                  <c:v>Aug-17</c:v>
                </c:pt>
                <c:pt idx="417">
                  <c:v>Aug-17</c:v>
                </c:pt>
                <c:pt idx="418">
                  <c:v>Sep-17</c:v>
                </c:pt>
                <c:pt idx="419">
                  <c:v>Sep-17</c:v>
                </c:pt>
                <c:pt idx="420">
                  <c:v>Sep-17</c:v>
                </c:pt>
                <c:pt idx="421">
                  <c:v>Sep-17</c:v>
                </c:pt>
                <c:pt idx="422">
                  <c:v>Sep-17</c:v>
                </c:pt>
                <c:pt idx="423">
                  <c:v>Sep-17</c:v>
                </c:pt>
                <c:pt idx="424">
                  <c:v>Sep-17</c:v>
                </c:pt>
                <c:pt idx="425">
                  <c:v>Sep-17</c:v>
                </c:pt>
                <c:pt idx="426">
                  <c:v>Sep-17</c:v>
                </c:pt>
                <c:pt idx="427">
                  <c:v>Sep-17</c:v>
                </c:pt>
                <c:pt idx="428">
                  <c:v>Sep-17</c:v>
                </c:pt>
                <c:pt idx="429">
                  <c:v>Sep-17</c:v>
                </c:pt>
                <c:pt idx="430">
                  <c:v>Sep-17</c:v>
                </c:pt>
                <c:pt idx="431">
                  <c:v>Sep-17</c:v>
                </c:pt>
                <c:pt idx="432">
                  <c:v>Sep-17</c:v>
                </c:pt>
                <c:pt idx="433">
                  <c:v>Sep-17</c:v>
                </c:pt>
                <c:pt idx="434">
                  <c:v>Sep-17</c:v>
                </c:pt>
                <c:pt idx="435">
                  <c:v>Sep-17</c:v>
                </c:pt>
                <c:pt idx="436">
                  <c:v>Sep-17</c:v>
                </c:pt>
                <c:pt idx="437">
                  <c:v>Sep-17</c:v>
                </c:pt>
                <c:pt idx="438">
                  <c:v>Oct-17</c:v>
                </c:pt>
                <c:pt idx="439">
                  <c:v>Oct-17</c:v>
                </c:pt>
                <c:pt idx="440">
                  <c:v>Oct-17</c:v>
                </c:pt>
                <c:pt idx="441">
                  <c:v>Oct-17</c:v>
                </c:pt>
                <c:pt idx="442">
                  <c:v>Oct-17</c:v>
                </c:pt>
                <c:pt idx="443">
                  <c:v>Oct-17</c:v>
                </c:pt>
                <c:pt idx="444">
                  <c:v>Oct-17</c:v>
                </c:pt>
                <c:pt idx="445">
                  <c:v>Oct-17</c:v>
                </c:pt>
                <c:pt idx="446">
                  <c:v>Oct-17</c:v>
                </c:pt>
                <c:pt idx="447">
                  <c:v>Oct-17</c:v>
                </c:pt>
                <c:pt idx="448">
                  <c:v>Oct-17</c:v>
                </c:pt>
                <c:pt idx="449">
                  <c:v>Oct-17</c:v>
                </c:pt>
                <c:pt idx="450">
                  <c:v>Oct-17</c:v>
                </c:pt>
                <c:pt idx="451">
                  <c:v>Oct-17</c:v>
                </c:pt>
                <c:pt idx="452">
                  <c:v>Oct-17</c:v>
                </c:pt>
                <c:pt idx="453">
                  <c:v>Oct-17</c:v>
                </c:pt>
                <c:pt idx="454">
                  <c:v>Oct-17</c:v>
                </c:pt>
                <c:pt idx="455">
                  <c:v>Oct-17</c:v>
                </c:pt>
                <c:pt idx="456">
                  <c:v>Oct-17</c:v>
                </c:pt>
                <c:pt idx="457">
                  <c:v>Oct-17</c:v>
                </c:pt>
                <c:pt idx="458">
                  <c:v>Oct-17</c:v>
                </c:pt>
                <c:pt idx="459">
                  <c:v>Nov-17</c:v>
                </c:pt>
                <c:pt idx="460">
                  <c:v>Nov-17</c:v>
                </c:pt>
                <c:pt idx="461">
                  <c:v>Nov-17</c:v>
                </c:pt>
                <c:pt idx="462">
                  <c:v>Nov-17</c:v>
                </c:pt>
                <c:pt idx="463">
                  <c:v>Nov-17</c:v>
                </c:pt>
                <c:pt idx="464">
                  <c:v>Nov-17</c:v>
                </c:pt>
                <c:pt idx="465">
                  <c:v>Nov-17</c:v>
                </c:pt>
                <c:pt idx="466">
                  <c:v>Nov-17</c:v>
                </c:pt>
                <c:pt idx="467">
                  <c:v>Nov-17</c:v>
                </c:pt>
                <c:pt idx="468">
                  <c:v>Nov-17</c:v>
                </c:pt>
                <c:pt idx="469">
                  <c:v>Nov-17</c:v>
                </c:pt>
                <c:pt idx="470">
                  <c:v>Nov-17</c:v>
                </c:pt>
                <c:pt idx="471">
                  <c:v>Nov-17</c:v>
                </c:pt>
                <c:pt idx="472">
                  <c:v>Nov-17</c:v>
                </c:pt>
                <c:pt idx="473">
                  <c:v>Nov-17</c:v>
                </c:pt>
                <c:pt idx="474">
                  <c:v>Nov-17</c:v>
                </c:pt>
                <c:pt idx="475">
                  <c:v>Nov-17</c:v>
                </c:pt>
                <c:pt idx="476">
                  <c:v>Nov-17</c:v>
                </c:pt>
                <c:pt idx="477">
                  <c:v>Nov-17</c:v>
                </c:pt>
                <c:pt idx="478">
                  <c:v>Nov-17</c:v>
                </c:pt>
                <c:pt idx="479">
                  <c:v>Nov-17</c:v>
                </c:pt>
                <c:pt idx="480">
                  <c:v>Dec-17</c:v>
                </c:pt>
                <c:pt idx="481">
                  <c:v>Dec-17</c:v>
                </c:pt>
                <c:pt idx="482">
                  <c:v>Dec-17</c:v>
                </c:pt>
                <c:pt idx="483">
                  <c:v>Dec-17</c:v>
                </c:pt>
                <c:pt idx="484">
                  <c:v>Dec-17</c:v>
                </c:pt>
                <c:pt idx="485">
                  <c:v>Dec-17</c:v>
                </c:pt>
                <c:pt idx="486">
                  <c:v>Dec-17</c:v>
                </c:pt>
                <c:pt idx="487">
                  <c:v>Dec-17</c:v>
                </c:pt>
                <c:pt idx="488">
                  <c:v>Dec-17</c:v>
                </c:pt>
                <c:pt idx="489">
                  <c:v>Dec-17</c:v>
                </c:pt>
                <c:pt idx="490">
                  <c:v>Dec-17</c:v>
                </c:pt>
                <c:pt idx="491">
                  <c:v>Dec-17</c:v>
                </c:pt>
                <c:pt idx="492">
                  <c:v>Dec-17</c:v>
                </c:pt>
                <c:pt idx="493">
                  <c:v>Dec-17</c:v>
                </c:pt>
                <c:pt idx="494">
                  <c:v>Dec-17</c:v>
                </c:pt>
                <c:pt idx="495">
                  <c:v>Dec-17</c:v>
                </c:pt>
                <c:pt idx="496">
                  <c:v>Dec-17</c:v>
                </c:pt>
                <c:pt idx="497">
                  <c:v>Dec-17</c:v>
                </c:pt>
                <c:pt idx="498">
                  <c:v>Dec-17</c:v>
                </c:pt>
                <c:pt idx="499">
                  <c:v>Dec-17</c:v>
                </c:pt>
                <c:pt idx="500">
                  <c:v>Jan-18</c:v>
                </c:pt>
                <c:pt idx="501">
                  <c:v>Jan-18</c:v>
                </c:pt>
                <c:pt idx="502">
                  <c:v>Jan-18</c:v>
                </c:pt>
                <c:pt idx="503">
                  <c:v>Jan-18</c:v>
                </c:pt>
                <c:pt idx="504">
                  <c:v>Jan-18</c:v>
                </c:pt>
                <c:pt idx="505">
                  <c:v>Jan-18</c:v>
                </c:pt>
                <c:pt idx="506">
                  <c:v>Jan-18</c:v>
                </c:pt>
                <c:pt idx="507">
                  <c:v>Jan-18</c:v>
                </c:pt>
                <c:pt idx="508">
                  <c:v>Jan-18</c:v>
                </c:pt>
                <c:pt idx="509">
                  <c:v>Jan-18</c:v>
                </c:pt>
                <c:pt idx="510">
                  <c:v>Jan-18</c:v>
                </c:pt>
                <c:pt idx="511">
                  <c:v>Jan-18</c:v>
                </c:pt>
                <c:pt idx="512">
                  <c:v>Jan-18</c:v>
                </c:pt>
                <c:pt idx="513">
                  <c:v>Jan-18</c:v>
                </c:pt>
                <c:pt idx="514">
                  <c:v>Jan-18</c:v>
                </c:pt>
                <c:pt idx="515">
                  <c:v>Jan-18</c:v>
                </c:pt>
                <c:pt idx="516">
                  <c:v>Jan-18</c:v>
                </c:pt>
                <c:pt idx="517">
                  <c:v>Jan-18</c:v>
                </c:pt>
                <c:pt idx="518">
                  <c:v>Jan-18</c:v>
                </c:pt>
                <c:pt idx="519">
                  <c:v>Jan-18</c:v>
                </c:pt>
                <c:pt idx="520">
                  <c:v>Jan-18</c:v>
                </c:pt>
                <c:pt idx="521">
                  <c:v>Feb-18</c:v>
                </c:pt>
                <c:pt idx="522">
                  <c:v>Feb-18</c:v>
                </c:pt>
                <c:pt idx="523">
                  <c:v>Feb-18</c:v>
                </c:pt>
                <c:pt idx="524">
                  <c:v>Feb-18</c:v>
                </c:pt>
                <c:pt idx="525">
                  <c:v>Feb-18</c:v>
                </c:pt>
                <c:pt idx="526">
                  <c:v>Feb-18</c:v>
                </c:pt>
                <c:pt idx="527">
                  <c:v>Feb-18</c:v>
                </c:pt>
                <c:pt idx="528">
                  <c:v>Feb-18</c:v>
                </c:pt>
                <c:pt idx="529">
                  <c:v>Feb-18</c:v>
                </c:pt>
                <c:pt idx="530">
                  <c:v>Feb-18</c:v>
                </c:pt>
                <c:pt idx="531">
                  <c:v>Feb-18</c:v>
                </c:pt>
                <c:pt idx="532">
                  <c:v>Feb-18</c:v>
                </c:pt>
                <c:pt idx="533">
                  <c:v>Feb-18</c:v>
                </c:pt>
                <c:pt idx="534">
                  <c:v>Feb-18</c:v>
                </c:pt>
                <c:pt idx="535">
                  <c:v>Feb-18</c:v>
                </c:pt>
                <c:pt idx="536">
                  <c:v>Feb-18</c:v>
                </c:pt>
                <c:pt idx="537">
                  <c:v>Feb-18</c:v>
                </c:pt>
                <c:pt idx="538">
                  <c:v>Feb-18</c:v>
                </c:pt>
                <c:pt idx="539">
                  <c:v>Feb-18</c:v>
                </c:pt>
                <c:pt idx="540">
                  <c:v>Mar-18</c:v>
                </c:pt>
                <c:pt idx="541">
                  <c:v>Mar-18</c:v>
                </c:pt>
                <c:pt idx="542">
                  <c:v>Mar-18</c:v>
                </c:pt>
                <c:pt idx="543">
                  <c:v>Mar-18</c:v>
                </c:pt>
                <c:pt idx="544">
                  <c:v>Mar-18</c:v>
                </c:pt>
                <c:pt idx="545">
                  <c:v>Mar-18</c:v>
                </c:pt>
                <c:pt idx="546">
                  <c:v>Mar-18</c:v>
                </c:pt>
                <c:pt idx="547">
                  <c:v>Mar-18</c:v>
                </c:pt>
                <c:pt idx="548">
                  <c:v>Mar-18</c:v>
                </c:pt>
                <c:pt idx="549">
                  <c:v>Mar-18</c:v>
                </c:pt>
                <c:pt idx="550">
                  <c:v>Mar-18</c:v>
                </c:pt>
                <c:pt idx="551">
                  <c:v>Mar-18</c:v>
                </c:pt>
                <c:pt idx="552">
                  <c:v>Mar-18</c:v>
                </c:pt>
                <c:pt idx="553">
                  <c:v>Mar-18</c:v>
                </c:pt>
                <c:pt idx="554">
                  <c:v>Mar-18</c:v>
                </c:pt>
                <c:pt idx="555">
                  <c:v>Mar-18</c:v>
                </c:pt>
                <c:pt idx="556">
                  <c:v>Mar-18</c:v>
                </c:pt>
                <c:pt idx="557">
                  <c:v>Mar-18</c:v>
                </c:pt>
                <c:pt idx="558">
                  <c:v>Mar-18</c:v>
                </c:pt>
                <c:pt idx="559">
                  <c:v>Mar-18</c:v>
                </c:pt>
                <c:pt idx="560">
                  <c:v>Mar-18</c:v>
                </c:pt>
                <c:pt idx="561">
                  <c:v>Apr-18</c:v>
                </c:pt>
                <c:pt idx="562">
                  <c:v>Apr-18</c:v>
                </c:pt>
                <c:pt idx="563">
                  <c:v>Apr-18</c:v>
                </c:pt>
                <c:pt idx="564">
                  <c:v>Apr-18</c:v>
                </c:pt>
                <c:pt idx="565">
                  <c:v>Apr-18</c:v>
                </c:pt>
                <c:pt idx="566">
                  <c:v>Apr-18</c:v>
                </c:pt>
                <c:pt idx="567">
                  <c:v>Apr-18</c:v>
                </c:pt>
                <c:pt idx="568">
                  <c:v>Apr-18</c:v>
                </c:pt>
                <c:pt idx="569">
                  <c:v>Apr-18</c:v>
                </c:pt>
                <c:pt idx="570">
                  <c:v>Apr-18</c:v>
                </c:pt>
                <c:pt idx="571">
                  <c:v>Apr-18</c:v>
                </c:pt>
                <c:pt idx="572">
                  <c:v>Apr-18</c:v>
                </c:pt>
                <c:pt idx="573">
                  <c:v>Apr-18</c:v>
                </c:pt>
                <c:pt idx="574">
                  <c:v>Apr-18</c:v>
                </c:pt>
                <c:pt idx="575">
                  <c:v>Apr-18</c:v>
                </c:pt>
                <c:pt idx="576">
                  <c:v>Apr-18</c:v>
                </c:pt>
                <c:pt idx="577">
                  <c:v>Apr-18</c:v>
                </c:pt>
                <c:pt idx="578">
                  <c:v>Apr-18</c:v>
                </c:pt>
                <c:pt idx="579">
                  <c:v>Apr-18</c:v>
                </c:pt>
                <c:pt idx="580">
                  <c:v>Apr-18</c:v>
                </c:pt>
                <c:pt idx="581">
                  <c:v>Apr-18</c:v>
                </c:pt>
                <c:pt idx="582">
                  <c:v>May-18</c:v>
                </c:pt>
                <c:pt idx="583">
                  <c:v>May-18</c:v>
                </c:pt>
                <c:pt idx="584">
                  <c:v>May-18</c:v>
                </c:pt>
                <c:pt idx="585">
                  <c:v>May-18</c:v>
                </c:pt>
                <c:pt idx="586">
                  <c:v>May-18</c:v>
                </c:pt>
                <c:pt idx="587">
                  <c:v>May-18</c:v>
                </c:pt>
                <c:pt idx="588">
                  <c:v>May-18</c:v>
                </c:pt>
                <c:pt idx="589">
                  <c:v>May-18</c:v>
                </c:pt>
                <c:pt idx="590">
                  <c:v>May-18</c:v>
                </c:pt>
                <c:pt idx="591">
                  <c:v>May-18</c:v>
                </c:pt>
                <c:pt idx="592">
                  <c:v>May-18</c:v>
                </c:pt>
                <c:pt idx="593">
                  <c:v>May-18</c:v>
                </c:pt>
                <c:pt idx="594">
                  <c:v>May-18</c:v>
                </c:pt>
                <c:pt idx="595">
                  <c:v>May-18</c:v>
                </c:pt>
                <c:pt idx="596">
                  <c:v>May-18</c:v>
                </c:pt>
                <c:pt idx="597">
                  <c:v>May-18</c:v>
                </c:pt>
                <c:pt idx="598">
                  <c:v>May-18</c:v>
                </c:pt>
                <c:pt idx="599">
                  <c:v>May-18</c:v>
                </c:pt>
                <c:pt idx="600">
                  <c:v>May-18</c:v>
                </c:pt>
                <c:pt idx="601">
                  <c:v>May-18</c:v>
                </c:pt>
                <c:pt idx="602">
                  <c:v>May-18</c:v>
                </c:pt>
                <c:pt idx="603">
                  <c:v>May-18</c:v>
                </c:pt>
                <c:pt idx="604">
                  <c:v>Jun-18</c:v>
                </c:pt>
                <c:pt idx="605">
                  <c:v>Jun-18</c:v>
                </c:pt>
                <c:pt idx="606">
                  <c:v>Jun-18</c:v>
                </c:pt>
                <c:pt idx="607">
                  <c:v>Jun-18</c:v>
                </c:pt>
                <c:pt idx="608">
                  <c:v>Jun-18</c:v>
                </c:pt>
                <c:pt idx="609">
                  <c:v>Jun-18</c:v>
                </c:pt>
                <c:pt idx="610">
                  <c:v>Jun-18</c:v>
                </c:pt>
                <c:pt idx="611">
                  <c:v>Jun-18</c:v>
                </c:pt>
                <c:pt idx="612">
                  <c:v>Jun-18</c:v>
                </c:pt>
                <c:pt idx="613">
                  <c:v>Jun-18</c:v>
                </c:pt>
                <c:pt idx="614">
                  <c:v>Jun-18</c:v>
                </c:pt>
                <c:pt idx="615">
                  <c:v>Jun-18</c:v>
                </c:pt>
                <c:pt idx="616">
                  <c:v>Jun-18</c:v>
                </c:pt>
                <c:pt idx="617">
                  <c:v>Jun-18</c:v>
                </c:pt>
                <c:pt idx="618">
                  <c:v>Jun-18</c:v>
                </c:pt>
                <c:pt idx="619">
                  <c:v>Jun-18</c:v>
                </c:pt>
                <c:pt idx="620">
                  <c:v>Jun-18</c:v>
                </c:pt>
                <c:pt idx="621">
                  <c:v>Jun-18</c:v>
                </c:pt>
                <c:pt idx="622">
                  <c:v>Jun-18</c:v>
                </c:pt>
                <c:pt idx="623">
                  <c:v>Jun-18</c:v>
                </c:pt>
                <c:pt idx="624">
                  <c:v>Jun-18</c:v>
                </c:pt>
                <c:pt idx="625">
                  <c:v>Jul-18</c:v>
                </c:pt>
                <c:pt idx="626">
                  <c:v>Jul-18</c:v>
                </c:pt>
                <c:pt idx="627">
                  <c:v>Jul-18</c:v>
                </c:pt>
                <c:pt idx="628">
                  <c:v>Jul-18</c:v>
                </c:pt>
                <c:pt idx="629">
                  <c:v>Jul-18</c:v>
                </c:pt>
                <c:pt idx="630">
                  <c:v>Jul-18</c:v>
                </c:pt>
                <c:pt idx="631">
                  <c:v>Jul-18</c:v>
                </c:pt>
                <c:pt idx="632">
                  <c:v>Jul-18</c:v>
                </c:pt>
                <c:pt idx="633">
                  <c:v>Jul-18</c:v>
                </c:pt>
                <c:pt idx="634">
                  <c:v>Jul-18</c:v>
                </c:pt>
                <c:pt idx="635">
                  <c:v>Jul-18</c:v>
                </c:pt>
                <c:pt idx="636">
                  <c:v>Jul-18</c:v>
                </c:pt>
                <c:pt idx="637">
                  <c:v>Jul-18</c:v>
                </c:pt>
                <c:pt idx="638">
                  <c:v>Jul-18</c:v>
                </c:pt>
                <c:pt idx="639">
                  <c:v>Jul-18</c:v>
                </c:pt>
                <c:pt idx="640">
                  <c:v>Jul-18</c:v>
                </c:pt>
                <c:pt idx="641">
                  <c:v>Jul-18</c:v>
                </c:pt>
                <c:pt idx="642">
                  <c:v>Jul-18</c:v>
                </c:pt>
                <c:pt idx="643">
                  <c:v>Jul-18</c:v>
                </c:pt>
                <c:pt idx="644">
                  <c:v>Jul-18</c:v>
                </c:pt>
                <c:pt idx="645">
                  <c:v>Jul-18</c:v>
                </c:pt>
                <c:pt idx="646">
                  <c:v>Aug-18</c:v>
                </c:pt>
                <c:pt idx="647">
                  <c:v>Aug-18</c:v>
                </c:pt>
                <c:pt idx="648">
                  <c:v>Aug-18</c:v>
                </c:pt>
                <c:pt idx="649">
                  <c:v>Aug-18</c:v>
                </c:pt>
                <c:pt idx="650">
                  <c:v>Aug-18</c:v>
                </c:pt>
                <c:pt idx="651">
                  <c:v>Aug-18</c:v>
                </c:pt>
                <c:pt idx="652">
                  <c:v>Aug-18</c:v>
                </c:pt>
                <c:pt idx="653">
                  <c:v>Aug-18</c:v>
                </c:pt>
                <c:pt idx="654">
                  <c:v>Aug-18</c:v>
                </c:pt>
                <c:pt idx="655">
                  <c:v>Aug-18</c:v>
                </c:pt>
                <c:pt idx="656">
                  <c:v>Aug-18</c:v>
                </c:pt>
                <c:pt idx="657">
                  <c:v>Aug-18</c:v>
                </c:pt>
                <c:pt idx="658">
                  <c:v>Aug-18</c:v>
                </c:pt>
                <c:pt idx="659">
                  <c:v>Aug-18</c:v>
                </c:pt>
                <c:pt idx="660">
                  <c:v>Aug-18</c:v>
                </c:pt>
                <c:pt idx="661">
                  <c:v>Aug-18</c:v>
                </c:pt>
                <c:pt idx="662">
                  <c:v>Aug-18</c:v>
                </c:pt>
                <c:pt idx="663">
                  <c:v>Aug-18</c:v>
                </c:pt>
                <c:pt idx="664">
                  <c:v>Aug-18</c:v>
                </c:pt>
                <c:pt idx="665">
                  <c:v>Aug-18</c:v>
                </c:pt>
                <c:pt idx="666">
                  <c:v>Aug-18</c:v>
                </c:pt>
                <c:pt idx="667">
                  <c:v>Aug-18</c:v>
                </c:pt>
                <c:pt idx="668">
                  <c:v>Aug-18</c:v>
                </c:pt>
                <c:pt idx="669">
                  <c:v>Sep-18</c:v>
                </c:pt>
                <c:pt idx="670">
                  <c:v>Sep-18</c:v>
                </c:pt>
                <c:pt idx="671">
                  <c:v>Sep-18</c:v>
                </c:pt>
                <c:pt idx="672">
                  <c:v>Sep-18</c:v>
                </c:pt>
                <c:pt idx="673">
                  <c:v>Sep-18</c:v>
                </c:pt>
                <c:pt idx="674">
                  <c:v>Sep-18</c:v>
                </c:pt>
                <c:pt idx="675">
                  <c:v>Sep-18</c:v>
                </c:pt>
                <c:pt idx="676">
                  <c:v>Sep-18</c:v>
                </c:pt>
                <c:pt idx="677">
                  <c:v>Sep-18</c:v>
                </c:pt>
                <c:pt idx="678">
                  <c:v>Sep-18</c:v>
                </c:pt>
                <c:pt idx="679">
                  <c:v>Sep-18</c:v>
                </c:pt>
                <c:pt idx="680">
                  <c:v>Sep-18</c:v>
                </c:pt>
                <c:pt idx="681">
                  <c:v>Sep-18</c:v>
                </c:pt>
                <c:pt idx="682">
                  <c:v>Sep-18</c:v>
                </c:pt>
                <c:pt idx="683">
                  <c:v>Sep-18</c:v>
                </c:pt>
                <c:pt idx="684">
                  <c:v>Sep-18</c:v>
                </c:pt>
                <c:pt idx="685">
                  <c:v>Sep-18</c:v>
                </c:pt>
                <c:pt idx="686">
                  <c:v>Sep-18</c:v>
                </c:pt>
                <c:pt idx="687">
                  <c:v>Sep-18</c:v>
                </c:pt>
                <c:pt idx="688">
                  <c:v>Oct-18</c:v>
                </c:pt>
                <c:pt idx="689">
                  <c:v>Oct-18</c:v>
                </c:pt>
                <c:pt idx="690">
                  <c:v>Oct-18</c:v>
                </c:pt>
                <c:pt idx="691">
                  <c:v>Oct-18</c:v>
                </c:pt>
                <c:pt idx="692">
                  <c:v>Oct-18</c:v>
                </c:pt>
                <c:pt idx="693">
                  <c:v>Oct-18</c:v>
                </c:pt>
                <c:pt idx="694">
                  <c:v>Oct-18</c:v>
                </c:pt>
                <c:pt idx="695">
                  <c:v>Oct-18</c:v>
                </c:pt>
                <c:pt idx="696">
                  <c:v>Oct-18</c:v>
                </c:pt>
                <c:pt idx="697">
                  <c:v>Oct-18</c:v>
                </c:pt>
                <c:pt idx="698">
                  <c:v>Oct-18</c:v>
                </c:pt>
                <c:pt idx="699">
                  <c:v>Oct-18</c:v>
                </c:pt>
                <c:pt idx="700">
                  <c:v>Oct-18</c:v>
                </c:pt>
                <c:pt idx="701">
                  <c:v>Oct-18</c:v>
                </c:pt>
                <c:pt idx="702">
                  <c:v>Oct-18</c:v>
                </c:pt>
                <c:pt idx="703">
                  <c:v>Oct-18</c:v>
                </c:pt>
                <c:pt idx="704">
                  <c:v>Oct-18</c:v>
                </c:pt>
                <c:pt idx="705">
                  <c:v>Oct-18</c:v>
                </c:pt>
                <c:pt idx="706">
                  <c:v>Oct-18</c:v>
                </c:pt>
                <c:pt idx="707">
                  <c:v>Oct-18</c:v>
                </c:pt>
                <c:pt idx="708">
                  <c:v>Oct-18</c:v>
                </c:pt>
                <c:pt idx="709">
                  <c:v>Oct-18</c:v>
                </c:pt>
                <c:pt idx="710">
                  <c:v>Nov-18</c:v>
                </c:pt>
                <c:pt idx="711">
                  <c:v>Nov-18</c:v>
                </c:pt>
                <c:pt idx="712">
                  <c:v>Nov-18</c:v>
                </c:pt>
                <c:pt idx="713">
                  <c:v>Nov-18</c:v>
                </c:pt>
                <c:pt idx="714">
                  <c:v>Nov-18</c:v>
                </c:pt>
                <c:pt idx="715">
                  <c:v>Nov-18</c:v>
                </c:pt>
                <c:pt idx="716">
                  <c:v>Nov-18</c:v>
                </c:pt>
                <c:pt idx="717">
                  <c:v>Nov-18</c:v>
                </c:pt>
                <c:pt idx="718">
                  <c:v>Nov-18</c:v>
                </c:pt>
                <c:pt idx="719">
                  <c:v>Nov-18</c:v>
                </c:pt>
                <c:pt idx="720">
                  <c:v>Nov-18</c:v>
                </c:pt>
                <c:pt idx="721">
                  <c:v>Nov-18</c:v>
                </c:pt>
                <c:pt idx="722">
                  <c:v>Nov-18</c:v>
                </c:pt>
                <c:pt idx="723">
                  <c:v>Nov-18</c:v>
                </c:pt>
                <c:pt idx="724">
                  <c:v>Nov-18</c:v>
                </c:pt>
                <c:pt idx="725">
                  <c:v>Nov-18</c:v>
                </c:pt>
                <c:pt idx="726">
                  <c:v>Nov-18</c:v>
                </c:pt>
                <c:pt idx="727">
                  <c:v>Nov-18</c:v>
                </c:pt>
                <c:pt idx="728">
                  <c:v>Nov-18</c:v>
                </c:pt>
                <c:pt idx="729">
                  <c:v>Nov-18</c:v>
                </c:pt>
                <c:pt idx="730">
                  <c:v>Dec-18</c:v>
                </c:pt>
                <c:pt idx="731">
                  <c:v>Dec-18</c:v>
                </c:pt>
                <c:pt idx="732">
                  <c:v>Dec-18</c:v>
                </c:pt>
                <c:pt idx="733">
                  <c:v>Dec-18</c:v>
                </c:pt>
                <c:pt idx="734">
                  <c:v>Dec-18</c:v>
                </c:pt>
                <c:pt idx="735">
                  <c:v>Dec-18</c:v>
                </c:pt>
                <c:pt idx="736">
                  <c:v>Dec-18</c:v>
                </c:pt>
                <c:pt idx="737">
                  <c:v>Dec-18</c:v>
                </c:pt>
                <c:pt idx="738">
                  <c:v>Dec-18</c:v>
                </c:pt>
                <c:pt idx="739">
                  <c:v>Dec-18</c:v>
                </c:pt>
                <c:pt idx="740">
                  <c:v>Dec-18</c:v>
                </c:pt>
                <c:pt idx="741">
                  <c:v>Dec-18</c:v>
                </c:pt>
                <c:pt idx="742">
                  <c:v>Dec-18</c:v>
                </c:pt>
                <c:pt idx="743">
                  <c:v>Dec-18</c:v>
                </c:pt>
                <c:pt idx="744">
                  <c:v>Dec-18</c:v>
                </c:pt>
                <c:pt idx="745">
                  <c:v>Dec-18</c:v>
                </c:pt>
                <c:pt idx="746">
                  <c:v>Dec-18</c:v>
                </c:pt>
                <c:pt idx="747">
                  <c:v>Dec-18</c:v>
                </c:pt>
                <c:pt idx="748">
                  <c:v>Dec-18</c:v>
                </c:pt>
                <c:pt idx="749">
                  <c:v>Jan-19</c:v>
                </c:pt>
                <c:pt idx="750">
                  <c:v>Jan-19</c:v>
                </c:pt>
                <c:pt idx="751">
                  <c:v>Jan-19</c:v>
                </c:pt>
                <c:pt idx="752">
                  <c:v>Jan-19</c:v>
                </c:pt>
                <c:pt idx="753">
                  <c:v>Jan-19</c:v>
                </c:pt>
                <c:pt idx="754">
                  <c:v>09-Jan-19</c:v>
                </c:pt>
                <c:pt idx="755">
                  <c:v>10-Jan-19</c:v>
                </c:pt>
                <c:pt idx="756">
                  <c:v>11-Jan-20</c:v>
                </c:pt>
                <c:pt idx="757">
                  <c:v>14-Jan-19</c:v>
                </c:pt>
                <c:pt idx="758">
                  <c:v>15-Jan-19</c:v>
                </c:pt>
                <c:pt idx="759">
                  <c:v>Jan-19</c:v>
                </c:pt>
                <c:pt idx="760">
                  <c:v>17-Jan-19</c:v>
                </c:pt>
                <c:pt idx="761">
                  <c:v>18-Jan-19</c:v>
                </c:pt>
                <c:pt idx="762">
                  <c:v>22-Jan-19</c:v>
                </c:pt>
                <c:pt idx="763">
                  <c:v>23-Jan-19</c:v>
                </c:pt>
                <c:pt idx="764">
                  <c:v>24-Jan-19</c:v>
                </c:pt>
                <c:pt idx="765">
                  <c:v>Jan-19</c:v>
                </c:pt>
                <c:pt idx="766">
                  <c:v>28-Jan-19</c:v>
                </c:pt>
                <c:pt idx="767">
                  <c:v>Jan-19</c:v>
                </c:pt>
                <c:pt idx="768">
                  <c:v>Jan-19</c:v>
                </c:pt>
                <c:pt idx="769">
                  <c:v>Jan-19</c:v>
                </c:pt>
                <c:pt idx="770">
                  <c:v>Feb-19</c:v>
                </c:pt>
                <c:pt idx="771">
                  <c:v>Feb-19</c:v>
                </c:pt>
                <c:pt idx="772">
                  <c:v>Feb-19</c:v>
                </c:pt>
                <c:pt idx="773">
                  <c:v>Feb-19</c:v>
                </c:pt>
                <c:pt idx="774">
                  <c:v>Feb-19</c:v>
                </c:pt>
                <c:pt idx="775">
                  <c:v>Feb-19</c:v>
                </c:pt>
                <c:pt idx="776">
                  <c:v>Feb-19</c:v>
                </c:pt>
                <c:pt idx="777">
                  <c:v>Feb-19</c:v>
                </c:pt>
                <c:pt idx="778">
                  <c:v>Feb-19</c:v>
                </c:pt>
                <c:pt idx="779">
                  <c:v>Feb-19</c:v>
                </c:pt>
                <c:pt idx="780">
                  <c:v>Feb-19</c:v>
                </c:pt>
                <c:pt idx="781">
                  <c:v>Feb-19</c:v>
                </c:pt>
                <c:pt idx="782">
                  <c:v>Feb-19</c:v>
                </c:pt>
                <c:pt idx="783">
                  <c:v>Feb-19</c:v>
                </c:pt>
                <c:pt idx="784">
                  <c:v>Feb-19</c:v>
                </c:pt>
                <c:pt idx="785">
                  <c:v>Feb-19</c:v>
                </c:pt>
                <c:pt idx="786">
                  <c:v>Feb-19</c:v>
                </c:pt>
                <c:pt idx="787">
                  <c:v>Feb-19</c:v>
                </c:pt>
                <c:pt idx="788">
                  <c:v>Feb-19</c:v>
                </c:pt>
                <c:pt idx="789">
                  <c:v>Mar-19</c:v>
                </c:pt>
                <c:pt idx="790">
                  <c:v>Mar-19</c:v>
                </c:pt>
                <c:pt idx="791">
                  <c:v>Mar-19</c:v>
                </c:pt>
                <c:pt idx="792">
                  <c:v>Mar-19</c:v>
                </c:pt>
                <c:pt idx="793">
                  <c:v>Mar-19</c:v>
                </c:pt>
                <c:pt idx="794">
                  <c:v>Mar-19</c:v>
                </c:pt>
                <c:pt idx="795">
                  <c:v>Mar-19</c:v>
                </c:pt>
                <c:pt idx="796">
                  <c:v>Mar-19</c:v>
                </c:pt>
                <c:pt idx="797">
                  <c:v>Mar-19</c:v>
                </c:pt>
                <c:pt idx="798">
                  <c:v>Mar-19</c:v>
                </c:pt>
                <c:pt idx="799">
                  <c:v>Mar-19</c:v>
                </c:pt>
                <c:pt idx="800">
                  <c:v>Mar-19</c:v>
                </c:pt>
                <c:pt idx="801">
                  <c:v>Mar-19</c:v>
                </c:pt>
                <c:pt idx="802">
                  <c:v>Mar-19</c:v>
                </c:pt>
                <c:pt idx="803">
                  <c:v>Mar-19</c:v>
                </c:pt>
                <c:pt idx="804">
                  <c:v>Mar-19</c:v>
                </c:pt>
                <c:pt idx="805">
                  <c:v>Mar-19</c:v>
                </c:pt>
                <c:pt idx="806">
                  <c:v>Mar-19</c:v>
                </c:pt>
                <c:pt idx="807">
                  <c:v>Mar-19</c:v>
                </c:pt>
                <c:pt idx="808">
                  <c:v>Mar-19</c:v>
                </c:pt>
                <c:pt idx="809">
                  <c:v>Mar-19</c:v>
                </c:pt>
                <c:pt idx="810">
                  <c:v>Apr-19</c:v>
                </c:pt>
                <c:pt idx="811">
                  <c:v>Apr-19</c:v>
                </c:pt>
                <c:pt idx="812">
                  <c:v>03-Apr-19</c:v>
                </c:pt>
                <c:pt idx="813">
                  <c:v>Apr-19</c:v>
                </c:pt>
                <c:pt idx="814">
                  <c:v>Apr-19</c:v>
                </c:pt>
                <c:pt idx="815">
                  <c:v>Apr-19</c:v>
                </c:pt>
                <c:pt idx="816">
                  <c:v>Apr-19</c:v>
                </c:pt>
                <c:pt idx="817">
                  <c:v>Apr-19</c:v>
                </c:pt>
                <c:pt idx="818">
                  <c:v>Apr-19</c:v>
                </c:pt>
                <c:pt idx="819">
                  <c:v>12-Apr-19</c:v>
                </c:pt>
                <c:pt idx="820">
                  <c:v>15-Apr-19</c:v>
                </c:pt>
                <c:pt idx="821">
                  <c:v>16-Apr-19</c:v>
                </c:pt>
                <c:pt idx="822">
                  <c:v>17-Apr-19</c:v>
                </c:pt>
                <c:pt idx="823">
                  <c:v>18-Apr-19</c:v>
                </c:pt>
                <c:pt idx="824">
                  <c:v>Apr-19</c:v>
                </c:pt>
                <c:pt idx="825">
                  <c:v>Apr-19</c:v>
                </c:pt>
                <c:pt idx="826">
                  <c:v>Apr-19</c:v>
                </c:pt>
                <c:pt idx="827">
                  <c:v>Apr-19</c:v>
                </c:pt>
                <c:pt idx="828">
                  <c:v>Apr-19</c:v>
                </c:pt>
                <c:pt idx="829">
                  <c:v>Apr-19</c:v>
                </c:pt>
                <c:pt idx="830">
                  <c:v>Apr-19</c:v>
                </c:pt>
                <c:pt idx="831">
                  <c:v>May-19</c:v>
                </c:pt>
                <c:pt idx="832">
                  <c:v>May-19</c:v>
                </c:pt>
                <c:pt idx="833">
                  <c:v>May-19</c:v>
                </c:pt>
                <c:pt idx="834">
                  <c:v>May-19</c:v>
                </c:pt>
                <c:pt idx="835">
                  <c:v>May-19</c:v>
                </c:pt>
                <c:pt idx="836">
                  <c:v>May-19</c:v>
                </c:pt>
                <c:pt idx="837">
                  <c:v>May-19</c:v>
                </c:pt>
                <c:pt idx="838">
                  <c:v>May-19</c:v>
                </c:pt>
                <c:pt idx="839">
                  <c:v>May-19</c:v>
                </c:pt>
                <c:pt idx="840">
                  <c:v>May-19</c:v>
                </c:pt>
                <c:pt idx="841">
                  <c:v>May-19</c:v>
                </c:pt>
                <c:pt idx="842">
                  <c:v>May-19</c:v>
                </c:pt>
                <c:pt idx="843">
                  <c:v>May-19</c:v>
                </c:pt>
                <c:pt idx="844">
                  <c:v>May-19</c:v>
                </c:pt>
                <c:pt idx="845">
                  <c:v>May-19</c:v>
                </c:pt>
                <c:pt idx="846">
                  <c:v>May-19</c:v>
                </c:pt>
                <c:pt idx="847">
                  <c:v>May-19</c:v>
                </c:pt>
                <c:pt idx="848">
                  <c:v>May-19</c:v>
                </c:pt>
                <c:pt idx="849">
                  <c:v>May-19</c:v>
                </c:pt>
                <c:pt idx="850">
                  <c:v>May-19</c:v>
                </c:pt>
                <c:pt idx="851">
                  <c:v>May-19</c:v>
                </c:pt>
                <c:pt idx="852">
                  <c:v>May-19</c:v>
                </c:pt>
                <c:pt idx="853">
                  <c:v>Jun-19</c:v>
                </c:pt>
                <c:pt idx="854">
                  <c:v>Jun-19</c:v>
                </c:pt>
                <c:pt idx="855">
                  <c:v>Jun-19</c:v>
                </c:pt>
                <c:pt idx="856">
                  <c:v>Jun-19</c:v>
                </c:pt>
                <c:pt idx="857">
                  <c:v>Jun-19</c:v>
                </c:pt>
                <c:pt idx="858">
                  <c:v>Jun-19</c:v>
                </c:pt>
                <c:pt idx="859">
                  <c:v>Jun-19</c:v>
                </c:pt>
                <c:pt idx="860">
                  <c:v>Jun-19</c:v>
                </c:pt>
                <c:pt idx="861">
                  <c:v>Jun-19</c:v>
                </c:pt>
                <c:pt idx="862">
                  <c:v>Jun-19</c:v>
                </c:pt>
                <c:pt idx="863">
                  <c:v>Jun-19</c:v>
                </c:pt>
                <c:pt idx="864">
                  <c:v>Jun-19</c:v>
                </c:pt>
                <c:pt idx="865">
                  <c:v>Jun-19</c:v>
                </c:pt>
                <c:pt idx="866">
                  <c:v>Jun-19</c:v>
                </c:pt>
                <c:pt idx="867">
                  <c:v>Jun-19</c:v>
                </c:pt>
                <c:pt idx="868">
                  <c:v>Jun-19</c:v>
                </c:pt>
                <c:pt idx="869">
                  <c:v>Jun-19</c:v>
                </c:pt>
                <c:pt idx="870">
                  <c:v>Jun-19</c:v>
                </c:pt>
                <c:pt idx="871">
                  <c:v>Jun-19</c:v>
                </c:pt>
                <c:pt idx="872">
                  <c:v>Jun-19</c:v>
                </c:pt>
                <c:pt idx="873">
                  <c:v>Jul-19</c:v>
                </c:pt>
                <c:pt idx="874">
                  <c:v>Jul-19</c:v>
                </c:pt>
                <c:pt idx="875">
                  <c:v>Jul-19</c:v>
                </c:pt>
                <c:pt idx="876">
                  <c:v>Jul-19</c:v>
                </c:pt>
                <c:pt idx="877">
                  <c:v>Jul-19</c:v>
                </c:pt>
                <c:pt idx="878">
                  <c:v>Jul-19</c:v>
                </c:pt>
                <c:pt idx="879">
                  <c:v>Jul-19</c:v>
                </c:pt>
                <c:pt idx="880">
                  <c:v>Jul-19</c:v>
                </c:pt>
                <c:pt idx="881">
                  <c:v>Jul-19</c:v>
                </c:pt>
                <c:pt idx="882">
                  <c:v>Jul-19</c:v>
                </c:pt>
                <c:pt idx="883">
                  <c:v>Jul-19</c:v>
                </c:pt>
                <c:pt idx="884">
                  <c:v>Jul-19</c:v>
                </c:pt>
                <c:pt idx="885">
                  <c:v>Jul-19</c:v>
                </c:pt>
                <c:pt idx="886">
                  <c:v>Jul-19</c:v>
                </c:pt>
                <c:pt idx="887">
                  <c:v>Jul-19</c:v>
                </c:pt>
                <c:pt idx="888">
                  <c:v>Jul-19</c:v>
                </c:pt>
                <c:pt idx="889">
                  <c:v>Jul-19</c:v>
                </c:pt>
                <c:pt idx="890">
                  <c:v>Jul-19</c:v>
                </c:pt>
                <c:pt idx="891">
                  <c:v>Jul-19</c:v>
                </c:pt>
                <c:pt idx="892">
                  <c:v>Jul-19</c:v>
                </c:pt>
                <c:pt idx="893">
                  <c:v>Jul-19</c:v>
                </c:pt>
                <c:pt idx="894">
                  <c:v>Jul-19</c:v>
                </c:pt>
                <c:pt idx="895">
                  <c:v>Aug-19</c:v>
                </c:pt>
                <c:pt idx="896">
                  <c:v>Aug-19</c:v>
                </c:pt>
                <c:pt idx="897">
                  <c:v>Aug-19</c:v>
                </c:pt>
                <c:pt idx="898">
                  <c:v>Aug-19</c:v>
                </c:pt>
                <c:pt idx="899">
                  <c:v>Aug-19</c:v>
                </c:pt>
                <c:pt idx="900">
                  <c:v>Aug-19</c:v>
                </c:pt>
                <c:pt idx="901">
                  <c:v>Aug-19</c:v>
                </c:pt>
                <c:pt idx="902">
                  <c:v>Aug-19</c:v>
                </c:pt>
                <c:pt idx="903">
                  <c:v>Aug-19</c:v>
                </c:pt>
                <c:pt idx="904">
                  <c:v>Aug-19</c:v>
                </c:pt>
                <c:pt idx="905">
                  <c:v>Aug-19</c:v>
                </c:pt>
                <c:pt idx="906">
                  <c:v>Aug-19</c:v>
                </c:pt>
                <c:pt idx="907">
                  <c:v>Aug-19</c:v>
                </c:pt>
                <c:pt idx="908">
                  <c:v>Aug-19</c:v>
                </c:pt>
                <c:pt idx="909">
                  <c:v>Aug-19</c:v>
                </c:pt>
                <c:pt idx="910">
                  <c:v>Aug-19</c:v>
                </c:pt>
                <c:pt idx="911">
                  <c:v>Aug-19</c:v>
                </c:pt>
                <c:pt idx="912">
                  <c:v>Aug-19</c:v>
                </c:pt>
                <c:pt idx="913">
                  <c:v>Aug-19</c:v>
                </c:pt>
                <c:pt idx="914">
                  <c:v>Aug-19</c:v>
                </c:pt>
                <c:pt idx="915">
                  <c:v>Aug-19</c:v>
                </c:pt>
                <c:pt idx="916">
                  <c:v>Aug-19</c:v>
                </c:pt>
                <c:pt idx="917">
                  <c:v>Sep-19</c:v>
                </c:pt>
                <c:pt idx="918">
                  <c:v>Sep-19</c:v>
                </c:pt>
                <c:pt idx="919">
                  <c:v>Sep-19</c:v>
                </c:pt>
                <c:pt idx="920">
                  <c:v>Sep-19</c:v>
                </c:pt>
                <c:pt idx="921">
                  <c:v>Sep-19</c:v>
                </c:pt>
                <c:pt idx="922">
                  <c:v>Sep-19</c:v>
                </c:pt>
                <c:pt idx="923">
                  <c:v>Sep-19</c:v>
                </c:pt>
                <c:pt idx="924">
                  <c:v>Sep-19</c:v>
                </c:pt>
                <c:pt idx="925">
                  <c:v>Sep-19</c:v>
                </c:pt>
                <c:pt idx="926">
                  <c:v>Sep-19</c:v>
                </c:pt>
                <c:pt idx="927">
                  <c:v>Sep-19</c:v>
                </c:pt>
                <c:pt idx="928">
                  <c:v>Sep-19</c:v>
                </c:pt>
                <c:pt idx="929">
                  <c:v>Sep-19</c:v>
                </c:pt>
                <c:pt idx="930">
                  <c:v>Sep-19</c:v>
                </c:pt>
                <c:pt idx="931">
                  <c:v>Sep-19</c:v>
                </c:pt>
                <c:pt idx="932">
                  <c:v>Sep-19</c:v>
                </c:pt>
                <c:pt idx="933">
                  <c:v>Sep-19</c:v>
                </c:pt>
                <c:pt idx="934">
                  <c:v>Sep-19</c:v>
                </c:pt>
                <c:pt idx="935">
                  <c:v>Sep-19</c:v>
                </c:pt>
                <c:pt idx="936">
                  <c:v>Sep-19</c:v>
                </c:pt>
                <c:pt idx="937">
                  <c:v>Oct-19</c:v>
                </c:pt>
                <c:pt idx="938">
                  <c:v>Oct-19</c:v>
                </c:pt>
                <c:pt idx="939">
                  <c:v>Oct-19</c:v>
                </c:pt>
                <c:pt idx="940">
                  <c:v>Oct-19</c:v>
                </c:pt>
                <c:pt idx="941">
                  <c:v>Oct-19</c:v>
                </c:pt>
                <c:pt idx="942">
                  <c:v>Oct-19</c:v>
                </c:pt>
                <c:pt idx="943">
                  <c:v>Oct-19</c:v>
                </c:pt>
                <c:pt idx="944">
                  <c:v>Oct-19</c:v>
                </c:pt>
                <c:pt idx="945">
                  <c:v>Oct-19</c:v>
                </c:pt>
                <c:pt idx="946">
                  <c:v>Oct-19</c:v>
                </c:pt>
                <c:pt idx="947">
                  <c:v>Oct-19</c:v>
                </c:pt>
                <c:pt idx="948">
                  <c:v>Oct-19</c:v>
                </c:pt>
                <c:pt idx="949">
                  <c:v>Oct-19</c:v>
                </c:pt>
                <c:pt idx="950">
                  <c:v>Oct-19</c:v>
                </c:pt>
                <c:pt idx="951">
                  <c:v>Oct-19</c:v>
                </c:pt>
                <c:pt idx="952">
                  <c:v>Oct-19</c:v>
                </c:pt>
                <c:pt idx="953">
                  <c:v>Oct-19</c:v>
                </c:pt>
                <c:pt idx="954">
                  <c:v>Oct-19</c:v>
                </c:pt>
                <c:pt idx="955">
                  <c:v>Oct-19</c:v>
                </c:pt>
                <c:pt idx="956">
                  <c:v>Oct-19</c:v>
                </c:pt>
                <c:pt idx="957">
                  <c:v>Oct-19</c:v>
                </c:pt>
                <c:pt idx="958">
                  <c:v>Oct-19</c:v>
                </c:pt>
                <c:pt idx="959">
                  <c:v>Nov-19</c:v>
                </c:pt>
                <c:pt idx="960">
                  <c:v>Nov-19</c:v>
                </c:pt>
                <c:pt idx="961">
                  <c:v>Nov-19</c:v>
                </c:pt>
                <c:pt idx="962">
                  <c:v>Nov-19</c:v>
                </c:pt>
                <c:pt idx="963">
                  <c:v>Nov-19</c:v>
                </c:pt>
                <c:pt idx="964">
                  <c:v>Nov-19</c:v>
                </c:pt>
                <c:pt idx="965">
                  <c:v>Nov-19</c:v>
                </c:pt>
                <c:pt idx="966">
                  <c:v>Nov-19</c:v>
                </c:pt>
                <c:pt idx="967">
                  <c:v>Nov-19</c:v>
                </c:pt>
                <c:pt idx="968">
                  <c:v>Nov-19</c:v>
                </c:pt>
                <c:pt idx="969">
                  <c:v>Nov-19</c:v>
                </c:pt>
                <c:pt idx="970">
                  <c:v>Nov-19</c:v>
                </c:pt>
                <c:pt idx="971">
                  <c:v>Nov-19</c:v>
                </c:pt>
                <c:pt idx="972">
                  <c:v>Nov-19</c:v>
                </c:pt>
                <c:pt idx="973">
                  <c:v>Nov-19</c:v>
                </c:pt>
                <c:pt idx="974">
                  <c:v>Nov-19</c:v>
                </c:pt>
                <c:pt idx="975">
                  <c:v>Nov-19</c:v>
                </c:pt>
                <c:pt idx="976">
                  <c:v>Nov-19</c:v>
                </c:pt>
                <c:pt idx="977">
                  <c:v>Nov-19</c:v>
                </c:pt>
                <c:pt idx="978">
                  <c:v>Dec-19</c:v>
                </c:pt>
                <c:pt idx="979">
                  <c:v>Dec-19</c:v>
                </c:pt>
                <c:pt idx="980">
                  <c:v>Dec-19</c:v>
                </c:pt>
                <c:pt idx="981">
                  <c:v>Dec-19</c:v>
                </c:pt>
                <c:pt idx="982">
                  <c:v>Dec-19</c:v>
                </c:pt>
                <c:pt idx="983">
                  <c:v>Dec-19</c:v>
                </c:pt>
                <c:pt idx="984">
                  <c:v>Dec-19</c:v>
                </c:pt>
                <c:pt idx="985">
                  <c:v>Dec-19</c:v>
                </c:pt>
                <c:pt idx="986">
                  <c:v>Dec-19</c:v>
                </c:pt>
                <c:pt idx="987">
                  <c:v>Dec-19</c:v>
                </c:pt>
                <c:pt idx="988">
                  <c:v>Dec-19</c:v>
                </c:pt>
                <c:pt idx="989">
                  <c:v>Dec-19</c:v>
                </c:pt>
                <c:pt idx="990">
                  <c:v>Dec-19</c:v>
                </c:pt>
                <c:pt idx="991">
                  <c:v>Dec-19</c:v>
                </c:pt>
                <c:pt idx="992">
                  <c:v>Dec-19</c:v>
                </c:pt>
                <c:pt idx="993">
                  <c:v>Dec-19</c:v>
                </c:pt>
                <c:pt idx="994">
                  <c:v>Dec-19</c:v>
                </c:pt>
                <c:pt idx="995">
                  <c:v>Dec-19</c:v>
                </c:pt>
                <c:pt idx="996">
                  <c:v>Dec-19</c:v>
                </c:pt>
                <c:pt idx="997">
                  <c:v>30-Dec-19</c:v>
                </c:pt>
                <c:pt idx="998">
                  <c:v>31-Dec-19</c:v>
                </c:pt>
                <c:pt idx="999">
                  <c:v>Jan-20</c:v>
                </c:pt>
                <c:pt idx="1000">
                  <c:v>Jan-20</c:v>
                </c:pt>
                <c:pt idx="1001">
                  <c:v>Jan-20</c:v>
                </c:pt>
                <c:pt idx="1002">
                  <c:v>Jan-20</c:v>
                </c:pt>
                <c:pt idx="1003">
                  <c:v>Jan-20</c:v>
                </c:pt>
                <c:pt idx="1004">
                  <c:v>Jan-20</c:v>
                </c:pt>
                <c:pt idx="1005">
                  <c:v>Jan-20</c:v>
                </c:pt>
                <c:pt idx="1006">
                  <c:v>Jan-20</c:v>
                </c:pt>
                <c:pt idx="1007">
                  <c:v>Jan-20</c:v>
                </c:pt>
                <c:pt idx="1008">
                  <c:v>Jan-20</c:v>
                </c:pt>
                <c:pt idx="1009">
                  <c:v>Jan-20</c:v>
                </c:pt>
                <c:pt idx="1010">
                  <c:v>Jan-20</c:v>
                </c:pt>
                <c:pt idx="1011">
                  <c:v>21-Jan-20</c:v>
                </c:pt>
                <c:pt idx="1012">
                  <c:v>Jan-20</c:v>
                </c:pt>
                <c:pt idx="1013">
                  <c:v>Jan-20</c:v>
                </c:pt>
                <c:pt idx="1014">
                  <c:v>24-Jan-20</c:v>
                </c:pt>
                <c:pt idx="1015">
                  <c:v>27-Jan-20</c:v>
                </c:pt>
                <c:pt idx="1016">
                  <c:v>Jan-20</c:v>
                </c:pt>
                <c:pt idx="1017">
                  <c:v>Jan-20</c:v>
                </c:pt>
                <c:pt idx="1018">
                  <c:v>Jan-20</c:v>
                </c:pt>
                <c:pt idx="1019">
                  <c:v>Jan-20</c:v>
                </c:pt>
                <c:pt idx="1020">
                  <c:v>Feb-20</c:v>
                </c:pt>
                <c:pt idx="1021">
                  <c:v>Feb-20</c:v>
                </c:pt>
                <c:pt idx="1022">
                  <c:v>Feb-20</c:v>
                </c:pt>
                <c:pt idx="1023">
                  <c:v>Feb-20</c:v>
                </c:pt>
                <c:pt idx="1024">
                  <c:v>Feb-20</c:v>
                </c:pt>
                <c:pt idx="1025">
                  <c:v>Feb-20</c:v>
                </c:pt>
                <c:pt idx="1026">
                  <c:v>Feb-20</c:v>
                </c:pt>
                <c:pt idx="1027">
                  <c:v>Feb-20</c:v>
                </c:pt>
                <c:pt idx="1028">
                  <c:v>Feb-20</c:v>
                </c:pt>
                <c:pt idx="1029">
                  <c:v>Feb-20</c:v>
                </c:pt>
                <c:pt idx="1030">
                  <c:v>Feb-20</c:v>
                </c:pt>
                <c:pt idx="1031">
                  <c:v>Feb-20</c:v>
                </c:pt>
                <c:pt idx="1032">
                  <c:v>Feb-20</c:v>
                </c:pt>
                <c:pt idx="1033">
                  <c:v>Feb-20</c:v>
                </c:pt>
                <c:pt idx="1034">
                  <c:v>Feb-20</c:v>
                </c:pt>
                <c:pt idx="1035">
                  <c:v>Feb-20</c:v>
                </c:pt>
                <c:pt idx="1036">
                  <c:v>Feb-20</c:v>
                </c:pt>
                <c:pt idx="1037">
                  <c:v>Feb-20</c:v>
                </c:pt>
                <c:pt idx="1038">
                  <c:v>Feb-20</c:v>
                </c:pt>
                <c:pt idx="1039">
                  <c:v>Mar-20</c:v>
                </c:pt>
                <c:pt idx="1040">
                  <c:v>Mar-20</c:v>
                </c:pt>
                <c:pt idx="1041">
                  <c:v>Mar-20</c:v>
                </c:pt>
                <c:pt idx="1042">
                  <c:v>Mar-20</c:v>
                </c:pt>
                <c:pt idx="1043">
                  <c:v>Mar-20</c:v>
                </c:pt>
                <c:pt idx="1044">
                  <c:v>Mar-20</c:v>
                </c:pt>
                <c:pt idx="1045">
                  <c:v>Mar-20</c:v>
                </c:pt>
                <c:pt idx="1046">
                  <c:v>Mar-20</c:v>
                </c:pt>
                <c:pt idx="1047">
                  <c:v>Mar-20</c:v>
                </c:pt>
                <c:pt idx="1048">
                  <c:v>Mar-20</c:v>
                </c:pt>
                <c:pt idx="1049">
                  <c:v>Mar-20</c:v>
                </c:pt>
                <c:pt idx="1050">
                  <c:v>Mar-20</c:v>
                </c:pt>
                <c:pt idx="1051">
                  <c:v>Mar-20</c:v>
                </c:pt>
                <c:pt idx="1052">
                  <c:v>Mar-20</c:v>
                </c:pt>
                <c:pt idx="1053">
                  <c:v>Mar-20</c:v>
                </c:pt>
                <c:pt idx="1054">
                  <c:v>Mar-20</c:v>
                </c:pt>
                <c:pt idx="1055">
                  <c:v>Mar-20</c:v>
                </c:pt>
                <c:pt idx="1056">
                  <c:v>Mar-20</c:v>
                </c:pt>
                <c:pt idx="1057">
                  <c:v>Mar-20</c:v>
                </c:pt>
                <c:pt idx="1058">
                  <c:v>Mar-20</c:v>
                </c:pt>
                <c:pt idx="1059">
                  <c:v>Mar-20</c:v>
                </c:pt>
                <c:pt idx="1060">
                  <c:v>Mar-20</c:v>
                </c:pt>
                <c:pt idx="1061">
                  <c:v>Apr-20</c:v>
                </c:pt>
                <c:pt idx="1062">
                  <c:v>Apr-20</c:v>
                </c:pt>
                <c:pt idx="1063">
                  <c:v>Apr-20</c:v>
                </c:pt>
                <c:pt idx="1064">
                  <c:v>Apr-20</c:v>
                </c:pt>
                <c:pt idx="1065">
                  <c:v>Apr-20</c:v>
                </c:pt>
                <c:pt idx="1066">
                  <c:v>Apr-20</c:v>
                </c:pt>
                <c:pt idx="1067">
                  <c:v>Apr-20</c:v>
                </c:pt>
                <c:pt idx="1068">
                  <c:v>Apr-20</c:v>
                </c:pt>
                <c:pt idx="1069">
                  <c:v>Apr-20</c:v>
                </c:pt>
                <c:pt idx="1070">
                  <c:v>Apr-20</c:v>
                </c:pt>
                <c:pt idx="1071">
                  <c:v>Apr-20</c:v>
                </c:pt>
                <c:pt idx="1072">
                  <c:v>Apr-20</c:v>
                </c:pt>
                <c:pt idx="1073">
                  <c:v>Apr-20</c:v>
                </c:pt>
                <c:pt idx="1074">
                  <c:v>Apr-20</c:v>
                </c:pt>
                <c:pt idx="1075">
                  <c:v>Apr-20</c:v>
                </c:pt>
                <c:pt idx="1076">
                  <c:v>Apr-20</c:v>
                </c:pt>
                <c:pt idx="1077">
                  <c:v>Apr-20</c:v>
                </c:pt>
                <c:pt idx="1078">
                  <c:v>Apr-20</c:v>
                </c:pt>
                <c:pt idx="1079">
                  <c:v>Apr-20</c:v>
                </c:pt>
                <c:pt idx="1080">
                  <c:v>Apr-20</c:v>
                </c:pt>
                <c:pt idx="1081">
                  <c:v>Apr-20</c:v>
                </c:pt>
                <c:pt idx="1082">
                  <c:v>May-20</c:v>
                </c:pt>
                <c:pt idx="1083">
                  <c:v>May-20</c:v>
                </c:pt>
                <c:pt idx="1084">
                  <c:v>May-20</c:v>
                </c:pt>
                <c:pt idx="1085">
                  <c:v>May-20</c:v>
                </c:pt>
                <c:pt idx="1086">
                  <c:v>May-20</c:v>
                </c:pt>
                <c:pt idx="1087">
                  <c:v>May-20</c:v>
                </c:pt>
                <c:pt idx="1088">
                  <c:v>May-20</c:v>
                </c:pt>
                <c:pt idx="1089">
                  <c:v>May-20</c:v>
                </c:pt>
                <c:pt idx="1090">
                  <c:v>May-20</c:v>
                </c:pt>
                <c:pt idx="1091">
                  <c:v>May-20</c:v>
                </c:pt>
                <c:pt idx="1092">
                  <c:v>May-20</c:v>
                </c:pt>
                <c:pt idx="1093">
                  <c:v>May-20</c:v>
                </c:pt>
                <c:pt idx="1094">
                  <c:v>May-20</c:v>
                </c:pt>
                <c:pt idx="1095">
                  <c:v>May-20</c:v>
                </c:pt>
                <c:pt idx="1096">
                  <c:v>May-20</c:v>
                </c:pt>
                <c:pt idx="1097">
                  <c:v>May-20</c:v>
                </c:pt>
                <c:pt idx="1098">
                  <c:v>May-20</c:v>
                </c:pt>
                <c:pt idx="1099">
                  <c:v>May-20</c:v>
                </c:pt>
                <c:pt idx="1100">
                  <c:v>May-20</c:v>
                </c:pt>
                <c:pt idx="1101">
                  <c:v>May-20</c:v>
                </c:pt>
                <c:pt idx="1102">
                  <c:v>Jun-20</c:v>
                </c:pt>
                <c:pt idx="1103">
                  <c:v>Jun-20</c:v>
                </c:pt>
                <c:pt idx="1104">
                  <c:v>Jun-20</c:v>
                </c:pt>
                <c:pt idx="1105">
                  <c:v>Jun-20</c:v>
                </c:pt>
                <c:pt idx="1106">
                  <c:v>Jun-20</c:v>
                </c:pt>
                <c:pt idx="1107">
                  <c:v>Jun-20</c:v>
                </c:pt>
                <c:pt idx="1108">
                  <c:v>Jun-20</c:v>
                </c:pt>
                <c:pt idx="1109">
                  <c:v>Jun-20</c:v>
                </c:pt>
                <c:pt idx="1110">
                  <c:v>Jun-20</c:v>
                </c:pt>
                <c:pt idx="1111">
                  <c:v>Jun-20</c:v>
                </c:pt>
                <c:pt idx="1112">
                  <c:v>Jun-20</c:v>
                </c:pt>
                <c:pt idx="1113">
                  <c:v>Jun-20</c:v>
                </c:pt>
                <c:pt idx="1114">
                  <c:v>Jun-20</c:v>
                </c:pt>
                <c:pt idx="1115">
                  <c:v>Jun-20</c:v>
                </c:pt>
                <c:pt idx="1116">
                  <c:v>Jun-20</c:v>
                </c:pt>
                <c:pt idx="1117">
                  <c:v>Jun-20</c:v>
                </c:pt>
                <c:pt idx="1118">
                  <c:v>Jun-20</c:v>
                </c:pt>
                <c:pt idx="1119">
                  <c:v>Jun-20</c:v>
                </c:pt>
                <c:pt idx="1120">
                  <c:v>Jun-20</c:v>
                </c:pt>
                <c:pt idx="1121">
                  <c:v>Jun-20</c:v>
                </c:pt>
                <c:pt idx="1122">
                  <c:v>Jun-20</c:v>
                </c:pt>
                <c:pt idx="1123">
                  <c:v>Jun-20</c:v>
                </c:pt>
                <c:pt idx="1124">
                  <c:v>Jul-20</c:v>
                </c:pt>
                <c:pt idx="1125">
                  <c:v>Jul-20</c:v>
                </c:pt>
                <c:pt idx="1126">
                  <c:v>Jul-20</c:v>
                </c:pt>
                <c:pt idx="1127">
                  <c:v>Jul-20</c:v>
                </c:pt>
                <c:pt idx="1128">
                  <c:v>Jul-20</c:v>
                </c:pt>
                <c:pt idx="1129">
                  <c:v>Jul-20</c:v>
                </c:pt>
                <c:pt idx="1130">
                  <c:v>Jul-20</c:v>
                </c:pt>
                <c:pt idx="1131">
                  <c:v>Jul-20</c:v>
                </c:pt>
                <c:pt idx="1132">
                  <c:v>Jul-20</c:v>
                </c:pt>
                <c:pt idx="1133">
                  <c:v>Jul-20</c:v>
                </c:pt>
                <c:pt idx="1134">
                  <c:v>Jul-20</c:v>
                </c:pt>
                <c:pt idx="1135">
                  <c:v>Jul-20</c:v>
                </c:pt>
                <c:pt idx="1136">
                  <c:v>Jul-20</c:v>
                </c:pt>
                <c:pt idx="1137">
                  <c:v>Jul-20</c:v>
                </c:pt>
                <c:pt idx="1138">
                  <c:v>Jul-20</c:v>
                </c:pt>
                <c:pt idx="1139">
                  <c:v>Jul-20</c:v>
                </c:pt>
                <c:pt idx="1140">
                  <c:v>Jul-20</c:v>
                </c:pt>
                <c:pt idx="1141">
                  <c:v>Jul-20</c:v>
                </c:pt>
                <c:pt idx="1142">
                  <c:v>Jul-20</c:v>
                </c:pt>
                <c:pt idx="1143">
                  <c:v>Jul-20</c:v>
                </c:pt>
                <c:pt idx="1144">
                  <c:v>Jul-20</c:v>
                </c:pt>
                <c:pt idx="1145">
                  <c:v>Jul-20</c:v>
                </c:pt>
                <c:pt idx="1146">
                  <c:v>Aug-20</c:v>
                </c:pt>
                <c:pt idx="1147">
                  <c:v>Aug-20</c:v>
                </c:pt>
                <c:pt idx="1148">
                  <c:v>Aug-20</c:v>
                </c:pt>
                <c:pt idx="1149">
                  <c:v>Aug-20</c:v>
                </c:pt>
                <c:pt idx="1150">
                  <c:v>Aug-20</c:v>
                </c:pt>
                <c:pt idx="1151">
                  <c:v>Aug-20</c:v>
                </c:pt>
                <c:pt idx="1152">
                  <c:v>Aug-20</c:v>
                </c:pt>
                <c:pt idx="1153">
                  <c:v>Aug-20</c:v>
                </c:pt>
                <c:pt idx="1154">
                  <c:v>Aug-20</c:v>
                </c:pt>
                <c:pt idx="1155">
                  <c:v>Aug-20</c:v>
                </c:pt>
                <c:pt idx="1156">
                  <c:v>Aug-20</c:v>
                </c:pt>
                <c:pt idx="1157">
                  <c:v>Aug-20</c:v>
                </c:pt>
                <c:pt idx="1158">
                  <c:v>Aug-20</c:v>
                </c:pt>
                <c:pt idx="1159">
                  <c:v>Aug-20</c:v>
                </c:pt>
                <c:pt idx="1160">
                  <c:v>21-Aug-20</c:v>
                </c:pt>
                <c:pt idx="1161">
                  <c:v>24-Aug-20</c:v>
                </c:pt>
                <c:pt idx="1162">
                  <c:v>25-Aug-20</c:v>
                </c:pt>
                <c:pt idx="1163">
                  <c:v>26-Aug-20</c:v>
                </c:pt>
                <c:pt idx="1164">
                  <c:v>27-Aug-20</c:v>
                </c:pt>
                <c:pt idx="1165">
                  <c:v>28-Aug-20</c:v>
                </c:pt>
                <c:pt idx="1166">
                  <c:v>31-Aug-20</c:v>
                </c:pt>
                <c:pt idx="1167">
                  <c:v>Sep-20</c:v>
                </c:pt>
                <c:pt idx="1168">
                  <c:v>Sep-20</c:v>
                </c:pt>
                <c:pt idx="1169">
                  <c:v>Sep-20</c:v>
                </c:pt>
                <c:pt idx="1170">
                  <c:v>Sep-20</c:v>
                </c:pt>
                <c:pt idx="1171">
                  <c:v>Sep-20</c:v>
                </c:pt>
                <c:pt idx="1172">
                  <c:v>Sep-20</c:v>
                </c:pt>
                <c:pt idx="1173">
                  <c:v>Sep-20</c:v>
                </c:pt>
                <c:pt idx="1174">
                  <c:v>Sep-20</c:v>
                </c:pt>
                <c:pt idx="1175">
                  <c:v>Sep-20</c:v>
                </c:pt>
                <c:pt idx="1176">
                  <c:v>Sep-20</c:v>
                </c:pt>
                <c:pt idx="1177">
                  <c:v>Sep-20</c:v>
                </c:pt>
                <c:pt idx="1178">
                  <c:v>Sep-20</c:v>
                </c:pt>
                <c:pt idx="1179">
                  <c:v>Sep-20</c:v>
                </c:pt>
                <c:pt idx="1180">
                  <c:v>Sep-20</c:v>
                </c:pt>
                <c:pt idx="1181">
                  <c:v>Sep-20</c:v>
                </c:pt>
                <c:pt idx="1182">
                  <c:v>Sep-20</c:v>
                </c:pt>
                <c:pt idx="1183">
                  <c:v>Sep-20</c:v>
                </c:pt>
                <c:pt idx="1184">
                  <c:v>Sep-20</c:v>
                </c:pt>
                <c:pt idx="1185">
                  <c:v>Sep-20</c:v>
                </c:pt>
                <c:pt idx="1186">
                  <c:v>Sep-20</c:v>
                </c:pt>
                <c:pt idx="1187">
                  <c:v>Sep-20</c:v>
                </c:pt>
                <c:pt idx="1188">
                  <c:v>Oct-20</c:v>
                </c:pt>
                <c:pt idx="1189">
                  <c:v>Oct-20</c:v>
                </c:pt>
                <c:pt idx="1190">
                  <c:v>Oct-20</c:v>
                </c:pt>
                <c:pt idx="1191">
                  <c:v>Oct-20</c:v>
                </c:pt>
                <c:pt idx="1192">
                  <c:v>Oct-20</c:v>
                </c:pt>
                <c:pt idx="1193">
                  <c:v>Oct-20</c:v>
                </c:pt>
                <c:pt idx="1194">
                  <c:v>Oct-20</c:v>
                </c:pt>
                <c:pt idx="1195">
                  <c:v>Oct-20</c:v>
                </c:pt>
                <c:pt idx="1196">
                  <c:v>Oct-20</c:v>
                </c:pt>
                <c:pt idx="1197">
                  <c:v>Oct-20</c:v>
                </c:pt>
                <c:pt idx="1198">
                  <c:v>Oct-20</c:v>
                </c:pt>
                <c:pt idx="1199">
                  <c:v>Oct-20</c:v>
                </c:pt>
                <c:pt idx="1200">
                  <c:v>Oct-20</c:v>
                </c:pt>
                <c:pt idx="1201">
                  <c:v>Oct-20</c:v>
                </c:pt>
                <c:pt idx="1202">
                  <c:v>Oct-20</c:v>
                </c:pt>
                <c:pt idx="1203">
                  <c:v>Oct-20</c:v>
                </c:pt>
                <c:pt idx="1204">
                  <c:v>Oct-20</c:v>
                </c:pt>
                <c:pt idx="1205">
                  <c:v>Oct-20</c:v>
                </c:pt>
                <c:pt idx="1206">
                  <c:v>Oct-20</c:v>
                </c:pt>
                <c:pt idx="1207">
                  <c:v>Oct-20</c:v>
                </c:pt>
                <c:pt idx="1208">
                  <c:v>Oct-20</c:v>
                </c:pt>
                <c:pt idx="1209">
                  <c:v>Nov-20</c:v>
                </c:pt>
                <c:pt idx="1210">
                  <c:v>Nov-20</c:v>
                </c:pt>
                <c:pt idx="1211">
                  <c:v>Nov-20</c:v>
                </c:pt>
                <c:pt idx="1212">
                  <c:v>Nov-20</c:v>
                </c:pt>
                <c:pt idx="1213">
                  <c:v>Nov-20</c:v>
                </c:pt>
                <c:pt idx="1214">
                  <c:v>Nov-20</c:v>
                </c:pt>
                <c:pt idx="1215">
                  <c:v>Nov-20</c:v>
                </c:pt>
                <c:pt idx="1216">
                  <c:v>Nov-20</c:v>
                </c:pt>
                <c:pt idx="1217">
                  <c:v>Nov-20</c:v>
                </c:pt>
                <c:pt idx="1218">
                  <c:v>Nov-20</c:v>
                </c:pt>
                <c:pt idx="1219">
                  <c:v>Nov-20</c:v>
                </c:pt>
                <c:pt idx="1220">
                  <c:v>Nov-20</c:v>
                </c:pt>
                <c:pt idx="1221">
                  <c:v>Nov-20</c:v>
                </c:pt>
                <c:pt idx="1222">
                  <c:v>Nov-20</c:v>
                </c:pt>
                <c:pt idx="1223">
                  <c:v>Nov-20</c:v>
                </c:pt>
                <c:pt idx="1224">
                  <c:v>Nov-20</c:v>
                </c:pt>
                <c:pt idx="1225">
                  <c:v>Nov-20</c:v>
                </c:pt>
                <c:pt idx="1226">
                  <c:v>Nov-20</c:v>
                </c:pt>
                <c:pt idx="1227">
                  <c:v>Nov-20</c:v>
                </c:pt>
                <c:pt idx="1228">
                  <c:v>Dec-20</c:v>
                </c:pt>
                <c:pt idx="1229">
                  <c:v>Dec-20</c:v>
                </c:pt>
                <c:pt idx="1230">
                  <c:v>Dec-20</c:v>
                </c:pt>
                <c:pt idx="1231">
                  <c:v>Dec-20</c:v>
                </c:pt>
                <c:pt idx="1232">
                  <c:v>Dec-20</c:v>
                </c:pt>
                <c:pt idx="1233">
                  <c:v>Dec-20</c:v>
                </c:pt>
                <c:pt idx="1234">
                  <c:v>Dec-20</c:v>
                </c:pt>
                <c:pt idx="1235">
                  <c:v>Dec-20</c:v>
                </c:pt>
                <c:pt idx="1236">
                  <c:v>Dec-20</c:v>
                </c:pt>
                <c:pt idx="1237">
                  <c:v>Dec-20</c:v>
                </c:pt>
                <c:pt idx="1238">
                  <c:v>Dec-20</c:v>
                </c:pt>
                <c:pt idx="1239">
                  <c:v>Dec-20</c:v>
                </c:pt>
                <c:pt idx="1240">
                  <c:v>Dec-20</c:v>
                </c:pt>
                <c:pt idx="1241">
                  <c:v>Dec-20</c:v>
                </c:pt>
                <c:pt idx="1242">
                  <c:v>Dec-20</c:v>
                </c:pt>
                <c:pt idx="1243">
                  <c:v>Dec-20</c:v>
                </c:pt>
                <c:pt idx="1244">
                  <c:v>Dec-20</c:v>
                </c:pt>
                <c:pt idx="1245">
                  <c:v>Dec-20</c:v>
                </c:pt>
                <c:pt idx="1246">
                  <c:v>Dec-20</c:v>
                </c:pt>
                <c:pt idx="1247">
                  <c:v>Dec-20</c:v>
                </c:pt>
                <c:pt idx="1248">
                  <c:v>Dec-20</c:v>
                </c:pt>
                <c:pt idx="1249">
                  <c:v>Dec-20</c:v>
                </c:pt>
                <c:pt idx="1250">
                  <c:v>Jan-21</c:v>
                </c:pt>
                <c:pt idx="1251">
                  <c:v>Jan-21</c:v>
                </c:pt>
                <c:pt idx="1252">
                  <c:v>Jan-21</c:v>
                </c:pt>
                <c:pt idx="1253">
                  <c:v>Jan-21</c:v>
                </c:pt>
                <c:pt idx="1254">
                  <c:v>Jan-21</c:v>
                </c:pt>
                <c:pt idx="1255">
                  <c:v>Jan-21</c:v>
                </c:pt>
                <c:pt idx="1256">
                  <c:v>Jan-21</c:v>
                </c:pt>
                <c:pt idx="1257">
                  <c:v>Jan-21</c:v>
                </c:pt>
                <c:pt idx="1258">
                  <c:v>Jan-21</c:v>
                </c:pt>
                <c:pt idx="1259">
                  <c:v>Jan-21</c:v>
                </c:pt>
                <c:pt idx="1260">
                  <c:v>Jan-21</c:v>
                </c:pt>
                <c:pt idx="1261">
                  <c:v>Jan-21</c:v>
                </c:pt>
                <c:pt idx="1262">
                  <c:v>Jan-21</c:v>
                </c:pt>
                <c:pt idx="1263">
                  <c:v>Jan-21</c:v>
                </c:pt>
                <c:pt idx="1264">
                  <c:v>Jan-21</c:v>
                </c:pt>
                <c:pt idx="1265">
                  <c:v>Jan-21</c:v>
                </c:pt>
                <c:pt idx="1266">
                  <c:v>Jan-21</c:v>
                </c:pt>
                <c:pt idx="1267">
                  <c:v>Jan-21</c:v>
                </c:pt>
                <c:pt idx="1268">
                  <c:v>Jan-21</c:v>
                </c:pt>
                <c:pt idx="1269">
                  <c:v>Feb-21</c:v>
                </c:pt>
                <c:pt idx="1270">
                  <c:v>Feb-21</c:v>
                </c:pt>
                <c:pt idx="1271">
                  <c:v>Feb-21</c:v>
                </c:pt>
                <c:pt idx="1272">
                  <c:v>Feb-21</c:v>
                </c:pt>
                <c:pt idx="1273">
                  <c:v>Feb-21</c:v>
                </c:pt>
                <c:pt idx="1274">
                  <c:v>Feb-21</c:v>
                </c:pt>
                <c:pt idx="1275">
                  <c:v>Feb-21</c:v>
                </c:pt>
                <c:pt idx="1276">
                  <c:v>Feb-21</c:v>
                </c:pt>
                <c:pt idx="1277">
                  <c:v>Feb-21</c:v>
                </c:pt>
                <c:pt idx="1278">
                  <c:v>Feb-21</c:v>
                </c:pt>
                <c:pt idx="1279">
                  <c:v>Feb-21</c:v>
                </c:pt>
                <c:pt idx="1280">
                  <c:v>Feb-21</c:v>
                </c:pt>
                <c:pt idx="1281">
                  <c:v>Feb-21</c:v>
                </c:pt>
                <c:pt idx="1282">
                  <c:v>Feb-21</c:v>
                </c:pt>
                <c:pt idx="1283">
                  <c:v>Feb-21</c:v>
                </c:pt>
                <c:pt idx="1284">
                  <c:v>Feb-21</c:v>
                </c:pt>
                <c:pt idx="1285">
                  <c:v>Feb-21</c:v>
                </c:pt>
                <c:pt idx="1286">
                  <c:v>Feb-21</c:v>
                </c:pt>
                <c:pt idx="1287">
                  <c:v>Feb-21</c:v>
                </c:pt>
                <c:pt idx="1288">
                  <c:v>Mar-21</c:v>
                </c:pt>
                <c:pt idx="1289">
                  <c:v>Mar-21</c:v>
                </c:pt>
                <c:pt idx="1290">
                  <c:v>Mar-21</c:v>
                </c:pt>
                <c:pt idx="1291">
                  <c:v>Mar-21</c:v>
                </c:pt>
                <c:pt idx="1292">
                  <c:v>Mar-21</c:v>
                </c:pt>
                <c:pt idx="1293">
                  <c:v>Mar-21</c:v>
                </c:pt>
                <c:pt idx="1294">
                  <c:v>Mar-21</c:v>
                </c:pt>
                <c:pt idx="1295">
                  <c:v>Mar-21</c:v>
                </c:pt>
                <c:pt idx="1296">
                  <c:v>Mar-21</c:v>
                </c:pt>
                <c:pt idx="1297">
                  <c:v>Mar-21</c:v>
                </c:pt>
                <c:pt idx="1298">
                  <c:v>Mar-21</c:v>
                </c:pt>
                <c:pt idx="1299">
                  <c:v>Mar-21</c:v>
                </c:pt>
                <c:pt idx="1300">
                  <c:v>Mar-21</c:v>
                </c:pt>
                <c:pt idx="1301">
                  <c:v>Mar-21</c:v>
                </c:pt>
                <c:pt idx="1302">
                  <c:v>Mar-21</c:v>
                </c:pt>
                <c:pt idx="1303">
                  <c:v>Mar-21</c:v>
                </c:pt>
                <c:pt idx="1304">
                  <c:v>Mar-21</c:v>
                </c:pt>
                <c:pt idx="1305">
                  <c:v>Mar-21</c:v>
                </c:pt>
                <c:pt idx="1306">
                  <c:v>Mar-21</c:v>
                </c:pt>
                <c:pt idx="1307">
                  <c:v>Mar-21</c:v>
                </c:pt>
                <c:pt idx="1308">
                  <c:v>Mar-21</c:v>
                </c:pt>
                <c:pt idx="1309">
                  <c:v>Mar-21</c:v>
                </c:pt>
                <c:pt idx="1310">
                  <c:v>Mar-21</c:v>
                </c:pt>
                <c:pt idx="1311">
                  <c:v>Apr-21</c:v>
                </c:pt>
                <c:pt idx="1312">
                  <c:v>Apr-21</c:v>
                </c:pt>
                <c:pt idx="1313">
                  <c:v>Apr-21</c:v>
                </c:pt>
                <c:pt idx="1314">
                  <c:v>Apr-21</c:v>
                </c:pt>
                <c:pt idx="1315">
                  <c:v>Apr-21</c:v>
                </c:pt>
                <c:pt idx="1316">
                  <c:v>Apr-21</c:v>
                </c:pt>
                <c:pt idx="1317">
                  <c:v>Apr-21</c:v>
                </c:pt>
                <c:pt idx="1318">
                  <c:v>Apr-21</c:v>
                </c:pt>
                <c:pt idx="1319">
                  <c:v>Apr-21</c:v>
                </c:pt>
                <c:pt idx="1320">
                  <c:v>Apr-21</c:v>
                </c:pt>
                <c:pt idx="1321">
                  <c:v>Apr-21</c:v>
                </c:pt>
                <c:pt idx="1322">
                  <c:v>Apr-21</c:v>
                </c:pt>
                <c:pt idx="1323">
                  <c:v>Apr-21</c:v>
                </c:pt>
                <c:pt idx="1324">
                  <c:v>Apr-21</c:v>
                </c:pt>
                <c:pt idx="1325">
                  <c:v>Apr-21</c:v>
                </c:pt>
                <c:pt idx="1326">
                  <c:v>Apr-21</c:v>
                </c:pt>
                <c:pt idx="1327">
                  <c:v>Apr-21</c:v>
                </c:pt>
                <c:pt idx="1328">
                  <c:v>Apr-21</c:v>
                </c:pt>
                <c:pt idx="1329">
                  <c:v>Apr-21</c:v>
                </c:pt>
                <c:pt idx="1330">
                  <c:v>Apr-21</c:v>
                </c:pt>
                <c:pt idx="1331">
                  <c:v>Apr-21</c:v>
                </c:pt>
                <c:pt idx="1332">
                  <c:v>May-21</c:v>
                </c:pt>
                <c:pt idx="1333">
                  <c:v>May-21</c:v>
                </c:pt>
                <c:pt idx="1334">
                  <c:v>May-21</c:v>
                </c:pt>
                <c:pt idx="1335">
                  <c:v>May-21</c:v>
                </c:pt>
                <c:pt idx="1336">
                  <c:v>May-21</c:v>
                </c:pt>
                <c:pt idx="1337">
                  <c:v>May-21</c:v>
                </c:pt>
                <c:pt idx="1338">
                  <c:v>May-21</c:v>
                </c:pt>
                <c:pt idx="1339">
                  <c:v>May-21</c:v>
                </c:pt>
                <c:pt idx="1340">
                  <c:v>May-21</c:v>
                </c:pt>
                <c:pt idx="1341">
                  <c:v>May-21</c:v>
                </c:pt>
                <c:pt idx="1342">
                  <c:v>May-21</c:v>
                </c:pt>
                <c:pt idx="1343">
                  <c:v>May-21</c:v>
                </c:pt>
                <c:pt idx="1344">
                  <c:v>May-21</c:v>
                </c:pt>
                <c:pt idx="1345">
                  <c:v>May-21</c:v>
                </c:pt>
                <c:pt idx="1346">
                  <c:v>May-21</c:v>
                </c:pt>
                <c:pt idx="1347">
                  <c:v>May-21</c:v>
                </c:pt>
                <c:pt idx="1348">
                  <c:v>May-21</c:v>
                </c:pt>
                <c:pt idx="1349">
                  <c:v>May-21</c:v>
                </c:pt>
                <c:pt idx="1350">
                  <c:v>May-21</c:v>
                </c:pt>
                <c:pt idx="1351">
                  <c:v>May-21</c:v>
                </c:pt>
                <c:pt idx="1352">
                  <c:v>Jun-21</c:v>
                </c:pt>
                <c:pt idx="1353">
                  <c:v>Jun-21</c:v>
                </c:pt>
                <c:pt idx="1354">
                  <c:v>Jun-21</c:v>
                </c:pt>
                <c:pt idx="1355">
                  <c:v>Jun-21</c:v>
                </c:pt>
                <c:pt idx="1356">
                  <c:v>Jun-21</c:v>
                </c:pt>
                <c:pt idx="1357">
                  <c:v>Jun-21</c:v>
                </c:pt>
                <c:pt idx="1358">
                  <c:v>Jun-21</c:v>
                </c:pt>
                <c:pt idx="1359">
                  <c:v>Jun-21</c:v>
                </c:pt>
                <c:pt idx="1360">
                  <c:v>Jun-21</c:v>
                </c:pt>
                <c:pt idx="1361">
                  <c:v>Jun-21</c:v>
                </c:pt>
                <c:pt idx="1362">
                  <c:v>Jun-21</c:v>
                </c:pt>
                <c:pt idx="1363">
                  <c:v>Jun-21</c:v>
                </c:pt>
                <c:pt idx="1364">
                  <c:v>Jun-21</c:v>
                </c:pt>
                <c:pt idx="1365">
                  <c:v>Jun-21</c:v>
                </c:pt>
                <c:pt idx="1366">
                  <c:v>Jun-21</c:v>
                </c:pt>
                <c:pt idx="1367">
                  <c:v>Jun-21</c:v>
                </c:pt>
                <c:pt idx="1368">
                  <c:v>Jun-21</c:v>
                </c:pt>
                <c:pt idx="1369">
                  <c:v>Jun-21</c:v>
                </c:pt>
                <c:pt idx="1370">
                  <c:v>Jun-21</c:v>
                </c:pt>
                <c:pt idx="1371">
                  <c:v>Jun-21</c:v>
                </c:pt>
                <c:pt idx="1372">
                  <c:v>Jun-21</c:v>
                </c:pt>
                <c:pt idx="1373">
                  <c:v>Jun-21</c:v>
                </c:pt>
                <c:pt idx="1374">
                  <c:v>Jul-21</c:v>
                </c:pt>
                <c:pt idx="1375">
                  <c:v>Jul-21</c:v>
                </c:pt>
                <c:pt idx="1376">
                  <c:v>Jul-21</c:v>
                </c:pt>
                <c:pt idx="1377">
                  <c:v>Jul-21</c:v>
                </c:pt>
                <c:pt idx="1378">
                  <c:v>Jul-21</c:v>
                </c:pt>
                <c:pt idx="1379">
                  <c:v>Jul-21</c:v>
                </c:pt>
                <c:pt idx="1380">
                  <c:v>Jul-21</c:v>
                </c:pt>
                <c:pt idx="1381">
                  <c:v>Jul-21</c:v>
                </c:pt>
                <c:pt idx="1382">
                  <c:v>Jul-21</c:v>
                </c:pt>
                <c:pt idx="1383">
                  <c:v>Jul-21</c:v>
                </c:pt>
                <c:pt idx="1384">
                  <c:v>Jul-21</c:v>
                </c:pt>
                <c:pt idx="1385">
                  <c:v>Jul-21</c:v>
                </c:pt>
                <c:pt idx="1386">
                  <c:v>Jul-21</c:v>
                </c:pt>
                <c:pt idx="1387">
                  <c:v>Jul-21</c:v>
                </c:pt>
                <c:pt idx="1388">
                  <c:v>Jul-21</c:v>
                </c:pt>
                <c:pt idx="1389">
                  <c:v>Jul-21</c:v>
                </c:pt>
                <c:pt idx="1390">
                  <c:v>Jul-21</c:v>
                </c:pt>
                <c:pt idx="1391">
                  <c:v>Jul-21</c:v>
                </c:pt>
                <c:pt idx="1392">
                  <c:v>Jul-21</c:v>
                </c:pt>
                <c:pt idx="1393">
                  <c:v>Jul-21</c:v>
                </c:pt>
                <c:pt idx="1394">
                  <c:v>Jul-21</c:v>
                </c:pt>
                <c:pt idx="1395">
                  <c:v>Aug-21</c:v>
                </c:pt>
                <c:pt idx="1396">
                  <c:v>Aug-21</c:v>
                </c:pt>
                <c:pt idx="1397">
                  <c:v>Aug-21</c:v>
                </c:pt>
                <c:pt idx="1398">
                  <c:v>Aug-21</c:v>
                </c:pt>
                <c:pt idx="1399">
                  <c:v>Aug-21</c:v>
                </c:pt>
                <c:pt idx="1400">
                  <c:v>Aug-21</c:v>
                </c:pt>
                <c:pt idx="1401">
                  <c:v>Aug-21</c:v>
                </c:pt>
                <c:pt idx="1402">
                  <c:v>Aug-21</c:v>
                </c:pt>
              </c:strCache>
            </c:strRef>
          </c:cat>
          <c:val>
            <c:numRef>
              <c:f>Hoja1!$B$2:$B$1404</c:f>
              <c:numCache>
                <c:formatCode>0</c:formatCode>
                <c:ptCount val="1403"/>
                <c:pt idx="0">
                  <c:v>293.46800000000002</c:v>
                </c:pt>
                <c:pt idx="1">
                  <c:v>292.52699999999999</c:v>
                </c:pt>
                <c:pt idx="2">
                  <c:v>303.07499999999999</c:v>
                </c:pt>
                <c:pt idx="3">
                  <c:v>304.31200000000001</c:v>
                </c:pt>
                <c:pt idx="4">
                  <c:v>306.34100000000001</c:v>
                </c:pt>
                <c:pt idx="5">
                  <c:v>304.55700000000002</c:v>
                </c:pt>
                <c:pt idx="6">
                  <c:v>310.41500000000002</c:v>
                </c:pt>
                <c:pt idx="7">
                  <c:v>313.67199999999997</c:v>
                </c:pt>
                <c:pt idx="8">
                  <c:v>311.512</c:v>
                </c:pt>
                <c:pt idx="9">
                  <c:v>331.209</c:v>
                </c:pt>
                <c:pt idx="10">
                  <c:v>325.55500000000001</c:v>
                </c:pt>
                <c:pt idx="11">
                  <c:v>334.58800000000002</c:v>
                </c:pt>
                <c:pt idx="12">
                  <c:v>337.81400000000002</c:v>
                </c:pt>
                <c:pt idx="13">
                  <c:v>336.77499999999998</c:v>
                </c:pt>
                <c:pt idx="14">
                  <c:v>342.096</c:v>
                </c:pt>
                <c:pt idx="15">
                  <c:v>344.60199999999998</c:v>
                </c:pt>
                <c:pt idx="16">
                  <c:v>341.024</c:v>
                </c:pt>
                <c:pt idx="17">
                  <c:v>340.22</c:v>
                </c:pt>
                <c:pt idx="18">
                  <c:v>345.34300000000002</c:v>
                </c:pt>
                <c:pt idx="19">
                  <c:v>337.69399999999996</c:v>
                </c:pt>
                <c:pt idx="20">
                  <c:v>349.233</c:v>
                </c:pt>
                <c:pt idx="21">
                  <c:v>346.91500000000002</c:v>
                </c:pt>
                <c:pt idx="22">
                  <c:v>347.94600000000003</c:v>
                </c:pt>
                <c:pt idx="23">
                  <c:v>350.17500000000001</c:v>
                </c:pt>
                <c:pt idx="24">
                  <c:v>361.61500000000001</c:v>
                </c:pt>
                <c:pt idx="25">
                  <c:v>363.47900000000004</c:v>
                </c:pt>
                <c:pt idx="26">
                  <c:v>365.83800000000002</c:v>
                </c:pt>
                <c:pt idx="27">
                  <c:v>374.197</c:v>
                </c:pt>
                <c:pt idx="28">
                  <c:v>360.755</c:v>
                </c:pt>
                <c:pt idx="29">
                  <c:v>357.63</c:v>
                </c:pt>
                <c:pt idx="30">
                  <c:v>352.03500000000003</c:v>
                </c:pt>
                <c:pt idx="31">
                  <c:v>357.18899999999996</c:v>
                </c:pt>
                <c:pt idx="32">
                  <c:v>354.608</c:v>
                </c:pt>
                <c:pt idx="33">
                  <c:v>352.90600000000001</c:v>
                </c:pt>
                <c:pt idx="34">
                  <c:v>352.43699999999995</c:v>
                </c:pt>
                <c:pt idx="35">
                  <c:v>349.03899999999999</c:v>
                </c:pt>
                <c:pt idx="36">
                  <c:v>350.34800000000001</c:v>
                </c:pt>
                <c:pt idx="37">
                  <c:v>328.86099999999999</c:v>
                </c:pt>
                <c:pt idx="38">
                  <c:v>325.84899999999999</c:v>
                </c:pt>
                <c:pt idx="39">
                  <c:v>313.55500000000001</c:v>
                </c:pt>
                <c:pt idx="40">
                  <c:v>308.89099999999996</c:v>
                </c:pt>
                <c:pt idx="41">
                  <c:v>302.75400000000002</c:v>
                </c:pt>
                <c:pt idx="42">
                  <c:v>295.39800000000002</c:v>
                </c:pt>
                <c:pt idx="43">
                  <c:v>289.73399999999998</c:v>
                </c:pt>
                <c:pt idx="44">
                  <c:v>295.77499999999998</c:v>
                </c:pt>
                <c:pt idx="45">
                  <c:v>285.916</c:v>
                </c:pt>
                <c:pt idx="46">
                  <c:v>283.04399999999998</c:v>
                </c:pt>
                <c:pt idx="47">
                  <c:v>273.77600000000001</c:v>
                </c:pt>
                <c:pt idx="48">
                  <c:v>272.60000000000002</c:v>
                </c:pt>
                <c:pt idx="49">
                  <c:v>268.959</c:v>
                </c:pt>
                <c:pt idx="50">
                  <c:v>274.40199999999999</c:v>
                </c:pt>
                <c:pt idx="51">
                  <c:v>276.32299999999998</c:v>
                </c:pt>
                <c:pt idx="52">
                  <c:v>277.065</c:v>
                </c:pt>
                <c:pt idx="53">
                  <c:v>258.142</c:v>
                </c:pt>
                <c:pt idx="54">
                  <c:v>254.17399999999998</c:v>
                </c:pt>
                <c:pt idx="55">
                  <c:v>262.12200000000001</c:v>
                </c:pt>
                <c:pt idx="56">
                  <c:v>256.71899999999999</c:v>
                </c:pt>
                <c:pt idx="57">
                  <c:v>254.74</c:v>
                </c:pt>
                <c:pt idx="58">
                  <c:v>265.68900000000002</c:v>
                </c:pt>
                <c:pt idx="59">
                  <c:v>259.16500000000002</c:v>
                </c:pt>
                <c:pt idx="60">
                  <c:v>262.00400000000002</c:v>
                </c:pt>
                <c:pt idx="61">
                  <c:v>258.11399999999998</c:v>
                </c:pt>
                <c:pt idx="62">
                  <c:v>260.18200000000002</c:v>
                </c:pt>
                <c:pt idx="63">
                  <c:v>261.85399999999998</c:v>
                </c:pt>
                <c:pt idx="64">
                  <c:v>251.90299999999999</c:v>
                </c:pt>
                <c:pt idx="65">
                  <c:v>252.55100000000002</c:v>
                </c:pt>
                <c:pt idx="66">
                  <c:v>248.81199999999998</c:v>
                </c:pt>
                <c:pt idx="67">
                  <c:v>246.935</c:v>
                </c:pt>
                <c:pt idx="68">
                  <c:v>239.14</c:v>
                </c:pt>
                <c:pt idx="69">
                  <c:v>237.18599999999998</c:v>
                </c:pt>
                <c:pt idx="70">
                  <c:v>234.23099999999999</c:v>
                </c:pt>
                <c:pt idx="71">
                  <c:v>236.32399999999998</c:v>
                </c:pt>
                <c:pt idx="72">
                  <c:v>236.26299999999998</c:v>
                </c:pt>
                <c:pt idx="73">
                  <c:v>235.16800000000001</c:v>
                </c:pt>
                <c:pt idx="74">
                  <c:v>231.48099999999999</c:v>
                </c:pt>
                <c:pt idx="75">
                  <c:v>235.309</c:v>
                </c:pt>
                <c:pt idx="76">
                  <c:v>238.55200000000002</c:v>
                </c:pt>
                <c:pt idx="77">
                  <c:v>240.58799999999997</c:v>
                </c:pt>
                <c:pt idx="78">
                  <c:v>239.31200000000001</c:v>
                </c:pt>
                <c:pt idx="79">
                  <c:v>248.50300000000001</c:v>
                </c:pt>
                <c:pt idx="80">
                  <c:v>254.48</c:v>
                </c:pt>
                <c:pt idx="81">
                  <c:v>253.64699999999999</c:v>
                </c:pt>
                <c:pt idx="82">
                  <c:v>248.596</c:v>
                </c:pt>
                <c:pt idx="83">
                  <c:v>261.57</c:v>
                </c:pt>
                <c:pt idx="84">
                  <c:v>263.85999999999996</c:v>
                </c:pt>
                <c:pt idx="85">
                  <c:v>270.03100000000001</c:v>
                </c:pt>
                <c:pt idx="86">
                  <c:v>268.05400000000003</c:v>
                </c:pt>
                <c:pt idx="87">
                  <c:v>270.505</c:v>
                </c:pt>
                <c:pt idx="88">
                  <c:v>271.262</c:v>
                </c:pt>
                <c:pt idx="89">
                  <c:v>273.32400000000001</c:v>
                </c:pt>
                <c:pt idx="90">
                  <c:v>272.75599999999997</c:v>
                </c:pt>
                <c:pt idx="91">
                  <c:v>275.21199999999999</c:v>
                </c:pt>
                <c:pt idx="92">
                  <c:v>273.03399999999999</c:v>
                </c:pt>
                <c:pt idx="93">
                  <c:v>269.834</c:v>
                </c:pt>
                <c:pt idx="94">
                  <c:v>259.11700000000002</c:v>
                </c:pt>
                <c:pt idx="95">
                  <c:v>264.76400000000001</c:v>
                </c:pt>
                <c:pt idx="96">
                  <c:v>264.34000000000003</c:v>
                </c:pt>
                <c:pt idx="97">
                  <c:v>268.19900000000001</c:v>
                </c:pt>
                <c:pt idx="98">
                  <c:v>265.03700000000003</c:v>
                </c:pt>
                <c:pt idx="99">
                  <c:v>262.005</c:v>
                </c:pt>
                <c:pt idx="100">
                  <c:v>265.33199999999999</c:v>
                </c:pt>
                <c:pt idx="101">
                  <c:v>264.16400000000004</c:v>
                </c:pt>
                <c:pt idx="102">
                  <c:v>268.11500000000001</c:v>
                </c:pt>
                <c:pt idx="103">
                  <c:v>265.72900000000004</c:v>
                </c:pt>
                <c:pt idx="104">
                  <c:v>264.56599999999997</c:v>
                </c:pt>
                <c:pt idx="105">
                  <c:v>272.67199999999997</c:v>
                </c:pt>
                <c:pt idx="106">
                  <c:v>271.66000000000003</c:v>
                </c:pt>
                <c:pt idx="107">
                  <c:v>272.69400000000002</c:v>
                </c:pt>
                <c:pt idx="108">
                  <c:v>272.45400000000001</c:v>
                </c:pt>
                <c:pt idx="109">
                  <c:v>271.34499999999997</c:v>
                </c:pt>
                <c:pt idx="110">
                  <c:v>275.803</c:v>
                </c:pt>
                <c:pt idx="111">
                  <c:v>275.41300000000001</c:v>
                </c:pt>
                <c:pt idx="112">
                  <c:v>277.11099999999999</c:v>
                </c:pt>
                <c:pt idx="113">
                  <c:v>279.35300000000001</c:v>
                </c:pt>
                <c:pt idx="114">
                  <c:v>282.66000000000003</c:v>
                </c:pt>
                <c:pt idx="115">
                  <c:v>277.03800000000001</c:v>
                </c:pt>
                <c:pt idx="116">
                  <c:v>265.41700000000003</c:v>
                </c:pt>
                <c:pt idx="117">
                  <c:v>260.35899999999998</c:v>
                </c:pt>
                <c:pt idx="118">
                  <c:v>261.23400000000004</c:v>
                </c:pt>
                <c:pt idx="119">
                  <c:v>255.036</c:v>
                </c:pt>
                <c:pt idx="120">
                  <c:v>272.53300000000002</c:v>
                </c:pt>
                <c:pt idx="121">
                  <c:v>283.98400000000004</c:v>
                </c:pt>
                <c:pt idx="122">
                  <c:v>279.11399999999998</c:v>
                </c:pt>
                <c:pt idx="123">
                  <c:v>274.16499999999996</c:v>
                </c:pt>
                <c:pt idx="124">
                  <c:v>273.71300000000002</c:v>
                </c:pt>
                <c:pt idx="125">
                  <c:v>274.45300000000003</c:v>
                </c:pt>
                <c:pt idx="126">
                  <c:v>264.28800000000001</c:v>
                </c:pt>
                <c:pt idx="127">
                  <c:v>262.185</c:v>
                </c:pt>
                <c:pt idx="128">
                  <c:v>259.59899999999999</c:v>
                </c:pt>
                <c:pt idx="129">
                  <c:v>256.25900000000001</c:v>
                </c:pt>
                <c:pt idx="130">
                  <c:v>234.82599999999996</c:v>
                </c:pt>
                <c:pt idx="131">
                  <c:v>221.95</c:v>
                </c:pt>
                <c:pt idx="132">
                  <c:v>221.529</c:v>
                </c:pt>
                <c:pt idx="133">
                  <c:v>212.51300000000001</c:v>
                </c:pt>
                <c:pt idx="134">
                  <c:v>206.17700000000002</c:v>
                </c:pt>
                <c:pt idx="135">
                  <c:v>207.40199999999999</c:v>
                </c:pt>
                <c:pt idx="136">
                  <c:v>209.471</c:v>
                </c:pt>
                <c:pt idx="137">
                  <c:v>203.34799999999998</c:v>
                </c:pt>
                <c:pt idx="138">
                  <c:v>209.43299999999999</c:v>
                </c:pt>
                <c:pt idx="139">
                  <c:v>208.84399999999999</c:v>
                </c:pt>
                <c:pt idx="140">
                  <c:v>207.26</c:v>
                </c:pt>
                <c:pt idx="141">
                  <c:v>212.18099999999998</c:v>
                </c:pt>
                <c:pt idx="142">
                  <c:v>216.65100000000001</c:v>
                </c:pt>
                <c:pt idx="143">
                  <c:v>218.15799999999999</c:v>
                </c:pt>
                <c:pt idx="144">
                  <c:v>223.59</c:v>
                </c:pt>
                <c:pt idx="145">
                  <c:v>219.71299999999999</c:v>
                </c:pt>
                <c:pt idx="146">
                  <c:v>216.62699999999998</c:v>
                </c:pt>
                <c:pt idx="147">
                  <c:v>214.39</c:v>
                </c:pt>
                <c:pt idx="148">
                  <c:v>212.88800000000001</c:v>
                </c:pt>
                <c:pt idx="149">
                  <c:v>204.46</c:v>
                </c:pt>
                <c:pt idx="150">
                  <c:v>215.65799999999999</c:v>
                </c:pt>
                <c:pt idx="151">
                  <c:v>215.185</c:v>
                </c:pt>
                <c:pt idx="152">
                  <c:v>220.51</c:v>
                </c:pt>
                <c:pt idx="153">
                  <c:v>212.196</c:v>
                </c:pt>
                <c:pt idx="154">
                  <c:v>215.49200000000002</c:v>
                </c:pt>
                <c:pt idx="155">
                  <c:v>210.654</c:v>
                </c:pt>
                <c:pt idx="156">
                  <c:v>206.76999999999998</c:v>
                </c:pt>
                <c:pt idx="157">
                  <c:v>203.41399999999999</c:v>
                </c:pt>
                <c:pt idx="158">
                  <c:v>204.52499999999998</c:v>
                </c:pt>
                <c:pt idx="159">
                  <c:v>199.94200000000001</c:v>
                </c:pt>
                <c:pt idx="160">
                  <c:v>205.04899999999998</c:v>
                </c:pt>
                <c:pt idx="161">
                  <c:v>202.596</c:v>
                </c:pt>
                <c:pt idx="162">
                  <c:v>206.36199999999997</c:v>
                </c:pt>
                <c:pt idx="163">
                  <c:v>208.86499999999998</c:v>
                </c:pt>
                <c:pt idx="164">
                  <c:v>199.233</c:v>
                </c:pt>
                <c:pt idx="165">
                  <c:v>204.642</c:v>
                </c:pt>
                <c:pt idx="166">
                  <c:v>204.36200000000002</c:v>
                </c:pt>
                <c:pt idx="167">
                  <c:v>205.05599999999998</c:v>
                </c:pt>
                <c:pt idx="168">
                  <c:v>206.893</c:v>
                </c:pt>
                <c:pt idx="169">
                  <c:v>203.89499999999998</c:v>
                </c:pt>
                <c:pt idx="170">
                  <c:v>210.745</c:v>
                </c:pt>
                <c:pt idx="171">
                  <c:v>209.92899999999997</c:v>
                </c:pt>
                <c:pt idx="172">
                  <c:v>202.31599999999997</c:v>
                </c:pt>
                <c:pt idx="173">
                  <c:v>204.56899999999999</c:v>
                </c:pt>
                <c:pt idx="174">
                  <c:v>211.56799999999998</c:v>
                </c:pt>
                <c:pt idx="175">
                  <c:v>211.15599999999998</c:v>
                </c:pt>
                <c:pt idx="176">
                  <c:v>219.33600000000001</c:v>
                </c:pt>
                <c:pt idx="177">
                  <c:v>221.36300000000003</c:v>
                </c:pt>
                <c:pt idx="178">
                  <c:v>220.18</c:v>
                </c:pt>
                <c:pt idx="179">
                  <c:v>223.20099999999999</c:v>
                </c:pt>
                <c:pt idx="180">
                  <c:v>219.89200000000002</c:v>
                </c:pt>
                <c:pt idx="181">
                  <c:v>219.00400000000002</c:v>
                </c:pt>
                <c:pt idx="182">
                  <c:v>216.47599999999997</c:v>
                </c:pt>
                <c:pt idx="183">
                  <c:v>217.99699999999999</c:v>
                </c:pt>
                <c:pt idx="184">
                  <c:v>221.626</c:v>
                </c:pt>
                <c:pt idx="185">
                  <c:v>223.81700000000001</c:v>
                </c:pt>
                <c:pt idx="186">
                  <c:v>224.518</c:v>
                </c:pt>
                <c:pt idx="187">
                  <c:v>225.66199999999998</c:v>
                </c:pt>
                <c:pt idx="188">
                  <c:v>221.22799999999998</c:v>
                </c:pt>
                <c:pt idx="189">
                  <c:v>220.41200000000001</c:v>
                </c:pt>
                <c:pt idx="190">
                  <c:v>216.20499999999998</c:v>
                </c:pt>
                <c:pt idx="191">
                  <c:v>214.637</c:v>
                </c:pt>
                <c:pt idx="192">
                  <c:v>214.71399999999997</c:v>
                </c:pt>
                <c:pt idx="193">
                  <c:v>220.28200000000001</c:v>
                </c:pt>
                <c:pt idx="194">
                  <c:v>220.411</c:v>
                </c:pt>
                <c:pt idx="195">
                  <c:v>224.499</c:v>
                </c:pt>
                <c:pt idx="196">
                  <c:v>227.74100000000001</c:v>
                </c:pt>
                <c:pt idx="197">
                  <c:v>223.85500000000002</c:v>
                </c:pt>
                <c:pt idx="198">
                  <c:v>225.55100000000002</c:v>
                </c:pt>
                <c:pt idx="199">
                  <c:v>226.53400000000002</c:v>
                </c:pt>
                <c:pt idx="200">
                  <c:v>224.429</c:v>
                </c:pt>
                <c:pt idx="201">
                  <c:v>225.95200000000003</c:v>
                </c:pt>
                <c:pt idx="202">
                  <c:v>225.35</c:v>
                </c:pt>
                <c:pt idx="203">
                  <c:v>222.751</c:v>
                </c:pt>
                <c:pt idx="204">
                  <c:v>224.44399999999999</c:v>
                </c:pt>
                <c:pt idx="205">
                  <c:v>223.816</c:v>
                </c:pt>
                <c:pt idx="206">
                  <c:v>224.10100000000003</c:v>
                </c:pt>
                <c:pt idx="207">
                  <c:v>226.459</c:v>
                </c:pt>
                <c:pt idx="208">
                  <c:v>230.40799999999999</c:v>
                </c:pt>
                <c:pt idx="209">
                  <c:v>235.05699999999999</c:v>
                </c:pt>
                <c:pt idx="210">
                  <c:v>240.19400000000002</c:v>
                </c:pt>
                <c:pt idx="211">
                  <c:v>240.60100000000003</c:v>
                </c:pt>
                <c:pt idx="212">
                  <c:v>244.929</c:v>
                </c:pt>
                <c:pt idx="213">
                  <c:v>238.096</c:v>
                </c:pt>
                <c:pt idx="214">
                  <c:v>237.49799999999999</c:v>
                </c:pt>
                <c:pt idx="215">
                  <c:v>235.631</c:v>
                </c:pt>
                <c:pt idx="216">
                  <c:v>243.999</c:v>
                </c:pt>
                <c:pt idx="217">
                  <c:v>256.61599999999999</c:v>
                </c:pt>
                <c:pt idx="218">
                  <c:v>269.80400000000003</c:v>
                </c:pt>
                <c:pt idx="219">
                  <c:v>280.96800000000002</c:v>
                </c:pt>
                <c:pt idx="220">
                  <c:v>275.411</c:v>
                </c:pt>
                <c:pt idx="221">
                  <c:v>272.07900000000001</c:v>
                </c:pt>
                <c:pt idx="222">
                  <c:v>273.86900000000003</c:v>
                </c:pt>
                <c:pt idx="223">
                  <c:v>277.60399999999998</c:v>
                </c:pt>
                <c:pt idx="224">
                  <c:v>277.40600000000001</c:v>
                </c:pt>
                <c:pt idx="225">
                  <c:v>278.10199999999998</c:v>
                </c:pt>
                <c:pt idx="226">
                  <c:v>280.90999999999997</c:v>
                </c:pt>
                <c:pt idx="227">
                  <c:v>288.08500000000004</c:v>
                </c:pt>
                <c:pt idx="228">
                  <c:v>290.44400000000002</c:v>
                </c:pt>
                <c:pt idx="229">
                  <c:v>284.11200000000002</c:v>
                </c:pt>
                <c:pt idx="230">
                  <c:v>294.82799999999997</c:v>
                </c:pt>
                <c:pt idx="231">
                  <c:v>309.08000000000004</c:v>
                </c:pt>
                <c:pt idx="232">
                  <c:v>307.89300000000003</c:v>
                </c:pt>
                <c:pt idx="233">
                  <c:v>299.58100000000002</c:v>
                </c:pt>
                <c:pt idx="234">
                  <c:v>288.98099999999999</c:v>
                </c:pt>
                <c:pt idx="235">
                  <c:v>276.16999999999996</c:v>
                </c:pt>
                <c:pt idx="236">
                  <c:v>273.24899999999997</c:v>
                </c:pt>
                <c:pt idx="237">
                  <c:v>268.42</c:v>
                </c:pt>
                <c:pt idx="238">
                  <c:v>257.351</c:v>
                </c:pt>
                <c:pt idx="239">
                  <c:v>247.45400000000001</c:v>
                </c:pt>
                <c:pt idx="240">
                  <c:v>247.274</c:v>
                </c:pt>
                <c:pt idx="241">
                  <c:v>254.85500000000002</c:v>
                </c:pt>
                <c:pt idx="242">
                  <c:v>249.255</c:v>
                </c:pt>
                <c:pt idx="243">
                  <c:v>247.86</c:v>
                </c:pt>
                <c:pt idx="244">
                  <c:v>244.62299999999999</c:v>
                </c:pt>
                <c:pt idx="245">
                  <c:v>242.733</c:v>
                </c:pt>
                <c:pt idx="246">
                  <c:v>242.21200000000002</c:v>
                </c:pt>
                <c:pt idx="247">
                  <c:v>245.16300000000001</c:v>
                </c:pt>
                <c:pt idx="248">
                  <c:v>248.74200000000002</c:v>
                </c:pt>
                <c:pt idx="249">
                  <c:v>252.34700000000001</c:v>
                </c:pt>
                <c:pt idx="250">
                  <c:v>251.08100000000002</c:v>
                </c:pt>
                <c:pt idx="251">
                  <c:v>244.65100000000001</c:v>
                </c:pt>
                <c:pt idx="252">
                  <c:v>247.36699999999999</c:v>
                </c:pt>
                <c:pt idx="253">
                  <c:v>239.98599999999999</c:v>
                </c:pt>
                <c:pt idx="254">
                  <c:v>242.89700000000002</c:v>
                </c:pt>
                <c:pt idx="255">
                  <c:v>239.79599999999999</c:v>
                </c:pt>
                <c:pt idx="256">
                  <c:v>240.47299999999998</c:v>
                </c:pt>
                <c:pt idx="257">
                  <c:v>242.12299999999999</c:v>
                </c:pt>
                <c:pt idx="258">
                  <c:v>237.09099999999998</c:v>
                </c:pt>
                <c:pt idx="259">
                  <c:v>240.755</c:v>
                </c:pt>
                <c:pt idx="260">
                  <c:v>233.93299999999999</c:v>
                </c:pt>
                <c:pt idx="261">
                  <c:v>232.99599999999998</c:v>
                </c:pt>
                <c:pt idx="262">
                  <c:v>234.25699999999998</c:v>
                </c:pt>
                <c:pt idx="263">
                  <c:v>243.351</c:v>
                </c:pt>
                <c:pt idx="264">
                  <c:v>237.98499999999999</c:v>
                </c:pt>
                <c:pt idx="265">
                  <c:v>233.08100000000002</c:v>
                </c:pt>
                <c:pt idx="266">
                  <c:v>237.005</c:v>
                </c:pt>
                <c:pt idx="267">
                  <c:v>233.26400000000001</c:v>
                </c:pt>
                <c:pt idx="268">
                  <c:v>237.38000000000002</c:v>
                </c:pt>
                <c:pt idx="269">
                  <c:v>241.149</c:v>
                </c:pt>
                <c:pt idx="270">
                  <c:v>238.34100000000001</c:v>
                </c:pt>
                <c:pt idx="271">
                  <c:v>237.89099999999999</c:v>
                </c:pt>
                <c:pt idx="272">
                  <c:v>236.35899999999998</c:v>
                </c:pt>
                <c:pt idx="273">
                  <c:v>239.96499999999997</c:v>
                </c:pt>
                <c:pt idx="274">
                  <c:v>239.67599999999999</c:v>
                </c:pt>
                <c:pt idx="275">
                  <c:v>241.595</c:v>
                </c:pt>
                <c:pt idx="276">
                  <c:v>229.57</c:v>
                </c:pt>
                <c:pt idx="277">
                  <c:v>223.63200000000001</c:v>
                </c:pt>
                <c:pt idx="278">
                  <c:v>216.09799999999998</c:v>
                </c:pt>
                <c:pt idx="279">
                  <c:v>204.548</c:v>
                </c:pt>
                <c:pt idx="280">
                  <c:v>200.48599999999999</c:v>
                </c:pt>
                <c:pt idx="281">
                  <c:v>208.58799999999999</c:v>
                </c:pt>
                <c:pt idx="282">
                  <c:v>214.04100000000003</c:v>
                </c:pt>
                <c:pt idx="283">
                  <c:v>215.977</c:v>
                </c:pt>
                <c:pt idx="284">
                  <c:v>221.95499999999998</c:v>
                </c:pt>
                <c:pt idx="285">
                  <c:v>222.81800000000001</c:v>
                </c:pt>
                <c:pt idx="286">
                  <c:v>230.09200000000001</c:v>
                </c:pt>
                <c:pt idx="287">
                  <c:v>217.25500000000002</c:v>
                </c:pt>
                <c:pt idx="288">
                  <c:v>214.69900000000001</c:v>
                </c:pt>
                <c:pt idx="289">
                  <c:v>205.21799999999999</c:v>
                </c:pt>
                <c:pt idx="290">
                  <c:v>202.482</c:v>
                </c:pt>
                <c:pt idx="291">
                  <c:v>202.524</c:v>
                </c:pt>
                <c:pt idx="292">
                  <c:v>199.256</c:v>
                </c:pt>
                <c:pt idx="293">
                  <c:v>197.464</c:v>
                </c:pt>
                <c:pt idx="294">
                  <c:v>197.75</c:v>
                </c:pt>
                <c:pt idx="295">
                  <c:v>197.995</c:v>
                </c:pt>
                <c:pt idx="296">
                  <c:v>201.274</c:v>
                </c:pt>
                <c:pt idx="297">
                  <c:v>198.249</c:v>
                </c:pt>
                <c:pt idx="298">
                  <c:v>200.83099999999999</c:v>
                </c:pt>
                <c:pt idx="299">
                  <c:v>206.76399999999998</c:v>
                </c:pt>
                <c:pt idx="300">
                  <c:v>199.749</c:v>
                </c:pt>
                <c:pt idx="301">
                  <c:v>198.77499999999998</c:v>
                </c:pt>
                <c:pt idx="302">
                  <c:v>200.96099999999998</c:v>
                </c:pt>
                <c:pt idx="303">
                  <c:v>200.92500000000001</c:v>
                </c:pt>
                <c:pt idx="304">
                  <c:v>204.55199999999996</c:v>
                </c:pt>
                <c:pt idx="305">
                  <c:v>202.69400000000002</c:v>
                </c:pt>
                <c:pt idx="306">
                  <c:v>203.87700000000001</c:v>
                </c:pt>
                <c:pt idx="307">
                  <c:v>205.98900000000003</c:v>
                </c:pt>
                <c:pt idx="308">
                  <c:v>200.12599999999998</c:v>
                </c:pt>
                <c:pt idx="309">
                  <c:v>200.85399999999998</c:v>
                </c:pt>
                <c:pt idx="310">
                  <c:v>195.017</c:v>
                </c:pt>
                <c:pt idx="311">
                  <c:v>200.44800000000001</c:v>
                </c:pt>
                <c:pt idx="312">
                  <c:v>205.36500000000001</c:v>
                </c:pt>
                <c:pt idx="313">
                  <c:v>197.3</c:v>
                </c:pt>
                <c:pt idx="314">
                  <c:v>196.97499999999999</c:v>
                </c:pt>
                <c:pt idx="315">
                  <c:v>193.095</c:v>
                </c:pt>
                <c:pt idx="316">
                  <c:v>189.01600000000002</c:v>
                </c:pt>
                <c:pt idx="317">
                  <c:v>190.30199999999999</c:v>
                </c:pt>
                <c:pt idx="318">
                  <c:v>195.74199999999999</c:v>
                </c:pt>
                <c:pt idx="319">
                  <c:v>196.435</c:v>
                </c:pt>
                <c:pt idx="320">
                  <c:v>199.518</c:v>
                </c:pt>
                <c:pt idx="321">
                  <c:v>198.99100000000001</c:v>
                </c:pt>
                <c:pt idx="322">
                  <c:v>206.57999999999998</c:v>
                </c:pt>
                <c:pt idx="323">
                  <c:v>201.79399999999998</c:v>
                </c:pt>
                <c:pt idx="324">
                  <c:v>199.43800000000002</c:v>
                </c:pt>
                <c:pt idx="325">
                  <c:v>200.55900000000003</c:v>
                </c:pt>
                <c:pt idx="326">
                  <c:v>195.792</c:v>
                </c:pt>
                <c:pt idx="327">
                  <c:v>188.553</c:v>
                </c:pt>
                <c:pt idx="328">
                  <c:v>190.155</c:v>
                </c:pt>
                <c:pt idx="329">
                  <c:v>192.32300000000001</c:v>
                </c:pt>
                <c:pt idx="330">
                  <c:v>191.36200000000002</c:v>
                </c:pt>
                <c:pt idx="331">
                  <c:v>186.05100000000002</c:v>
                </c:pt>
                <c:pt idx="332">
                  <c:v>189.185</c:v>
                </c:pt>
                <c:pt idx="333">
                  <c:v>182.55600000000001</c:v>
                </c:pt>
                <c:pt idx="334">
                  <c:v>182.62</c:v>
                </c:pt>
                <c:pt idx="335">
                  <c:v>181.399</c:v>
                </c:pt>
                <c:pt idx="336">
                  <c:v>180.96799999999999</c:v>
                </c:pt>
                <c:pt idx="337">
                  <c:v>182.65700000000001</c:v>
                </c:pt>
                <c:pt idx="338">
                  <c:v>181.79399999999998</c:v>
                </c:pt>
                <c:pt idx="339">
                  <c:v>183.327</c:v>
                </c:pt>
                <c:pt idx="340">
                  <c:v>189.88499999999999</c:v>
                </c:pt>
                <c:pt idx="341">
                  <c:v>189.06099999999998</c:v>
                </c:pt>
                <c:pt idx="342">
                  <c:v>190.61099999999999</c:v>
                </c:pt>
                <c:pt idx="343">
                  <c:v>204.02</c:v>
                </c:pt>
                <c:pt idx="344">
                  <c:v>210.602</c:v>
                </c:pt>
                <c:pt idx="345">
                  <c:v>208.28899999999999</c:v>
                </c:pt>
                <c:pt idx="346">
                  <c:v>204.07000000000002</c:v>
                </c:pt>
                <c:pt idx="347">
                  <c:v>202.89700000000002</c:v>
                </c:pt>
                <c:pt idx="348">
                  <c:v>203.05499999999998</c:v>
                </c:pt>
                <c:pt idx="349">
                  <c:v>202.48</c:v>
                </c:pt>
                <c:pt idx="350">
                  <c:v>201.905</c:v>
                </c:pt>
                <c:pt idx="351">
                  <c:v>204.922</c:v>
                </c:pt>
                <c:pt idx="352">
                  <c:v>207.465</c:v>
                </c:pt>
                <c:pt idx="353">
                  <c:v>207.95099999999999</c:v>
                </c:pt>
                <c:pt idx="354">
                  <c:v>211.64700000000002</c:v>
                </c:pt>
                <c:pt idx="355">
                  <c:v>207.28800000000001</c:v>
                </c:pt>
                <c:pt idx="356">
                  <c:v>208.31400000000002</c:v>
                </c:pt>
                <c:pt idx="357">
                  <c:v>203.59600000000003</c:v>
                </c:pt>
                <c:pt idx="358">
                  <c:v>199.828</c:v>
                </c:pt>
                <c:pt idx="359">
                  <c:v>197.46300000000002</c:v>
                </c:pt>
                <c:pt idx="360">
                  <c:v>195.94899999999998</c:v>
                </c:pt>
                <c:pt idx="361">
                  <c:v>195.43600000000001</c:v>
                </c:pt>
                <c:pt idx="362">
                  <c:v>200.36599999999999</c:v>
                </c:pt>
                <c:pt idx="363">
                  <c:v>199.78100000000001</c:v>
                </c:pt>
                <c:pt idx="364">
                  <c:v>200.78700000000001</c:v>
                </c:pt>
                <c:pt idx="365">
                  <c:v>196.91399999999999</c:v>
                </c:pt>
                <c:pt idx="366">
                  <c:v>203.53300000000002</c:v>
                </c:pt>
                <c:pt idx="367">
                  <c:v>207.39000000000001</c:v>
                </c:pt>
                <c:pt idx="368">
                  <c:v>209.13400000000001</c:v>
                </c:pt>
                <c:pt idx="369">
                  <c:v>209.04400000000001</c:v>
                </c:pt>
                <c:pt idx="370">
                  <c:v>207.53900000000002</c:v>
                </c:pt>
                <c:pt idx="371">
                  <c:v>203.27</c:v>
                </c:pt>
                <c:pt idx="372">
                  <c:v>201.93699999999998</c:v>
                </c:pt>
                <c:pt idx="373">
                  <c:v>200.76100000000002</c:v>
                </c:pt>
                <c:pt idx="374">
                  <c:v>200.27699999999999</c:v>
                </c:pt>
                <c:pt idx="375">
                  <c:v>194.864</c:v>
                </c:pt>
                <c:pt idx="376">
                  <c:v>199.89600000000002</c:v>
                </c:pt>
                <c:pt idx="377">
                  <c:v>202.31499999999997</c:v>
                </c:pt>
                <c:pt idx="378">
                  <c:v>199.834</c:v>
                </c:pt>
                <c:pt idx="379">
                  <c:v>202.57299999999998</c:v>
                </c:pt>
                <c:pt idx="380">
                  <c:v>205.417</c:v>
                </c:pt>
                <c:pt idx="381">
                  <c:v>203.92899999999997</c:v>
                </c:pt>
                <c:pt idx="382">
                  <c:v>201.31700000000001</c:v>
                </c:pt>
                <c:pt idx="383">
                  <c:v>203.16800000000001</c:v>
                </c:pt>
                <c:pt idx="384">
                  <c:v>203.47</c:v>
                </c:pt>
                <c:pt idx="385">
                  <c:v>208.22799999999998</c:v>
                </c:pt>
                <c:pt idx="386">
                  <c:v>204.57</c:v>
                </c:pt>
                <c:pt idx="387">
                  <c:v>204.37099999999998</c:v>
                </c:pt>
                <c:pt idx="388">
                  <c:v>207.857</c:v>
                </c:pt>
                <c:pt idx="389">
                  <c:v>204.185</c:v>
                </c:pt>
                <c:pt idx="390">
                  <c:v>199.619</c:v>
                </c:pt>
                <c:pt idx="391">
                  <c:v>202.10300000000001</c:v>
                </c:pt>
                <c:pt idx="392">
                  <c:v>198.15899999999999</c:v>
                </c:pt>
                <c:pt idx="393">
                  <c:v>201.95099999999999</c:v>
                </c:pt>
                <c:pt idx="394">
                  <c:v>199.59800000000001</c:v>
                </c:pt>
                <c:pt idx="395">
                  <c:v>201.035</c:v>
                </c:pt>
                <c:pt idx="396">
                  <c:v>197.60999999999999</c:v>
                </c:pt>
                <c:pt idx="397">
                  <c:v>200.67099999999999</c:v>
                </c:pt>
                <c:pt idx="398">
                  <c:v>198.60300000000001</c:v>
                </c:pt>
                <c:pt idx="399">
                  <c:v>200.405</c:v>
                </c:pt>
                <c:pt idx="400">
                  <c:v>197.499</c:v>
                </c:pt>
                <c:pt idx="401">
                  <c:v>199.721</c:v>
                </c:pt>
                <c:pt idx="402">
                  <c:v>203.988</c:v>
                </c:pt>
                <c:pt idx="403">
                  <c:v>206.47500000000002</c:v>
                </c:pt>
                <c:pt idx="404">
                  <c:v>200.81699999999998</c:v>
                </c:pt>
                <c:pt idx="405">
                  <c:v>195.42400000000001</c:v>
                </c:pt>
                <c:pt idx="406">
                  <c:v>197.72200000000001</c:v>
                </c:pt>
                <c:pt idx="407">
                  <c:v>201.09300000000002</c:v>
                </c:pt>
                <c:pt idx="408">
                  <c:v>201.14200000000002</c:v>
                </c:pt>
                <c:pt idx="409">
                  <c:v>201.24599999999998</c:v>
                </c:pt>
                <c:pt idx="410">
                  <c:v>198.624</c:v>
                </c:pt>
                <c:pt idx="411">
                  <c:v>202.58099999999999</c:v>
                </c:pt>
                <c:pt idx="412">
                  <c:v>199.38899999999998</c:v>
                </c:pt>
                <c:pt idx="413">
                  <c:v>201.78300000000002</c:v>
                </c:pt>
                <c:pt idx="414">
                  <c:v>216.108</c:v>
                </c:pt>
                <c:pt idx="415">
                  <c:v>223.25700000000001</c:v>
                </c:pt>
                <c:pt idx="416">
                  <c:v>220.04800000000003</c:v>
                </c:pt>
                <c:pt idx="417">
                  <c:v>213.828</c:v>
                </c:pt>
                <c:pt idx="418">
                  <c:v>210.41699999999997</c:v>
                </c:pt>
                <c:pt idx="419">
                  <c:v>216.505</c:v>
                </c:pt>
                <c:pt idx="420">
                  <c:v>210.51300000000001</c:v>
                </c:pt>
                <c:pt idx="421">
                  <c:v>214.61700000000002</c:v>
                </c:pt>
                <c:pt idx="422">
                  <c:v>217.44200000000001</c:v>
                </c:pt>
                <c:pt idx="423">
                  <c:v>212.00800000000001</c:v>
                </c:pt>
                <c:pt idx="424">
                  <c:v>206.61700000000002</c:v>
                </c:pt>
                <c:pt idx="425">
                  <c:v>204.22199999999998</c:v>
                </c:pt>
                <c:pt idx="426">
                  <c:v>203.00299999999999</c:v>
                </c:pt>
                <c:pt idx="427">
                  <c:v>203.38</c:v>
                </c:pt>
                <c:pt idx="428">
                  <c:v>200.26799999999997</c:v>
                </c:pt>
                <c:pt idx="429">
                  <c:v>200.84300000000002</c:v>
                </c:pt>
                <c:pt idx="430">
                  <c:v>200.01000000000002</c:v>
                </c:pt>
                <c:pt idx="431">
                  <c:v>206.14099999999999</c:v>
                </c:pt>
                <c:pt idx="432">
                  <c:v>209.98700000000002</c:v>
                </c:pt>
                <c:pt idx="433">
                  <c:v>215.197</c:v>
                </c:pt>
                <c:pt idx="434">
                  <c:v>214.126</c:v>
                </c:pt>
                <c:pt idx="435">
                  <c:v>211.47</c:v>
                </c:pt>
                <c:pt idx="436">
                  <c:v>208.482</c:v>
                </c:pt>
                <c:pt idx="437">
                  <c:v>204.41899999999998</c:v>
                </c:pt>
                <c:pt idx="438">
                  <c:v>201.50899999999999</c:v>
                </c:pt>
                <c:pt idx="439">
                  <c:v>200.53399999999999</c:v>
                </c:pt>
                <c:pt idx="440">
                  <c:v>199.50800000000001</c:v>
                </c:pt>
                <c:pt idx="441">
                  <c:v>198.101</c:v>
                </c:pt>
                <c:pt idx="442">
                  <c:v>200.08499999999998</c:v>
                </c:pt>
                <c:pt idx="443">
                  <c:v>204.39500000000001</c:v>
                </c:pt>
                <c:pt idx="444">
                  <c:v>205.49200000000002</c:v>
                </c:pt>
                <c:pt idx="445">
                  <c:v>206.244</c:v>
                </c:pt>
                <c:pt idx="446">
                  <c:v>209.46899999999999</c:v>
                </c:pt>
                <c:pt idx="447">
                  <c:v>205.85300000000001</c:v>
                </c:pt>
                <c:pt idx="448">
                  <c:v>205.02699999999999</c:v>
                </c:pt>
                <c:pt idx="449">
                  <c:v>200.52799999999999</c:v>
                </c:pt>
                <c:pt idx="450">
                  <c:v>197.45699999999999</c:v>
                </c:pt>
                <c:pt idx="451">
                  <c:v>193.089</c:v>
                </c:pt>
                <c:pt idx="452">
                  <c:v>192.03900000000002</c:v>
                </c:pt>
                <c:pt idx="453">
                  <c:v>191.61500000000001</c:v>
                </c:pt>
                <c:pt idx="454">
                  <c:v>191.524</c:v>
                </c:pt>
                <c:pt idx="455">
                  <c:v>190.679</c:v>
                </c:pt>
                <c:pt idx="456">
                  <c:v>190.75</c:v>
                </c:pt>
                <c:pt idx="457">
                  <c:v>194.643</c:v>
                </c:pt>
                <c:pt idx="458">
                  <c:v>195.79500000000002</c:v>
                </c:pt>
                <c:pt idx="459">
                  <c:v>194.86199999999999</c:v>
                </c:pt>
                <c:pt idx="460">
                  <c:v>194.38</c:v>
                </c:pt>
                <c:pt idx="461">
                  <c:v>196.52700000000002</c:v>
                </c:pt>
                <c:pt idx="462">
                  <c:v>196.69800000000001</c:v>
                </c:pt>
                <c:pt idx="463">
                  <c:v>199.577</c:v>
                </c:pt>
                <c:pt idx="464">
                  <c:v>198.46799999999999</c:v>
                </c:pt>
                <c:pt idx="465">
                  <c:v>198.10000000000002</c:v>
                </c:pt>
                <c:pt idx="466">
                  <c:v>193.959</c:v>
                </c:pt>
                <c:pt idx="467">
                  <c:v>194.03700000000001</c:v>
                </c:pt>
                <c:pt idx="468">
                  <c:v>194.23299999999998</c:v>
                </c:pt>
                <c:pt idx="469">
                  <c:v>202.041</c:v>
                </c:pt>
                <c:pt idx="470">
                  <c:v>196.54</c:v>
                </c:pt>
                <c:pt idx="471">
                  <c:v>195.98400000000001</c:v>
                </c:pt>
                <c:pt idx="472">
                  <c:v>193.40699999999998</c:v>
                </c:pt>
                <c:pt idx="473">
                  <c:v>194.352</c:v>
                </c:pt>
                <c:pt idx="474">
                  <c:v>195.536</c:v>
                </c:pt>
                <c:pt idx="475">
                  <c:v>193.78100000000001</c:v>
                </c:pt>
                <c:pt idx="476">
                  <c:v>195.417</c:v>
                </c:pt>
                <c:pt idx="477">
                  <c:v>193.315</c:v>
                </c:pt>
                <c:pt idx="478">
                  <c:v>191.828</c:v>
                </c:pt>
                <c:pt idx="479">
                  <c:v>187.23700000000002</c:v>
                </c:pt>
                <c:pt idx="480">
                  <c:v>190.25300000000001</c:v>
                </c:pt>
                <c:pt idx="481">
                  <c:v>189.851</c:v>
                </c:pt>
                <c:pt idx="482">
                  <c:v>189.84399999999999</c:v>
                </c:pt>
                <c:pt idx="483">
                  <c:v>191.41900000000001</c:v>
                </c:pt>
                <c:pt idx="484">
                  <c:v>189.518</c:v>
                </c:pt>
                <c:pt idx="485">
                  <c:v>189.71100000000001</c:v>
                </c:pt>
                <c:pt idx="486">
                  <c:v>188.249</c:v>
                </c:pt>
                <c:pt idx="487">
                  <c:v>186.858</c:v>
                </c:pt>
                <c:pt idx="488">
                  <c:v>189.53399999999999</c:v>
                </c:pt>
                <c:pt idx="489">
                  <c:v>190.084</c:v>
                </c:pt>
                <c:pt idx="490">
                  <c:v>189.70699999999999</c:v>
                </c:pt>
                <c:pt idx="491">
                  <c:v>187.18300000000002</c:v>
                </c:pt>
                <c:pt idx="492">
                  <c:v>179.601</c:v>
                </c:pt>
                <c:pt idx="493">
                  <c:v>177.745</c:v>
                </c:pt>
                <c:pt idx="494">
                  <c:v>177.708</c:v>
                </c:pt>
                <c:pt idx="495">
                  <c:v>178.18</c:v>
                </c:pt>
                <c:pt idx="496">
                  <c:v>178.244</c:v>
                </c:pt>
                <c:pt idx="497">
                  <c:v>182.53200000000001</c:v>
                </c:pt>
                <c:pt idx="498">
                  <c:v>182.60300000000001</c:v>
                </c:pt>
                <c:pt idx="499">
                  <c:v>183.94200000000001</c:v>
                </c:pt>
                <c:pt idx="500">
                  <c:v>180.602</c:v>
                </c:pt>
                <c:pt idx="501">
                  <c:v>180.00899999999999</c:v>
                </c:pt>
                <c:pt idx="502">
                  <c:v>176.399</c:v>
                </c:pt>
                <c:pt idx="503">
                  <c:v>175.02100000000002</c:v>
                </c:pt>
                <c:pt idx="504">
                  <c:v>173.95599999999999</c:v>
                </c:pt>
                <c:pt idx="505">
                  <c:v>173.08699999999999</c:v>
                </c:pt>
                <c:pt idx="506">
                  <c:v>174.04400000000001</c:v>
                </c:pt>
                <c:pt idx="507">
                  <c:v>177.405</c:v>
                </c:pt>
                <c:pt idx="508">
                  <c:v>173.422</c:v>
                </c:pt>
                <c:pt idx="509">
                  <c:v>174.078</c:v>
                </c:pt>
                <c:pt idx="510">
                  <c:v>170.43200000000002</c:v>
                </c:pt>
                <c:pt idx="511">
                  <c:v>167.018</c:v>
                </c:pt>
                <c:pt idx="512">
                  <c:v>167.578</c:v>
                </c:pt>
                <c:pt idx="513">
                  <c:v>163.696</c:v>
                </c:pt>
                <c:pt idx="514">
                  <c:v>169.97199999999998</c:v>
                </c:pt>
                <c:pt idx="515">
                  <c:v>168.97</c:v>
                </c:pt>
                <c:pt idx="516">
                  <c:v>169.13800000000001</c:v>
                </c:pt>
                <c:pt idx="517">
                  <c:v>166.69200000000001</c:v>
                </c:pt>
                <c:pt idx="518">
                  <c:v>166.43300000000002</c:v>
                </c:pt>
                <c:pt idx="519">
                  <c:v>165.804</c:v>
                </c:pt>
                <c:pt idx="520">
                  <c:v>163.18200000000002</c:v>
                </c:pt>
                <c:pt idx="521">
                  <c:v>159.953</c:v>
                </c:pt>
                <c:pt idx="522">
                  <c:v>156.226</c:v>
                </c:pt>
                <c:pt idx="523">
                  <c:v>172.179</c:v>
                </c:pt>
                <c:pt idx="524">
                  <c:v>167.255</c:v>
                </c:pt>
                <c:pt idx="525">
                  <c:v>161.66200000000001</c:v>
                </c:pt>
                <c:pt idx="526">
                  <c:v>172.77600000000001</c:v>
                </c:pt>
                <c:pt idx="527">
                  <c:v>173.28100000000001</c:v>
                </c:pt>
                <c:pt idx="528">
                  <c:v>180.14099999999999</c:v>
                </c:pt>
                <c:pt idx="529">
                  <c:v>187.25</c:v>
                </c:pt>
                <c:pt idx="530">
                  <c:v>188.12</c:v>
                </c:pt>
                <c:pt idx="531">
                  <c:v>189.15100000000001</c:v>
                </c:pt>
                <c:pt idx="532">
                  <c:v>186.995</c:v>
                </c:pt>
                <c:pt idx="533">
                  <c:v>188.32899999999998</c:v>
                </c:pt>
                <c:pt idx="534">
                  <c:v>184.52699999999999</c:v>
                </c:pt>
                <c:pt idx="535">
                  <c:v>186.51400000000001</c:v>
                </c:pt>
                <c:pt idx="536">
                  <c:v>188.59800000000001</c:v>
                </c:pt>
                <c:pt idx="537">
                  <c:v>186.35</c:v>
                </c:pt>
                <c:pt idx="538">
                  <c:v>182.95699999999999</c:v>
                </c:pt>
                <c:pt idx="539">
                  <c:v>182.453</c:v>
                </c:pt>
                <c:pt idx="540">
                  <c:v>186.607</c:v>
                </c:pt>
                <c:pt idx="541">
                  <c:v>184.27199999999999</c:v>
                </c:pt>
                <c:pt idx="542">
                  <c:v>180.02100000000002</c:v>
                </c:pt>
                <c:pt idx="543">
                  <c:v>178.696</c:v>
                </c:pt>
                <c:pt idx="544">
                  <c:v>177.696</c:v>
                </c:pt>
                <c:pt idx="545">
                  <c:v>177.405</c:v>
                </c:pt>
                <c:pt idx="546">
                  <c:v>176.12799999999999</c:v>
                </c:pt>
                <c:pt idx="547">
                  <c:v>175.44</c:v>
                </c:pt>
                <c:pt idx="548">
                  <c:v>175.47200000000001</c:v>
                </c:pt>
                <c:pt idx="549">
                  <c:v>178.684</c:v>
                </c:pt>
                <c:pt idx="550">
                  <c:v>180.02100000000002</c:v>
                </c:pt>
                <c:pt idx="551">
                  <c:v>175.46200000000002</c:v>
                </c:pt>
                <c:pt idx="552">
                  <c:v>178.91900000000001</c:v>
                </c:pt>
                <c:pt idx="553">
                  <c:v>176.99800000000002</c:v>
                </c:pt>
                <c:pt idx="554">
                  <c:v>177.18799999999999</c:v>
                </c:pt>
                <c:pt idx="555">
                  <c:v>185.70599999999999</c:v>
                </c:pt>
                <c:pt idx="556">
                  <c:v>190.29</c:v>
                </c:pt>
                <c:pt idx="557">
                  <c:v>188.999</c:v>
                </c:pt>
                <c:pt idx="558">
                  <c:v>191.483</c:v>
                </c:pt>
                <c:pt idx="559">
                  <c:v>193.68700000000001</c:v>
                </c:pt>
                <c:pt idx="560">
                  <c:v>193.13400000000001</c:v>
                </c:pt>
                <c:pt idx="561">
                  <c:v>196.59299999999999</c:v>
                </c:pt>
                <c:pt idx="562">
                  <c:v>191.49</c:v>
                </c:pt>
                <c:pt idx="563">
                  <c:v>190.78800000000001</c:v>
                </c:pt>
                <c:pt idx="564">
                  <c:v>187.53200000000001</c:v>
                </c:pt>
                <c:pt idx="565">
                  <c:v>191.447</c:v>
                </c:pt>
                <c:pt idx="566">
                  <c:v>191.898</c:v>
                </c:pt>
                <c:pt idx="567">
                  <c:v>187.36199999999999</c:v>
                </c:pt>
                <c:pt idx="568">
                  <c:v>188.53800000000001</c:v>
                </c:pt>
                <c:pt idx="569">
                  <c:v>184.285</c:v>
                </c:pt>
                <c:pt idx="570">
                  <c:v>183.916</c:v>
                </c:pt>
                <c:pt idx="571">
                  <c:v>184.505</c:v>
                </c:pt>
                <c:pt idx="572">
                  <c:v>183.86699999999999</c:v>
                </c:pt>
                <c:pt idx="573">
                  <c:v>179.46</c:v>
                </c:pt>
                <c:pt idx="574">
                  <c:v>177.47299999999998</c:v>
                </c:pt>
                <c:pt idx="575">
                  <c:v>176.10599999999999</c:v>
                </c:pt>
                <c:pt idx="576">
                  <c:v>174.34700000000001</c:v>
                </c:pt>
                <c:pt idx="577">
                  <c:v>175.52</c:v>
                </c:pt>
                <c:pt idx="578">
                  <c:v>173.23500000000001</c:v>
                </c:pt>
                <c:pt idx="579">
                  <c:v>175.17100000000002</c:v>
                </c:pt>
                <c:pt idx="580">
                  <c:v>181.90800000000002</c:v>
                </c:pt>
                <c:pt idx="581">
                  <c:v>185.25899999999999</c:v>
                </c:pt>
                <c:pt idx="582">
                  <c:v>186.31100000000001</c:v>
                </c:pt>
                <c:pt idx="583">
                  <c:v>194.42099999999999</c:v>
                </c:pt>
                <c:pt idx="584">
                  <c:v>201.53400000000002</c:v>
                </c:pt>
                <c:pt idx="585">
                  <c:v>205.64399999999998</c:v>
                </c:pt>
                <c:pt idx="586">
                  <c:v>213.85999999999999</c:v>
                </c:pt>
                <c:pt idx="587">
                  <c:v>221.45299999999997</c:v>
                </c:pt>
                <c:pt idx="588">
                  <c:v>220.07</c:v>
                </c:pt>
                <c:pt idx="589">
                  <c:v>210.012</c:v>
                </c:pt>
                <c:pt idx="590">
                  <c:v>205.261</c:v>
                </c:pt>
                <c:pt idx="591">
                  <c:v>198.59</c:v>
                </c:pt>
                <c:pt idx="592">
                  <c:v>196.143</c:v>
                </c:pt>
                <c:pt idx="593">
                  <c:v>189.56900000000002</c:v>
                </c:pt>
                <c:pt idx="594">
                  <c:v>191.316</c:v>
                </c:pt>
                <c:pt idx="595">
                  <c:v>204.703</c:v>
                </c:pt>
                <c:pt idx="596">
                  <c:v>207.11799999999999</c:v>
                </c:pt>
                <c:pt idx="597">
                  <c:v>198.46699999999998</c:v>
                </c:pt>
                <c:pt idx="598">
                  <c:v>202.25300000000001</c:v>
                </c:pt>
                <c:pt idx="599">
                  <c:v>204.53199999999998</c:v>
                </c:pt>
                <c:pt idx="600">
                  <c:v>207.21799999999999</c:v>
                </c:pt>
                <c:pt idx="601">
                  <c:v>228.334</c:v>
                </c:pt>
                <c:pt idx="602">
                  <c:v>221.30899999999997</c:v>
                </c:pt>
                <c:pt idx="603">
                  <c:v>221.672</c:v>
                </c:pt>
                <c:pt idx="604">
                  <c:v>217.21899999999999</c:v>
                </c:pt>
                <c:pt idx="605">
                  <c:v>213.56399999999999</c:v>
                </c:pt>
                <c:pt idx="606">
                  <c:v>217.40100000000001</c:v>
                </c:pt>
                <c:pt idx="607">
                  <c:v>211.45100000000002</c:v>
                </c:pt>
                <c:pt idx="608">
                  <c:v>212.35900000000001</c:v>
                </c:pt>
                <c:pt idx="609">
                  <c:v>214.33100000000002</c:v>
                </c:pt>
                <c:pt idx="610">
                  <c:v>214.88399999999999</c:v>
                </c:pt>
                <c:pt idx="611">
                  <c:v>218.268</c:v>
                </c:pt>
                <c:pt idx="612">
                  <c:v>219.96299999999999</c:v>
                </c:pt>
                <c:pt idx="613">
                  <c:v>223.01899999999998</c:v>
                </c:pt>
                <c:pt idx="614">
                  <c:v>222.12200000000001</c:v>
                </c:pt>
                <c:pt idx="615">
                  <c:v>232.20299999999997</c:v>
                </c:pt>
                <c:pt idx="616">
                  <c:v>237.67599999999999</c:v>
                </c:pt>
                <c:pt idx="617">
                  <c:v>234.53400000000002</c:v>
                </c:pt>
                <c:pt idx="618">
                  <c:v>233.64400000000001</c:v>
                </c:pt>
                <c:pt idx="619">
                  <c:v>230.23400000000001</c:v>
                </c:pt>
                <c:pt idx="620">
                  <c:v>231.10900000000001</c:v>
                </c:pt>
                <c:pt idx="621">
                  <c:v>233.31900000000002</c:v>
                </c:pt>
                <c:pt idx="622">
                  <c:v>237.38899999999998</c:v>
                </c:pt>
                <c:pt idx="623">
                  <c:v>241.4</c:v>
                </c:pt>
                <c:pt idx="624">
                  <c:v>232.58999999999997</c:v>
                </c:pt>
                <c:pt idx="625">
                  <c:v>230.82600000000002</c:v>
                </c:pt>
                <c:pt idx="626">
                  <c:v>230.79100000000003</c:v>
                </c:pt>
                <c:pt idx="627">
                  <c:v>223.17900000000003</c:v>
                </c:pt>
                <c:pt idx="628">
                  <c:v>213.98000000000002</c:v>
                </c:pt>
                <c:pt idx="629">
                  <c:v>206.23999999999998</c:v>
                </c:pt>
                <c:pt idx="630">
                  <c:v>201.27199999999999</c:v>
                </c:pt>
                <c:pt idx="631">
                  <c:v>202.07600000000002</c:v>
                </c:pt>
                <c:pt idx="632">
                  <c:v>200.292</c:v>
                </c:pt>
                <c:pt idx="633">
                  <c:v>196.89099999999999</c:v>
                </c:pt>
                <c:pt idx="634">
                  <c:v>195.31799999999998</c:v>
                </c:pt>
                <c:pt idx="635">
                  <c:v>193.36500000000001</c:v>
                </c:pt>
                <c:pt idx="636">
                  <c:v>179.441</c:v>
                </c:pt>
                <c:pt idx="637">
                  <c:v>184.16800000000001</c:v>
                </c:pt>
                <c:pt idx="638">
                  <c:v>182.27199999999999</c:v>
                </c:pt>
                <c:pt idx="639">
                  <c:v>179.36099999999999</c:v>
                </c:pt>
                <c:pt idx="640">
                  <c:v>175.92000000000002</c:v>
                </c:pt>
                <c:pt idx="641">
                  <c:v>173.82500000000002</c:v>
                </c:pt>
                <c:pt idx="642">
                  <c:v>167.99200000000002</c:v>
                </c:pt>
                <c:pt idx="643">
                  <c:v>170.03299999999999</c:v>
                </c:pt>
                <c:pt idx="644">
                  <c:v>171.17699999999999</c:v>
                </c:pt>
                <c:pt idx="645">
                  <c:v>167.52</c:v>
                </c:pt>
                <c:pt idx="646">
                  <c:v>170.50799999999998</c:v>
                </c:pt>
                <c:pt idx="647">
                  <c:v>176.93600000000001</c:v>
                </c:pt>
                <c:pt idx="648">
                  <c:v>177.26900000000001</c:v>
                </c:pt>
                <c:pt idx="649">
                  <c:v>180.523</c:v>
                </c:pt>
                <c:pt idx="650">
                  <c:v>179.41499999999999</c:v>
                </c:pt>
                <c:pt idx="651">
                  <c:v>181.821</c:v>
                </c:pt>
                <c:pt idx="652">
                  <c:v>189.018</c:v>
                </c:pt>
                <c:pt idx="653">
                  <c:v>199.107</c:v>
                </c:pt>
                <c:pt idx="654">
                  <c:v>207.7</c:v>
                </c:pt>
                <c:pt idx="655">
                  <c:v>207.85999999999999</c:v>
                </c:pt>
                <c:pt idx="656">
                  <c:v>211.66900000000001</c:v>
                </c:pt>
                <c:pt idx="657">
                  <c:v>208.13499999999999</c:v>
                </c:pt>
                <c:pt idx="658">
                  <c:v>206.56400000000002</c:v>
                </c:pt>
                <c:pt idx="659">
                  <c:v>209.69299999999998</c:v>
                </c:pt>
                <c:pt idx="660">
                  <c:v>208.12</c:v>
                </c:pt>
                <c:pt idx="661">
                  <c:v>210.15799999999999</c:v>
                </c:pt>
                <c:pt idx="662">
                  <c:v>208.59299999999999</c:v>
                </c:pt>
                <c:pt idx="663">
                  <c:v>207.654</c:v>
                </c:pt>
                <c:pt idx="664">
                  <c:v>205.96299999999999</c:v>
                </c:pt>
                <c:pt idx="665">
                  <c:v>201.45400000000001</c:v>
                </c:pt>
                <c:pt idx="666">
                  <c:v>207.16399999999999</c:v>
                </c:pt>
                <c:pt idx="667">
                  <c:v>209.83700000000002</c:v>
                </c:pt>
                <c:pt idx="668">
                  <c:v>215.35300000000001</c:v>
                </c:pt>
                <c:pt idx="669">
                  <c:v>215.786</c:v>
                </c:pt>
                <c:pt idx="670">
                  <c:v>217.94199999999998</c:v>
                </c:pt>
                <c:pt idx="671">
                  <c:v>216.52</c:v>
                </c:pt>
                <c:pt idx="672">
                  <c:v>212.61</c:v>
                </c:pt>
                <c:pt idx="673">
                  <c:v>212.96599999999998</c:v>
                </c:pt>
                <c:pt idx="674">
                  <c:v>215.02599999999998</c:v>
                </c:pt>
                <c:pt idx="675">
                  <c:v>211.50299999999999</c:v>
                </c:pt>
                <c:pt idx="676">
                  <c:v>212.441</c:v>
                </c:pt>
                <c:pt idx="677">
                  <c:v>207.577</c:v>
                </c:pt>
                <c:pt idx="678">
                  <c:v>209.58600000000001</c:v>
                </c:pt>
                <c:pt idx="679">
                  <c:v>203.93200000000002</c:v>
                </c:pt>
                <c:pt idx="680">
                  <c:v>203.62700000000001</c:v>
                </c:pt>
                <c:pt idx="681">
                  <c:v>200.45000000000002</c:v>
                </c:pt>
                <c:pt idx="682">
                  <c:v>202.631</c:v>
                </c:pt>
                <c:pt idx="683">
                  <c:v>199.60899999999998</c:v>
                </c:pt>
                <c:pt idx="684">
                  <c:v>199.35300000000001</c:v>
                </c:pt>
                <c:pt idx="685">
                  <c:v>201.01900000000001</c:v>
                </c:pt>
                <c:pt idx="686">
                  <c:v>200.89400000000001</c:v>
                </c:pt>
                <c:pt idx="687">
                  <c:v>199.36499999999998</c:v>
                </c:pt>
                <c:pt idx="688">
                  <c:v>198.02799999999999</c:v>
                </c:pt>
                <c:pt idx="689">
                  <c:v>199.578</c:v>
                </c:pt>
                <c:pt idx="690">
                  <c:v>191.04000000000002</c:v>
                </c:pt>
                <c:pt idx="691">
                  <c:v>192.553</c:v>
                </c:pt>
                <c:pt idx="692">
                  <c:v>191.53700000000001</c:v>
                </c:pt>
                <c:pt idx="693">
                  <c:v>193.79599999999999</c:v>
                </c:pt>
                <c:pt idx="694">
                  <c:v>198.779</c:v>
                </c:pt>
                <c:pt idx="695">
                  <c:v>210.06100000000001</c:v>
                </c:pt>
                <c:pt idx="696">
                  <c:v>204.25700000000001</c:v>
                </c:pt>
                <c:pt idx="697">
                  <c:v>206.828</c:v>
                </c:pt>
                <c:pt idx="698">
                  <c:v>207.15599999999998</c:v>
                </c:pt>
                <c:pt idx="699">
                  <c:v>204.79300000000001</c:v>
                </c:pt>
                <c:pt idx="700">
                  <c:v>218.53799999999998</c:v>
                </c:pt>
                <c:pt idx="701">
                  <c:v>221.21300000000002</c:v>
                </c:pt>
                <c:pt idx="702">
                  <c:v>225.87100000000001</c:v>
                </c:pt>
                <c:pt idx="703">
                  <c:v>230.70599999999999</c:v>
                </c:pt>
                <c:pt idx="704">
                  <c:v>235.45</c:v>
                </c:pt>
                <c:pt idx="705">
                  <c:v>237.827</c:v>
                </c:pt>
                <c:pt idx="706">
                  <c:v>242.041</c:v>
                </c:pt>
                <c:pt idx="707">
                  <c:v>253.358</c:v>
                </c:pt>
                <c:pt idx="708">
                  <c:v>255.82500000000002</c:v>
                </c:pt>
                <c:pt idx="709">
                  <c:v>251.76900000000001</c:v>
                </c:pt>
                <c:pt idx="710">
                  <c:v>241.87099999999998</c:v>
                </c:pt>
                <c:pt idx="711">
                  <c:v>232.93599999999998</c:v>
                </c:pt>
                <c:pt idx="712">
                  <c:v>223.89100000000002</c:v>
                </c:pt>
                <c:pt idx="713">
                  <c:v>223.982</c:v>
                </c:pt>
                <c:pt idx="714">
                  <c:v>217.88500000000002</c:v>
                </c:pt>
                <c:pt idx="715">
                  <c:v>215.68</c:v>
                </c:pt>
                <c:pt idx="716">
                  <c:v>216.911</c:v>
                </c:pt>
                <c:pt idx="717">
                  <c:v>227.65300000000002</c:v>
                </c:pt>
                <c:pt idx="718">
                  <c:v>231.49</c:v>
                </c:pt>
                <c:pt idx="719">
                  <c:v>242.84899999999999</c:v>
                </c:pt>
                <c:pt idx="720">
                  <c:v>243.67100000000002</c:v>
                </c:pt>
                <c:pt idx="721">
                  <c:v>248.11</c:v>
                </c:pt>
                <c:pt idx="722">
                  <c:v>253.43</c:v>
                </c:pt>
                <c:pt idx="723">
                  <c:v>253.68</c:v>
                </c:pt>
                <c:pt idx="724">
                  <c:v>254.65700000000001</c:v>
                </c:pt>
                <c:pt idx="725">
                  <c:v>250.72</c:v>
                </c:pt>
                <c:pt idx="726">
                  <c:v>254.92</c:v>
                </c:pt>
                <c:pt idx="727">
                  <c:v>249.5</c:v>
                </c:pt>
                <c:pt idx="728">
                  <c:v>249.34500000000003</c:v>
                </c:pt>
                <c:pt idx="729">
                  <c:v>251.95400000000001</c:v>
                </c:pt>
                <c:pt idx="730">
                  <c:v>247.08600000000001</c:v>
                </c:pt>
                <c:pt idx="731">
                  <c:v>256.12400000000002</c:v>
                </c:pt>
                <c:pt idx="732">
                  <c:v>260.01400000000001</c:v>
                </c:pt>
                <c:pt idx="733">
                  <c:v>264.60199999999998</c:v>
                </c:pt>
                <c:pt idx="734">
                  <c:v>260.42</c:v>
                </c:pt>
                <c:pt idx="735">
                  <c:v>260.71300000000002</c:v>
                </c:pt>
                <c:pt idx="736">
                  <c:v>259.41999999999996</c:v>
                </c:pt>
                <c:pt idx="737">
                  <c:v>259.94</c:v>
                </c:pt>
                <c:pt idx="738">
                  <c:v>258.43400000000003</c:v>
                </c:pt>
                <c:pt idx="739">
                  <c:v>255.79399999999998</c:v>
                </c:pt>
                <c:pt idx="740">
                  <c:v>256.17500000000001</c:v>
                </c:pt>
                <c:pt idx="741">
                  <c:v>256.346</c:v>
                </c:pt>
                <c:pt idx="742">
                  <c:v>253.98699999999999</c:v>
                </c:pt>
                <c:pt idx="743">
                  <c:v>255.53499999999997</c:v>
                </c:pt>
                <c:pt idx="744">
                  <c:v>260.29399999999998</c:v>
                </c:pt>
                <c:pt idx="745">
                  <c:v>255.57500000000002</c:v>
                </c:pt>
                <c:pt idx="746">
                  <c:v>257.53199999999998</c:v>
                </c:pt>
                <c:pt idx="747">
                  <c:v>261.79599999999999</c:v>
                </c:pt>
                <c:pt idx="748">
                  <c:v>272.06899999999996</c:v>
                </c:pt>
                <c:pt idx="749">
                  <c:v>271.73500000000001</c:v>
                </c:pt>
                <c:pt idx="750">
                  <c:v>281.52800000000002</c:v>
                </c:pt>
                <c:pt idx="751">
                  <c:v>264.40800000000002</c:v>
                </c:pt>
                <c:pt idx="752">
                  <c:v>255.78100000000001</c:v>
                </c:pt>
                <c:pt idx="753">
                  <c:v>252.04300000000001</c:v>
                </c:pt>
                <c:pt idx="754">
                  <c:v>247.60300000000001</c:v>
                </c:pt>
                <c:pt idx="755">
                  <c:v>250.95299999999997</c:v>
                </c:pt>
                <c:pt idx="756">
                  <c:v>253.44500000000002</c:v>
                </c:pt>
                <c:pt idx="757">
                  <c:v>253.74799999999999</c:v>
                </c:pt>
                <c:pt idx="758">
                  <c:v>254.25200000000001</c:v>
                </c:pt>
                <c:pt idx="759">
                  <c:v>251.09800000000001</c:v>
                </c:pt>
                <c:pt idx="760">
                  <c:v>250.286</c:v>
                </c:pt>
                <c:pt idx="761">
                  <c:v>240.679</c:v>
                </c:pt>
                <c:pt idx="762">
                  <c:v>241.26300000000001</c:v>
                </c:pt>
                <c:pt idx="763">
                  <c:v>221.976</c:v>
                </c:pt>
                <c:pt idx="764">
                  <c:v>215.01199999999997</c:v>
                </c:pt>
                <c:pt idx="765">
                  <c:v>207.458</c:v>
                </c:pt>
                <c:pt idx="766">
                  <c:v>211.726</c:v>
                </c:pt>
                <c:pt idx="767">
                  <c:v>218.90299999999999</c:v>
                </c:pt>
                <c:pt idx="768">
                  <c:v>219.625</c:v>
                </c:pt>
                <c:pt idx="769">
                  <c:v>218.63499999999999</c:v>
                </c:pt>
                <c:pt idx="770">
                  <c:v>213.58100000000002</c:v>
                </c:pt>
                <c:pt idx="771">
                  <c:v>210.74600000000001</c:v>
                </c:pt>
                <c:pt idx="772">
                  <c:v>210.48399999999998</c:v>
                </c:pt>
                <c:pt idx="773">
                  <c:v>212.62200000000001</c:v>
                </c:pt>
                <c:pt idx="774">
                  <c:v>223.36100000000002</c:v>
                </c:pt>
                <c:pt idx="775">
                  <c:v>226.50299999999999</c:v>
                </c:pt>
                <c:pt idx="776">
                  <c:v>227.65499999999997</c:v>
                </c:pt>
                <c:pt idx="777">
                  <c:v>223.44</c:v>
                </c:pt>
                <c:pt idx="778">
                  <c:v>218.04399999999998</c:v>
                </c:pt>
                <c:pt idx="779">
                  <c:v>222.86899999999997</c:v>
                </c:pt>
                <c:pt idx="780">
                  <c:v>221.16699999999997</c:v>
                </c:pt>
                <c:pt idx="781">
                  <c:v>220.31299999999999</c:v>
                </c:pt>
                <c:pt idx="782">
                  <c:v>222.01399999999998</c:v>
                </c:pt>
                <c:pt idx="783">
                  <c:v>222.52999999999997</c:v>
                </c:pt>
                <c:pt idx="784">
                  <c:v>223.35699999999997</c:v>
                </c:pt>
                <c:pt idx="785">
                  <c:v>220.43799999999999</c:v>
                </c:pt>
                <c:pt idx="786">
                  <c:v>225.24299999999999</c:v>
                </c:pt>
                <c:pt idx="787">
                  <c:v>216.28799999999998</c:v>
                </c:pt>
                <c:pt idx="788">
                  <c:v>213.239</c:v>
                </c:pt>
                <c:pt idx="789">
                  <c:v>210.67499999999998</c:v>
                </c:pt>
                <c:pt idx="790">
                  <c:v>216.29</c:v>
                </c:pt>
                <c:pt idx="791">
                  <c:v>216.34199999999998</c:v>
                </c:pt>
                <c:pt idx="792">
                  <c:v>219.036</c:v>
                </c:pt>
                <c:pt idx="793">
                  <c:v>224.48600000000002</c:v>
                </c:pt>
                <c:pt idx="794">
                  <c:v>228.67500000000001</c:v>
                </c:pt>
                <c:pt idx="795">
                  <c:v>224.69800000000001</c:v>
                </c:pt>
                <c:pt idx="796">
                  <c:v>223.49</c:v>
                </c:pt>
                <c:pt idx="797">
                  <c:v>223.22499999999999</c:v>
                </c:pt>
                <c:pt idx="798">
                  <c:v>218.559</c:v>
                </c:pt>
                <c:pt idx="799">
                  <c:v>217.50099999999998</c:v>
                </c:pt>
                <c:pt idx="800">
                  <c:v>215.345</c:v>
                </c:pt>
                <c:pt idx="801">
                  <c:v>210.53899999999999</c:v>
                </c:pt>
                <c:pt idx="802">
                  <c:v>219.21699999999998</c:v>
                </c:pt>
                <c:pt idx="803">
                  <c:v>217.40800000000002</c:v>
                </c:pt>
                <c:pt idx="804">
                  <c:v>233.51500000000001</c:v>
                </c:pt>
                <c:pt idx="805">
                  <c:v>240.37</c:v>
                </c:pt>
                <c:pt idx="806">
                  <c:v>238.768</c:v>
                </c:pt>
                <c:pt idx="807">
                  <c:v>242.36699999999999</c:v>
                </c:pt>
                <c:pt idx="808">
                  <c:v>240.714</c:v>
                </c:pt>
                <c:pt idx="809">
                  <c:v>233.012</c:v>
                </c:pt>
                <c:pt idx="810">
                  <c:v>213.11</c:v>
                </c:pt>
                <c:pt idx="811">
                  <c:v>222.34199999999998</c:v>
                </c:pt>
                <c:pt idx="812">
                  <c:v>220.61700000000002</c:v>
                </c:pt>
                <c:pt idx="813">
                  <c:v>222.62</c:v>
                </c:pt>
                <c:pt idx="814">
                  <c:v>222.19799999999998</c:v>
                </c:pt>
                <c:pt idx="815">
                  <c:v>220.94499999999999</c:v>
                </c:pt>
                <c:pt idx="816">
                  <c:v>219.58700000000002</c:v>
                </c:pt>
                <c:pt idx="817">
                  <c:v>224.512</c:v>
                </c:pt>
                <c:pt idx="818">
                  <c:v>222.67400000000001</c:v>
                </c:pt>
                <c:pt idx="819">
                  <c:v>213.15699999999998</c:v>
                </c:pt>
                <c:pt idx="820">
                  <c:v>215.083</c:v>
                </c:pt>
                <c:pt idx="821">
                  <c:v>206.654</c:v>
                </c:pt>
                <c:pt idx="822">
                  <c:v>202.07000000000002</c:v>
                </c:pt>
                <c:pt idx="823">
                  <c:v>207.16299999999998</c:v>
                </c:pt>
                <c:pt idx="824">
                  <c:v>204.048</c:v>
                </c:pt>
                <c:pt idx="825">
                  <c:v>200.90100000000001</c:v>
                </c:pt>
                <c:pt idx="826">
                  <c:v>204.57</c:v>
                </c:pt>
                <c:pt idx="827">
                  <c:v>208.06300000000002</c:v>
                </c:pt>
                <c:pt idx="828">
                  <c:v>205.089</c:v>
                </c:pt>
                <c:pt idx="829">
                  <c:v>202.04599999999999</c:v>
                </c:pt>
                <c:pt idx="830">
                  <c:v>205.16</c:v>
                </c:pt>
                <c:pt idx="831">
                  <c:v>206.01900000000001</c:v>
                </c:pt>
                <c:pt idx="832">
                  <c:v>201.49699999999999</c:v>
                </c:pt>
                <c:pt idx="833">
                  <c:v>204.95800000000003</c:v>
                </c:pt>
                <c:pt idx="834">
                  <c:v>207.38400000000001</c:v>
                </c:pt>
                <c:pt idx="835">
                  <c:v>213.09</c:v>
                </c:pt>
                <c:pt idx="836">
                  <c:v>211.18600000000001</c:v>
                </c:pt>
                <c:pt idx="837">
                  <c:v>219</c:v>
                </c:pt>
                <c:pt idx="838">
                  <c:v>219.50099999999998</c:v>
                </c:pt>
                <c:pt idx="839">
                  <c:v>233.28099999999998</c:v>
                </c:pt>
                <c:pt idx="840">
                  <c:v>230.03800000000001</c:v>
                </c:pt>
                <c:pt idx="841">
                  <c:v>231.35</c:v>
                </c:pt>
                <c:pt idx="842">
                  <c:v>224.816</c:v>
                </c:pt>
                <c:pt idx="843">
                  <c:v>229.739</c:v>
                </c:pt>
                <c:pt idx="844">
                  <c:v>222.32300000000001</c:v>
                </c:pt>
                <c:pt idx="845">
                  <c:v>221.75099999999998</c:v>
                </c:pt>
                <c:pt idx="846">
                  <c:v>225.76100000000002</c:v>
                </c:pt>
                <c:pt idx="847">
                  <c:v>238.47399999999999</c:v>
                </c:pt>
                <c:pt idx="848">
                  <c:v>235.553</c:v>
                </c:pt>
                <c:pt idx="849">
                  <c:v>242.69799999999998</c:v>
                </c:pt>
                <c:pt idx="850">
                  <c:v>248.245</c:v>
                </c:pt>
                <c:pt idx="851">
                  <c:v>250.45000000000002</c:v>
                </c:pt>
                <c:pt idx="852">
                  <c:v>263.38499999999999</c:v>
                </c:pt>
                <c:pt idx="853">
                  <c:v>267.82100000000003</c:v>
                </c:pt>
                <c:pt idx="854">
                  <c:v>261.904</c:v>
                </c:pt>
                <c:pt idx="855">
                  <c:v>253.49300000000002</c:v>
                </c:pt>
                <c:pt idx="856">
                  <c:v>244.95300000000003</c:v>
                </c:pt>
                <c:pt idx="857">
                  <c:v>243.00000000000003</c:v>
                </c:pt>
                <c:pt idx="858">
                  <c:v>236.27799999999999</c:v>
                </c:pt>
                <c:pt idx="859">
                  <c:v>235.33300000000003</c:v>
                </c:pt>
                <c:pt idx="860">
                  <c:v>237.01599999999999</c:v>
                </c:pt>
                <c:pt idx="861">
                  <c:v>242.85100000000003</c:v>
                </c:pt>
                <c:pt idx="862">
                  <c:v>238.50600000000003</c:v>
                </c:pt>
                <c:pt idx="863">
                  <c:v>239.80899999999997</c:v>
                </c:pt>
                <c:pt idx="864">
                  <c:v>229.29300000000001</c:v>
                </c:pt>
                <c:pt idx="865">
                  <c:v>229.71699999999998</c:v>
                </c:pt>
                <c:pt idx="866">
                  <c:v>225.57900000000001</c:v>
                </c:pt>
                <c:pt idx="867">
                  <c:v>219.00300000000001</c:v>
                </c:pt>
                <c:pt idx="868">
                  <c:v>226.10000000000002</c:v>
                </c:pt>
                <c:pt idx="869">
                  <c:v>233.51500000000001</c:v>
                </c:pt>
                <c:pt idx="870">
                  <c:v>225.82499999999999</c:v>
                </c:pt>
                <c:pt idx="871">
                  <c:v>226.39699999999999</c:v>
                </c:pt>
                <c:pt idx="872">
                  <c:v>267.59899999999999</c:v>
                </c:pt>
                <c:pt idx="873">
                  <c:v>261.2</c:v>
                </c:pt>
                <c:pt idx="874">
                  <c:v>258.84999999999997</c:v>
                </c:pt>
                <c:pt idx="875">
                  <c:v>263.43799999999999</c:v>
                </c:pt>
                <c:pt idx="876">
                  <c:v>252.93700000000001</c:v>
                </c:pt>
                <c:pt idx="877">
                  <c:v>243.30199999999999</c:v>
                </c:pt>
                <c:pt idx="878">
                  <c:v>239.952</c:v>
                </c:pt>
                <c:pt idx="879">
                  <c:v>237.18899999999999</c:v>
                </c:pt>
                <c:pt idx="880">
                  <c:v>233.17199999999997</c:v>
                </c:pt>
                <c:pt idx="881">
                  <c:v>231.47299999999998</c:v>
                </c:pt>
                <c:pt idx="882">
                  <c:v>232.16399999999999</c:v>
                </c:pt>
                <c:pt idx="883">
                  <c:v>230.62800000000001</c:v>
                </c:pt>
                <c:pt idx="884">
                  <c:v>238.49200000000002</c:v>
                </c:pt>
                <c:pt idx="885">
                  <c:v>240.096</c:v>
                </c:pt>
                <c:pt idx="886">
                  <c:v>241.416</c:v>
                </c:pt>
                <c:pt idx="887">
                  <c:v>238.55699999999999</c:v>
                </c:pt>
                <c:pt idx="888">
                  <c:v>244.477</c:v>
                </c:pt>
                <c:pt idx="889">
                  <c:v>247.43100000000001</c:v>
                </c:pt>
                <c:pt idx="890">
                  <c:v>245.92700000000002</c:v>
                </c:pt>
                <c:pt idx="891">
                  <c:v>244.73400000000001</c:v>
                </c:pt>
                <c:pt idx="892">
                  <c:v>245.31200000000001</c:v>
                </c:pt>
                <c:pt idx="893">
                  <c:v>246.18</c:v>
                </c:pt>
                <c:pt idx="894">
                  <c:v>247.95400000000001</c:v>
                </c:pt>
                <c:pt idx="895">
                  <c:v>262.73500000000001</c:v>
                </c:pt>
                <c:pt idx="896">
                  <c:v>264.904</c:v>
                </c:pt>
                <c:pt idx="897">
                  <c:v>282.38799999999998</c:v>
                </c:pt>
                <c:pt idx="898">
                  <c:v>280.43099999999998</c:v>
                </c:pt>
                <c:pt idx="899">
                  <c:v>280.03899999999999</c:v>
                </c:pt>
                <c:pt idx="900">
                  <c:v>279.42399999999998</c:v>
                </c:pt>
                <c:pt idx="901">
                  <c:v>274.47699999999998</c:v>
                </c:pt>
                <c:pt idx="902">
                  <c:v>287.73500000000001</c:v>
                </c:pt>
                <c:pt idx="903">
                  <c:v>281.27199999999999</c:v>
                </c:pt>
                <c:pt idx="904">
                  <c:v>285.029</c:v>
                </c:pt>
                <c:pt idx="905">
                  <c:v>286.28399999999999</c:v>
                </c:pt>
                <c:pt idx="906">
                  <c:v>284.04399999999998</c:v>
                </c:pt>
                <c:pt idx="907">
                  <c:v>277.32600000000002</c:v>
                </c:pt>
                <c:pt idx="908">
                  <c:v>269.93900000000002</c:v>
                </c:pt>
                <c:pt idx="909">
                  <c:v>255.54999999999998</c:v>
                </c:pt>
                <c:pt idx="910">
                  <c:v>249.57300000000001</c:v>
                </c:pt>
                <c:pt idx="911">
                  <c:v>254.01900000000001</c:v>
                </c:pt>
                <c:pt idx="912">
                  <c:v>250.31400000000002</c:v>
                </c:pt>
                <c:pt idx="913">
                  <c:v>250.61399999999998</c:v>
                </c:pt>
                <c:pt idx="914">
                  <c:v>251.261</c:v>
                </c:pt>
                <c:pt idx="915">
                  <c:v>246.328</c:v>
                </c:pt>
                <c:pt idx="916">
                  <c:v>246.839</c:v>
                </c:pt>
                <c:pt idx="917">
                  <c:v>243.69800000000001</c:v>
                </c:pt>
                <c:pt idx="918">
                  <c:v>239.93699999999998</c:v>
                </c:pt>
                <c:pt idx="919">
                  <c:v>230.285</c:v>
                </c:pt>
                <c:pt idx="920">
                  <c:v>233.20099999999999</c:v>
                </c:pt>
                <c:pt idx="921">
                  <c:v>231.45699999999999</c:v>
                </c:pt>
                <c:pt idx="922">
                  <c:v>231.91199999999998</c:v>
                </c:pt>
                <c:pt idx="923">
                  <c:v>233.15</c:v>
                </c:pt>
                <c:pt idx="924">
                  <c:v>229.86699999999999</c:v>
                </c:pt>
                <c:pt idx="925">
                  <c:v>229.81699999999998</c:v>
                </c:pt>
                <c:pt idx="926">
                  <c:v>233.43699999999998</c:v>
                </c:pt>
                <c:pt idx="927">
                  <c:v>231.608</c:v>
                </c:pt>
                <c:pt idx="928">
                  <c:v>230.93200000000002</c:v>
                </c:pt>
                <c:pt idx="929">
                  <c:v>232.60999999999999</c:v>
                </c:pt>
                <c:pt idx="930">
                  <c:v>233.26900000000001</c:v>
                </c:pt>
                <c:pt idx="931">
                  <c:v>234.31299999999999</c:v>
                </c:pt>
                <c:pt idx="932">
                  <c:v>248.06100000000001</c:v>
                </c:pt>
                <c:pt idx="933">
                  <c:v>247.81399999999996</c:v>
                </c:pt>
                <c:pt idx="934">
                  <c:v>248.78200000000001</c:v>
                </c:pt>
                <c:pt idx="935">
                  <c:v>251.92399999999998</c:v>
                </c:pt>
                <c:pt idx="936">
                  <c:v>253.626</c:v>
                </c:pt>
                <c:pt idx="937">
                  <c:v>257.346</c:v>
                </c:pt>
                <c:pt idx="938">
                  <c:v>264.452</c:v>
                </c:pt>
                <c:pt idx="939">
                  <c:v>270.33699999999999</c:v>
                </c:pt>
                <c:pt idx="940">
                  <c:v>268.67099999999999</c:v>
                </c:pt>
                <c:pt idx="941">
                  <c:v>262.82600000000002</c:v>
                </c:pt>
                <c:pt idx="942">
                  <c:v>266.43900000000002</c:v>
                </c:pt>
                <c:pt idx="943">
                  <c:v>261.81399999999996</c:v>
                </c:pt>
                <c:pt idx="944">
                  <c:v>256.06799999999998</c:v>
                </c:pt>
                <c:pt idx="945">
                  <c:v>247.422</c:v>
                </c:pt>
                <c:pt idx="946">
                  <c:v>245.42799999999997</c:v>
                </c:pt>
                <c:pt idx="947">
                  <c:v>246.67699999999999</c:v>
                </c:pt>
                <c:pt idx="948">
                  <c:v>246.57</c:v>
                </c:pt>
                <c:pt idx="949">
                  <c:v>245.947</c:v>
                </c:pt>
                <c:pt idx="950">
                  <c:v>240.36499999999998</c:v>
                </c:pt>
                <c:pt idx="951">
                  <c:v>244.773</c:v>
                </c:pt>
                <c:pt idx="952">
                  <c:v>243.87599999999998</c:v>
                </c:pt>
                <c:pt idx="953">
                  <c:v>242.72300000000001</c:v>
                </c:pt>
                <c:pt idx="954">
                  <c:v>240.04400000000001</c:v>
                </c:pt>
                <c:pt idx="955">
                  <c:v>236.97900000000001</c:v>
                </c:pt>
                <c:pt idx="956">
                  <c:v>234.99500000000003</c:v>
                </c:pt>
                <c:pt idx="957">
                  <c:v>240.339</c:v>
                </c:pt>
                <c:pt idx="958">
                  <c:v>238.91499999999999</c:v>
                </c:pt>
                <c:pt idx="959">
                  <c:v>234.06699999999998</c:v>
                </c:pt>
                <c:pt idx="960">
                  <c:v>228.14299999999997</c:v>
                </c:pt>
                <c:pt idx="961">
                  <c:v>224.23500000000001</c:v>
                </c:pt>
                <c:pt idx="962">
                  <c:v>227.33099999999999</c:v>
                </c:pt>
                <c:pt idx="963">
                  <c:v>221.79799999999997</c:v>
                </c:pt>
                <c:pt idx="964">
                  <c:v>220.63199999999998</c:v>
                </c:pt>
                <c:pt idx="965">
                  <c:v>222.57699999999997</c:v>
                </c:pt>
                <c:pt idx="966">
                  <c:v>229.00399999999999</c:v>
                </c:pt>
                <c:pt idx="967">
                  <c:v>233.63900000000001</c:v>
                </c:pt>
                <c:pt idx="968">
                  <c:v>232.18899999999996</c:v>
                </c:pt>
                <c:pt idx="969">
                  <c:v>235.35900000000001</c:v>
                </c:pt>
                <c:pt idx="970">
                  <c:v>242.929</c:v>
                </c:pt>
                <c:pt idx="971">
                  <c:v>247.947</c:v>
                </c:pt>
                <c:pt idx="972">
                  <c:v>245.45400000000001</c:v>
                </c:pt>
                <c:pt idx="973">
                  <c:v>246.10400000000001</c:v>
                </c:pt>
                <c:pt idx="974">
                  <c:v>247.04399999999998</c:v>
                </c:pt>
                <c:pt idx="975">
                  <c:v>249.69800000000001</c:v>
                </c:pt>
                <c:pt idx="976">
                  <c:v>249.69800000000001</c:v>
                </c:pt>
                <c:pt idx="977">
                  <c:v>249.69299999999998</c:v>
                </c:pt>
                <c:pt idx="978">
                  <c:v>247.68500000000003</c:v>
                </c:pt>
                <c:pt idx="979">
                  <c:v>261.48399999999998</c:v>
                </c:pt>
                <c:pt idx="980">
                  <c:v>253.80099999999999</c:v>
                </c:pt>
                <c:pt idx="981">
                  <c:v>252.30700000000002</c:v>
                </c:pt>
                <c:pt idx="982">
                  <c:v>246.37699999999998</c:v>
                </c:pt>
                <c:pt idx="983">
                  <c:v>242.45999999999998</c:v>
                </c:pt>
                <c:pt idx="984">
                  <c:v>242.01000000000002</c:v>
                </c:pt>
                <c:pt idx="985">
                  <c:v>242.99400000000003</c:v>
                </c:pt>
                <c:pt idx="986">
                  <c:v>226.26599999999999</c:v>
                </c:pt>
                <c:pt idx="987">
                  <c:v>229.42999999999998</c:v>
                </c:pt>
                <c:pt idx="988">
                  <c:v>222.86100000000002</c:v>
                </c:pt>
                <c:pt idx="989">
                  <c:v>219.99100000000001</c:v>
                </c:pt>
                <c:pt idx="990">
                  <c:v>214.941</c:v>
                </c:pt>
                <c:pt idx="991">
                  <c:v>218.37800000000001</c:v>
                </c:pt>
                <c:pt idx="992">
                  <c:v>217.49100000000001</c:v>
                </c:pt>
                <c:pt idx="993">
                  <c:v>214.97099999999998</c:v>
                </c:pt>
                <c:pt idx="994">
                  <c:v>217.928</c:v>
                </c:pt>
                <c:pt idx="995">
                  <c:v>216.84199999999998</c:v>
                </c:pt>
                <c:pt idx="996">
                  <c:v>219.69200000000001</c:v>
                </c:pt>
                <c:pt idx="997">
                  <c:v>218.57999999999998</c:v>
                </c:pt>
                <c:pt idx="998">
                  <c:v>214.53199999999998</c:v>
                </c:pt>
                <c:pt idx="999">
                  <c:v>216.20499999999998</c:v>
                </c:pt>
                <c:pt idx="1000">
                  <c:v>221.45199999999997</c:v>
                </c:pt>
                <c:pt idx="1001">
                  <c:v>219.87199999999999</c:v>
                </c:pt>
                <c:pt idx="1002">
                  <c:v>220.78099999999998</c:v>
                </c:pt>
                <c:pt idx="1003">
                  <c:v>216.81900000000002</c:v>
                </c:pt>
                <c:pt idx="1004">
                  <c:v>222.79300000000001</c:v>
                </c:pt>
                <c:pt idx="1005">
                  <c:v>225.05099999999999</c:v>
                </c:pt>
                <c:pt idx="1006">
                  <c:v>223.20600000000002</c:v>
                </c:pt>
                <c:pt idx="1007">
                  <c:v>226.53799999999998</c:v>
                </c:pt>
                <c:pt idx="1008">
                  <c:v>224.55099999999999</c:v>
                </c:pt>
                <c:pt idx="1009">
                  <c:v>214.94399999999999</c:v>
                </c:pt>
                <c:pt idx="1010">
                  <c:v>208.58500000000001</c:v>
                </c:pt>
                <c:pt idx="1011">
                  <c:v>213.35299999999998</c:v>
                </c:pt>
                <c:pt idx="1012">
                  <c:v>213.93399999999997</c:v>
                </c:pt>
                <c:pt idx="1013">
                  <c:v>219.70499999999998</c:v>
                </c:pt>
                <c:pt idx="1014">
                  <c:v>229.48599999999999</c:v>
                </c:pt>
                <c:pt idx="1015">
                  <c:v>241.76500000000001</c:v>
                </c:pt>
                <c:pt idx="1016">
                  <c:v>235.83699999999999</c:v>
                </c:pt>
                <c:pt idx="1017">
                  <c:v>239.107</c:v>
                </c:pt>
                <c:pt idx="1018">
                  <c:v>242.79799999999997</c:v>
                </c:pt>
                <c:pt idx="1019">
                  <c:v>245.62900000000002</c:v>
                </c:pt>
                <c:pt idx="1020">
                  <c:v>245.42500000000001</c:v>
                </c:pt>
                <c:pt idx="1021">
                  <c:v>239.55700000000002</c:v>
                </c:pt>
                <c:pt idx="1022">
                  <c:v>235.30099999999999</c:v>
                </c:pt>
                <c:pt idx="1023">
                  <c:v>234.70300000000003</c:v>
                </c:pt>
                <c:pt idx="1024">
                  <c:v>241.08499999999998</c:v>
                </c:pt>
                <c:pt idx="1025">
                  <c:v>245.38099999999997</c:v>
                </c:pt>
                <c:pt idx="1026">
                  <c:v>239.804</c:v>
                </c:pt>
                <c:pt idx="1027">
                  <c:v>232.15100000000001</c:v>
                </c:pt>
                <c:pt idx="1028">
                  <c:v>232.61199999999999</c:v>
                </c:pt>
                <c:pt idx="1029">
                  <c:v>234.26499999999999</c:v>
                </c:pt>
                <c:pt idx="1030">
                  <c:v>239.41800000000001</c:v>
                </c:pt>
                <c:pt idx="1031">
                  <c:v>235.005</c:v>
                </c:pt>
                <c:pt idx="1032">
                  <c:v>235.86100000000002</c:v>
                </c:pt>
                <c:pt idx="1033">
                  <c:v>238.04300000000001</c:v>
                </c:pt>
                <c:pt idx="1034">
                  <c:v>249.429</c:v>
                </c:pt>
                <c:pt idx="1035">
                  <c:v>253.57</c:v>
                </c:pt>
                <c:pt idx="1036">
                  <c:v>251.07</c:v>
                </c:pt>
                <c:pt idx="1037">
                  <c:v>256.88300000000004</c:v>
                </c:pt>
                <c:pt idx="1038">
                  <c:v>276.85900000000004</c:v>
                </c:pt>
                <c:pt idx="1039">
                  <c:v>280.226</c:v>
                </c:pt>
                <c:pt idx="1040">
                  <c:v>281.32400000000001</c:v>
                </c:pt>
                <c:pt idx="1041">
                  <c:v>273.40199999999999</c:v>
                </c:pt>
                <c:pt idx="1042">
                  <c:v>285.21800000000002</c:v>
                </c:pt>
                <c:pt idx="1043">
                  <c:v>315.91900000000004</c:v>
                </c:pt>
                <c:pt idx="1044">
                  <c:v>354.18700000000001</c:v>
                </c:pt>
                <c:pt idx="1045">
                  <c:v>343.15699999999998</c:v>
                </c:pt>
                <c:pt idx="1046">
                  <c:v>358.64</c:v>
                </c:pt>
                <c:pt idx="1047">
                  <c:v>389.58499999999998</c:v>
                </c:pt>
                <c:pt idx="1048">
                  <c:v>384.41399999999999</c:v>
                </c:pt>
                <c:pt idx="1049">
                  <c:v>426.08499999999998</c:v>
                </c:pt>
                <c:pt idx="1050">
                  <c:v>415.68100000000004</c:v>
                </c:pt>
                <c:pt idx="1051">
                  <c:v>467.79300000000001</c:v>
                </c:pt>
                <c:pt idx="1052">
                  <c:v>503.38499999999999</c:v>
                </c:pt>
                <c:pt idx="1053">
                  <c:v>529.68400000000008</c:v>
                </c:pt>
                <c:pt idx="1054">
                  <c:v>582.96699999999998</c:v>
                </c:pt>
                <c:pt idx="1055">
                  <c:v>559.15899999999999</c:v>
                </c:pt>
                <c:pt idx="1056">
                  <c:v>508.92499999999995</c:v>
                </c:pt>
                <c:pt idx="1057">
                  <c:v>467.61900000000003</c:v>
                </c:pt>
                <c:pt idx="1058">
                  <c:v>468.72499999999997</c:v>
                </c:pt>
                <c:pt idx="1059">
                  <c:v>479.017</c:v>
                </c:pt>
                <c:pt idx="1060">
                  <c:v>453.76799999999997</c:v>
                </c:pt>
                <c:pt idx="1061">
                  <c:v>452.82799999999997</c:v>
                </c:pt>
                <c:pt idx="1062">
                  <c:v>448.529</c:v>
                </c:pt>
                <c:pt idx="1063">
                  <c:v>454.61099999999999</c:v>
                </c:pt>
                <c:pt idx="1064">
                  <c:v>447.85</c:v>
                </c:pt>
                <c:pt idx="1065">
                  <c:v>444.38000000000005</c:v>
                </c:pt>
                <c:pt idx="1066">
                  <c:v>428.86199999999997</c:v>
                </c:pt>
                <c:pt idx="1067">
                  <c:v>417.76600000000002</c:v>
                </c:pt>
                <c:pt idx="1068">
                  <c:v>419.161</c:v>
                </c:pt>
                <c:pt idx="1069">
                  <c:v>406.65100000000001</c:v>
                </c:pt>
                <c:pt idx="1070">
                  <c:v>425.07299999999998</c:v>
                </c:pt>
                <c:pt idx="1071">
                  <c:v>422.52499999999998</c:v>
                </c:pt>
                <c:pt idx="1072">
                  <c:v>412.791</c:v>
                </c:pt>
                <c:pt idx="1073">
                  <c:v>421.01100000000002</c:v>
                </c:pt>
                <c:pt idx="1074">
                  <c:v>443.19100000000003</c:v>
                </c:pt>
                <c:pt idx="1075">
                  <c:v>447.245</c:v>
                </c:pt>
                <c:pt idx="1076">
                  <c:v>448.65800000000002</c:v>
                </c:pt>
                <c:pt idx="1077">
                  <c:v>449.52699999999999</c:v>
                </c:pt>
                <c:pt idx="1078">
                  <c:v>444.113</c:v>
                </c:pt>
                <c:pt idx="1079">
                  <c:v>449.00799999999998</c:v>
                </c:pt>
                <c:pt idx="1080">
                  <c:v>442.39100000000002</c:v>
                </c:pt>
                <c:pt idx="1081">
                  <c:v>443.98999999999995</c:v>
                </c:pt>
                <c:pt idx="1082">
                  <c:v>429.46699999999998</c:v>
                </c:pt>
                <c:pt idx="1083">
                  <c:v>425.40800000000002</c:v>
                </c:pt>
                <c:pt idx="1084">
                  <c:v>414.46</c:v>
                </c:pt>
                <c:pt idx="1085">
                  <c:v>404.49700000000001</c:v>
                </c:pt>
                <c:pt idx="1086">
                  <c:v>405.99999999999994</c:v>
                </c:pt>
                <c:pt idx="1087">
                  <c:v>395.53500000000003</c:v>
                </c:pt>
                <c:pt idx="1088">
                  <c:v>379.3</c:v>
                </c:pt>
                <c:pt idx="1089">
                  <c:v>378.35500000000002</c:v>
                </c:pt>
                <c:pt idx="1090">
                  <c:v>372.43</c:v>
                </c:pt>
                <c:pt idx="1091">
                  <c:v>399.85699999999997</c:v>
                </c:pt>
                <c:pt idx="1092">
                  <c:v>398.89</c:v>
                </c:pt>
                <c:pt idx="1093">
                  <c:v>380.89800000000002</c:v>
                </c:pt>
                <c:pt idx="1094">
                  <c:v>381.27</c:v>
                </c:pt>
                <c:pt idx="1095">
                  <c:v>378.51400000000001</c:v>
                </c:pt>
                <c:pt idx="1096">
                  <c:v>374.75</c:v>
                </c:pt>
                <c:pt idx="1097">
                  <c:v>389.529</c:v>
                </c:pt>
                <c:pt idx="1098">
                  <c:v>369.51800000000003</c:v>
                </c:pt>
                <c:pt idx="1099">
                  <c:v>370.85599999999999</c:v>
                </c:pt>
                <c:pt idx="1100">
                  <c:v>364.50700000000001</c:v>
                </c:pt>
                <c:pt idx="1101">
                  <c:v>373.52500000000003</c:v>
                </c:pt>
                <c:pt idx="1102">
                  <c:v>372.16200000000003</c:v>
                </c:pt>
                <c:pt idx="1103">
                  <c:v>367.03399999999999</c:v>
                </c:pt>
                <c:pt idx="1104">
                  <c:v>353.15199999999999</c:v>
                </c:pt>
                <c:pt idx="1105">
                  <c:v>349.7</c:v>
                </c:pt>
                <c:pt idx="1106">
                  <c:v>335.339</c:v>
                </c:pt>
                <c:pt idx="1107">
                  <c:v>328.79500000000002</c:v>
                </c:pt>
                <c:pt idx="1108">
                  <c:v>332.19799999999998</c:v>
                </c:pt>
                <c:pt idx="1109">
                  <c:v>338.16700000000003</c:v>
                </c:pt>
                <c:pt idx="1110">
                  <c:v>348.98099999999999</c:v>
                </c:pt>
                <c:pt idx="1111">
                  <c:v>345.40899999999999</c:v>
                </c:pt>
                <c:pt idx="1112">
                  <c:v>347.49099999999999</c:v>
                </c:pt>
                <c:pt idx="1113">
                  <c:v>333.14599999999996</c:v>
                </c:pt>
                <c:pt idx="1114">
                  <c:v>332.63099999999997</c:v>
                </c:pt>
                <c:pt idx="1115">
                  <c:v>340.22899999999998</c:v>
                </c:pt>
                <c:pt idx="1116">
                  <c:v>338.78699999999998</c:v>
                </c:pt>
                <c:pt idx="1117">
                  <c:v>337.72399999999999</c:v>
                </c:pt>
                <c:pt idx="1118">
                  <c:v>336.96899999999999</c:v>
                </c:pt>
                <c:pt idx="1119">
                  <c:v>344.19799999999998</c:v>
                </c:pt>
                <c:pt idx="1120">
                  <c:v>349.65799999999996</c:v>
                </c:pt>
                <c:pt idx="1121">
                  <c:v>355.49400000000003</c:v>
                </c:pt>
                <c:pt idx="1122">
                  <c:v>357.02799999999996</c:v>
                </c:pt>
                <c:pt idx="1123">
                  <c:v>354.60699999999997</c:v>
                </c:pt>
                <c:pt idx="1124">
                  <c:v>346.858</c:v>
                </c:pt>
                <c:pt idx="1125">
                  <c:v>339.399</c:v>
                </c:pt>
                <c:pt idx="1126">
                  <c:v>332.79700000000003</c:v>
                </c:pt>
                <c:pt idx="1127">
                  <c:v>337.19</c:v>
                </c:pt>
                <c:pt idx="1128">
                  <c:v>337.98200000000003</c:v>
                </c:pt>
                <c:pt idx="1129">
                  <c:v>342.971</c:v>
                </c:pt>
                <c:pt idx="1130">
                  <c:v>342.88799999999998</c:v>
                </c:pt>
                <c:pt idx="1131">
                  <c:v>341.44800000000004</c:v>
                </c:pt>
                <c:pt idx="1132">
                  <c:v>344.46600000000001</c:v>
                </c:pt>
                <c:pt idx="1133">
                  <c:v>339.81900000000002</c:v>
                </c:pt>
                <c:pt idx="1134">
                  <c:v>339.90800000000002</c:v>
                </c:pt>
                <c:pt idx="1135">
                  <c:v>338.60700000000003</c:v>
                </c:pt>
                <c:pt idx="1136">
                  <c:v>339.42399999999998</c:v>
                </c:pt>
                <c:pt idx="1137">
                  <c:v>339.84399999999999</c:v>
                </c:pt>
                <c:pt idx="1138">
                  <c:v>336.44900000000001</c:v>
                </c:pt>
                <c:pt idx="1139">
                  <c:v>336.32900000000001</c:v>
                </c:pt>
                <c:pt idx="1140">
                  <c:v>338.46800000000002</c:v>
                </c:pt>
                <c:pt idx="1141">
                  <c:v>335.90899999999999</c:v>
                </c:pt>
                <c:pt idx="1142">
                  <c:v>335.82499999999999</c:v>
                </c:pt>
                <c:pt idx="1143">
                  <c:v>332.38299999999998</c:v>
                </c:pt>
                <c:pt idx="1144">
                  <c:v>334.13099999999997</c:v>
                </c:pt>
                <c:pt idx="1145">
                  <c:v>328.95799999999997</c:v>
                </c:pt>
                <c:pt idx="1146">
                  <c:v>320.44600000000003</c:v>
                </c:pt>
                <c:pt idx="1147">
                  <c:v>319.61500000000001</c:v>
                </c:pt>
                <c:pt idx="1148">
                  <c:v>316.64599999999996</c:v>
                </c:pt>
                <c:pt idx="1149">
                  <c:v>310.89799999999997</c:v>
                </c:pt>
                <c:pt idx="1150">
                  <c:v>304.20999999999998</c:v>
                </c:pt>
                <c:pt idx="1151">
                  <c:v>299.86599999999999</c:v>
                </c:pt>
                <c:pt idx="1152">
                  <c:v>288.935</c:v>
                </c:pt>
                <c:pt idx="1153">
                  <c:v>283.78999999999996</c:v>
                </c:pt>
                <c:pt idx="1154">
                  <c:v>279.36899999999997</c:v>
                </c:pt>
                <c:pt idx="1155">
                  <c:v>280.06400000000002</c:v>
                </c:pt>
                <c:pt idx="1156">
                  <c:v>283.40900000000005</c:v>
                </c:pt>
                <c:pt idx="1157">
                  <c:v>287.88800000000003</c:v>
                </c:pt>
                <c:pt idx="1158">
                  <c:v>290.30799999999999</c:v>
                </c:pt>
                <c:pt idx="1159">
                  <c:v>295.53199999999998</c:v>
                </c:pt>
                <c:pt idx="1160">
                  <c:v>297.65700000000004</c:v>
                </c:pt>
                <c:pt idx="1161">
                  <c:v>296.69400000000002</c:v>
                </c:pt>
                <c:pt idx="1162">
                  <c:v>294.12299999999999</c:v>
                </c:pt>
                <c:pt idx="1163">
                  <c:v>297.62400000000002</c:v>
                </c:pt>
                <c:pt idx="1164">
                  <c:v>294.46600000000001</c:v>
                </c:pt>
                <c:pt idx="1165">
                  <c:v>292.84699999999998</c:v>
                </c:pt>
                <c:pt idx="1166">
                  <c:v>295.07599999999996</c:v>
                </c:pt>
                <c:pt idx="1167">
                  <c:v>294.666</c:v>
                </c:pt>
                <c:pt idx="1168">
                  <c:v>292.05199999999996</c:v>
                </c:pt>
                <c:pt idx="1169">
                  <c:v>296.75700000000001</c:v>
                </c:pt>
                <c:pt idx="1170">
                  <c:v>289.26</c:v>
                </c:pt>
                <c:pt idx="1171">
                  <c:v>296.10199999999998</c:v>
                </c:pt>
                <c:pt idx="1172">
                  <c:v>290.96099999999996</c:v>
                </c:pt>
                <c:pt idx="1173">
                  <c:v>293.613</c:v>
                </c:pt>
                <c:pt idx="1174">
                  <c:v>294.50700000000001</c:v>
                </c:pt>
                <c:pt idx="1175">
                  <c:v>295.61099999999999</c:v>
                </c:pt>
                <c:pt idx="1176">
                  <c:v>294.13</c:v>
                </c:pt>
                <c:pt idx="1177">
                  <c:v>292.26800000000003</c:v>
                </c:pt>
                <c:pt idx="1178">
                  <c:v>294.20699999999999</c:v>
                </c:pt>
                <c:pt idx="1179">
                  <c:v>295.81400000000002</c:v>
                </c:pt>
                <c:pt idx="1180">
                  <c:v>306.69300000000004</c:v>
                </c:pt>
                <c:pt idx="1181">
                  <c:v>309.17599999999999</c:v>
                </c:pt>
                <c:pt idx="1182">
                  <c:v>313.94099999999997</c:v>
                </c:pt>
                <c:pt idx="1183">
                  <c:v>323.31200000000001</c:v>
                </c:pt>
                <c:pt idx="1184">
                  <c:v>326.411</c:v>
                </c:pt>
                <c:pt idx="1185">
                  <c:v>324.21300000000002</c:v>
                </c:pt>
                <c:pt idx="1186">
                  <c:v>324.83800000000002</c:v>
                </c:pt>
                <c:pt idx="1187">
                  <c:v>318.22400000000005</c:v>
                </c:pt>
                <c:pt idx="1188">
                  <c:v>318.10700000000003</c:v>
                </c:pt>
                <c:pt idx="1189">
                  <c:v>313.14600000000002</c:v>
                </c:pt>
                <c:pt idx="1190">
                  <c:v>302.13299999999998</c:v>
                </c:pt>
                <c:pt idx="1191">
                  <c:v>297.46000000000004</c:v>
                </c:pt>
                <c:pt idx="1192">
                  <c:v>291.05200000000002</c:v>
                </c:pt>
                <c:pt idx="1193">
                  <c:v>290.35899999999998</c:v>
                </c:pt>
                <c:pt idx="1194">
                  <c:v>287.74700000000001</c:v>
                </c:pt>
                <c:pt idx="1195">
                  <c:v>287.76099999999997</c:v>
                </c:pt>
                <c:pt idx="1196">
                  <c:v>284.46600000000001</c:v>
                </c:pt>
                <c:pt idx="1197">
                  <c:v>284.15600000000001</c:v>
                </c:pt>
                <c:pt idx="1198">
                  <c:v>279.62900000000002</c:v>
                </c:pt>
                <c:pt idx="1199">
                  <c:v>281.05500000000001</c:v>
                </c:pt>
                <c:pt idx="1200">
                  <c:v>277.80799999999999</c:v>
                </c:pt>
                <c:pt idx="1201">
                  <c:v>275.94900000000001</c:v>
                </c:pt>
                <c:pt idx="1202">
                  <c:v>271.85199999999998</c:v>
                </c:pt>
                <c:pt idx="1203">
                  <c:v>271.82499999999999</c:v>
                </c:pt>
                <c:pt idx="1204">
                  <c:v>278.25299999999999</c:v>
                </c:pt>
                <c:pt idx="1205">
                  <c:v>280.56399999999996</c:v>
                </c:pt>
                <c:pt idx="1206">
                  <c:v>283.13499999999999</c:v>
                </c:pt>
                <c:pt idx="1207">
                  <c:v>277.21600000000001</c:v>
                </c:pt>
                <c:pt idx="1208">
                  <c:v>275.41300000000001</c:v>
                </c:pt>
                <c:pt idx="1209">
                  <c:v>275.14</c:v>
                </c:pt>
                <c:pt idx="1210">
                  <c:v>269.36900000000003</c:v>
                </c:pt>
                <c:pt idx="1211">
                  <c:v>272.97300000000001</c:v>
                </c:pt>
                <c:pt idx="1212">
                  <c:v>258.916</c:v>
                </c:pt>
                <c:pt idx="1213">
                  <c:v>258.83500000000004</c:v>
                </c:pt>
                <c:pt idx="1214">
                  <c:v>237.94499999999999</c:v>
                </c:pt>
                <c:pt idx="1215">
                  <c:v>242.21200000000002</c:v>
                </c:pt>
                <c:pt idx="1216">
                  <c:v>255.44500000000002</c:v>
                </c:pt>
                <c:pt idx="1217">
                  <c:v>255.417</c:v>
                </c:pt>
                <c:pt idx="1218">
                  <c:v>254.75200000000001</c:v>
                </c:pt>
                <c:pt idx="1219">
                  <c:v>268.61599999999999</c:v>
                </c:pt>
                <c:pt idx="1220">
                  <c:v>275.94099999999997</c:v>
                </c:pt>
                <c:pt idx="1221">
                  <c:v>282.17200000000003</c:v>
                </c:pt>
                <c:pt idx="1222">
                  <c:v>262.86799999999999</c:v>
                </c:pt>
                <c:pt idx="1223">
                  <c:v>262.90100000000001</c:v>
                </c:pt>
                <c:pt idx="1224">
                  <c:v>259.29199999999997</c:v>
                </c:pt>
                <c:pt idx="1225">
                  <c:v>260.32</c:v>
                </c:pt>
                <c:pt idx="1226">
                  <c:v>263.51900000000001</c:v>
                </c:pt>
                <c:pt idx="1227">
                  <c:v>262.66500000000002</c:v>
                </c:pt>
                <c:pt idx="1228">
                  <c:v>251.04300000000001</c:v>
                </c:pt>
                <c:pt idx="1229">
                  <c:v>248.792</c:v>
                </c:pt>
                <c:pt idx="1230">
                  <c:v>249.119</c:v>
                </c:pt>
                <c:pt idx="1231">
                  <c:v>238.47900000000001</c:v>
                </c:pt>
                <c:pt idx="1232">
                  <c:v>242.81</c:v>
                </c:pt>
                <c:pt idx="1233">
                  <c:v>244.43700000000001</c:v>
                </c:pt>
                <c:pt idx="1234">
                  <c:v>242.35400000000001</c:v>
                </c:pt>
                <c:pt idx="1235">
                  <c:v>244.32900000000001</c:v>
                </c:pt>
                <c:pt idx="1236">
                  <c:v>246.08199999999999</c:v>
                </c:pt>
                <c:pt idx="1237">
                  <c:v>244.01199999999997</c:v>
                </c:pt>
                <c:pt idx="1238">
                  <c:v>237.791</c:v>
                </c:pt>
                <c:pt idx="1239">
                  <c:v>237.59899999999999</c:v>
                </c:pt>
                <c:pt idx="1240">
                  <c:v>234.08</c:v>
                </c:pt>
                <c:pt idx="1241">
                  <c:v>231.75500000000002</c:v>
                </c:pt>
                <c:pt idx="1242">
                  <c:v>234.083</c:v>
                </c:pt>
                <c:pt idx="1243">
                  <c:v>235.82299999999998</c:v>
                </c:pt>
                <c:pt idx="1244">
                  <c:v>231.90300000000002</c:v>
                </c:pt>
                <c:pt idx="1245">
                  <c:v>234.84699999999998</c:v>
                </c:pt>
                <c:pt idx="1246">
                  <c:v>233.89500000000001</c:v>
                </c:pt>
                <c:pt idx="1247">
                  <c:v>232.20599999999999</c:v>
                </c:pt>
                <c:pt idx="1248">
                  <c:v>231.51500000000001</c:v>
                </c:pt>
                <c:pt idx="1249">
                  <c:v>232.49399999999997</c:v>
                </c:pt>
                <c:pt idx="1250">
                  <c:v>233.41</c:v>
                </c:pt>
                <c:pt idx="1251">
                  <c:v>229.78200000000001</c:v>
                </c:pt>
                <c:pt idx="1252">
                  <c:v>227.30700000000002</c:v>
                </c:pt>
                <c:pt idx="1253">
                  <c:v>225.02599999999998</c:v>
                </c:pt>
                <c:pt idx="1254">
                  <c:v>221.78200000000001</c:v>
                </c:pt>
                <c:pt idx="1255">
                  <c:v>224.107</c:v>
                </c:pt>
                <c:pt idx="1256">
                  <c:v>231.95000000000002</c:v>
                </c:pt>
                <c:pt idx="1257">
                  <c:v>239.102</c:v>
                </c:pt>
                <c:pt idx="1258">
                  <c:v>237.67200000000003</c:v>
                </c:pt>
                <c:pt idx="1259">
                  <c:v>242.298</c:v>
                </c:pt>
                <c:pt idx="1260">
                  <c:v>242.23599999999999</c:v>
                </c:pt>
                <c:pt idx="1261">
                  <c:v>243.21199999999999</c:v>
                </c:pt>
                <c:pt idx="1262">
                  <c:v>243.16900000000001</c:v>
                </c:pt>
                <c:pt idx="1263">
                  <c:v>246.11</c:v>
                </c:pt>
                <c:pt idx="1264">
                  <c:v>251.52800000000002</c:v>
                </c:pt>
                <c:pt idx="1265">
                  <c:v>256.84100000000001</c:v>
                </c:pt>
                <c:pt idx="1266">
                  <c:v>261.55200000000002</c:v>
                </c:pt>
                <c:pt idx="1267">
                  <c:v>259.86500000000001</c:v>
                </c:pt>
                <c:pt idx="1268">
                  <c:v>255.721</c:v>
                </c:pt>
                <c:pt idx="1269">
                  <c:v>255.727</c:v>
                </c:pt>
                <c:pt idx="1270">
                  <c:v>247.83599999999998</c:v>
                </c:pt>
                <c:pt idx="1271">
                  <c:v>243.71700000000001</c:v>
                </c:pt>
                <c:pt idx="1272">
                  <c:v>237.29499999999999</c:v>
                </c:pt>
                <c:pt idx="1273">
                  <c:v>233.41</c:v>
                </c:pt>
                <c:pt idx="1274">
                  <c:v>236.35799999999998</c:v>
                </c:pt>
                <c:pt idx="1275">
                  <c:v>236.56299999999999</c:v>
                </c:pt>
                <c:pt idx="1276">
                  <c:v>239.732</c:v>
                </c:pt>
                <c:pt idx="1277">
                  <c:v>238.02500000000003</c:v>
                </c:pt>
                <c:pt idx="1278">
                  <c:v>235.46600000000001</c:v>
                </c:pt>
                <c:pt idx="1279">
                  <c:v>235.25299999999999</c:v>
                </c:pt>
                <c:pt idx="1280">
                  <c:v>240.834</c:v>
                </c:pt>
                <c:pt idx="1281">
                  <c:v>241.69</c:v>
                </c:pt>
                <c:pt idx="1282">
                  <c:v>238.66200000000001</c:v>
                </c:pt>
                <c:pt idx="1283">
                  <c:v>241.196</c:v>
                </c:pt>
                <c:pt idx="1284">
                  <c:v>237.08200000000002</c:v>
                </c:pt>
                <c:pt idx="1285">
                  <c:v>229.37400000000002</c:v>
                </c:pt>
                <c:pt idx="1286">
                  <c:v>224.119</c:v>
                </c:pt>
                <c:pt idx="1287">
                  <c:v>233.053</c:v>
                </c:pt>
                <c:pt idx="1288">
                  <c:v>231.37699999999998</c:v>
                </c:pt>
                <c:pt idx="1289">
                  <c:v>233.81200000000001</c:v>
                </c:pt>
                <c:pt idx="1290">
                  <c:v>234.279</c:v>
                </c:pt>
                <c:pt idx="1291">
                  <c:v>230.417</c:v>
                </c:pt>
                <c:pt idx="1292">
                  <c:v>238.232</c:v>
                </c:pt>
                <c:pt idx="1293">
                  <c:v>244.53200000000001</c:v>
                </c:pt>
                <c:pt idx="1294">
                  <c:v>249.15799999999999</c:v>
                </c:pt>
                <c:pt idx="1295">
                  <c:v>249.47400000000002</c:v>
                </c:pt>
                <c:pt idx="1296">
                  <c:v>242.70000000000002</c:v>
                </c:pt>
                <c:pt idx="1297">
                  <c:v>241.595</c:v>
                </c:pt>
                <c:pt idx="1298">
                  <c:v>246.274</c:v>
                </c:pt>
                <c:pt idx="1299">
                  <c:v>243.82799999999997</c:v>
                </c:pt>
                <c:pt idx="1300">
                  <c:v>243.38400000000001</c:v>
                </c:pt>
                <c:pt idx="1301">
                  <c:v>239.38199999999998</c:v>
                </c:pt>
                <c:pt idx="1302">
                  <c:v>237.26500000000001</c:v>
                </c:pt>
                <c:pt idx="1303">
                  <c:v>238.15800000000002</c:v>
                </c:pt>
                <c:pt idx="1304">
                  <c:v>239.25700000000001</c:v>
                </c:pt>
                <c:pt idx="1305">
                  <c:v>243.27700000000002</c:v>
                </c:pt>
                <c:pt idx="1306">
                  <c:v>244.76599999999999</c:v>
                </c:pt>
                <c:pt idx="1307">
                  <c:v>241.73499999999999</c:v>
                </c:pt>
                <c:pt idx="1308">
                  <c:v>238.76300000000001</c:v>
                </c:pt>
                <c:pt idx="1309">
                  <c:v>242.99799999999999</c:v>
                </c:pt>
                <c:pt idx="1310">
                  <c:v>237.08999999999997</c:v>
                </c:pt>
                <c:pt idx="1311">
                  <c:v>238.07399999999998</c:v>
                </c:pt>
                <c:pt idx="1312">
                  <c:v>232.64900000000003</c:v>
                </c:pt>
                <c:pt idx="1313">
                  <c:v>234.274</c:v>
                </c:pt>
                <c:pt idx="1314">
                  <c:v>230.92899999999997</c:v>
                </c:pt>
                <c:pt idx="1315">
                  <c:v>229.053</c:v>
                </c:pt>
                <c:pt idx="1316">
                  <c:v>225.49800000000002</c:v>
                </c:pt>
                <c:pt idx="1317">
                  <c:v>221.59100000000001</c:v>
                </c:pt>
                <c:pt idx="1318">
                  <c:v>223.72800000000001</c:v>
                </c:pt>
                <c:pt idx="1319">
                  <c:v>220.202</c:v>
                </c:pt>
                <c:pt idx="1320">
                  <c:v>223.41799999999998</c:v>
                </c:pt>
                <c:pt idx="1321">
                  <c:v>220.33</c:v>
                </c:pt>
                <c:pt idx="1322">
                  <c:v>214.28400000000002</c:v>
                </c:pt>
                <c:pt idx="1323">
                  <c:v>220.52200000000002</c:v>
                </c:pt>
                <c:pt idx="1324">
                  <c:v>219.42</c:v>
                </c:pt>
                <c:pt idx="1325">
                  <c:v>219.93100000000001</c:v>
                </c:pt>
                <c:pt idx="1326">
                  <c:v>218.09699999999998</c:v>
                </c:pt>
                <c:pt idx="1327">
                  <c:v>218.84199999999998</c:v>
                </c:pt>
                <c:pt idx="1328">
                  <c:v>217.99</c:v>
                </c:pt>
                <c:pt idx="1329">
                  <c:v>220.15099999999998</c:v>
                </c:pt>
                <c:pt idx="1330">
                  <c:v>219.12600000000003</c:v>
                </c:pt>
                <c:pt idx="1331">
                  <c:v>219.80499999999998</c:v>
                </c:pt>
                <c:pt idx="1332">
                  <c:v>221.35400000000001</c:v>
                </c:pt>
                <c:pt idx="1333">
                  <c:v>223.30100000000002</c:v>
                </c:pt>
                <c:pt idx="1334">
                  <c:v>226.29800000000003</c:v>
                </c:pt>
                <c:pt idx="1335">
                  <c:v>227.72299999999998</c:v>
                </c:pt>
                <c:pt idx="1336">
                  <c:v>224.04700000000003</c:v>
                </c:pt>
                <c:pt idx="1337">
                  <c:v>220.40700000000001</c:v>
                </c:pt>
                <c:pt idx="1338">
                  <c:v>224.04300000000001</c:v>
                </c:pt>
                <c:pt idx="1339">
                  <c:v>223.53</c:v>
                </c:pt>
                <c:pt idx="1340">
                  <c:v>224.35900000000001</c:v>
                </c:pt>
                <c:pt idx="1341">
                  <c:v>226.34899999999999</c:v>
                </c:pt>
                <c:pt idx="1342">
                  <c:v>224.92000000000002</c:v>
                </c:pt>
                <c:pt idx="1343">
                  <c:v>223.428</c:v>
                </c:pt>
                <c:pt idx="1344">
                  <c:v>224.22200000000001</c:v>
                </c:pt>
                <c:pt idx="1345">
                  <c:v>228.35399999999998</c:v>
                </c:pt>
                <c:pt idx="1346">
                  <c:v>226.63500000000002</c:v>
                </c:pt>
                <c:pt idx="1347">
                  <c:v>229.44300000000001</c:v>
                </c:pt>
                <c:pt idx="1348">
                  <c:v>230.81100000000001</c:v>
                </c:pt>
                <c:pt idx="1349">
                  <c:v>228.78799999999998</c:v>
                </c:pt>
                <c:pt idx="1350">
                  <c:v>225.22099999999998</c:v>
                </c:pt>
                <c:pt idx="1351">
                  <c:v>223.20000000000002</c:v>
                </c:pt>
                <c:pt idx="1352">
                  <c:v>220.006</c:v>
                </c:pt>
                <c:pt idx="1353">
                  <c:v>220.375</c:v>
                </c:pt>
                <c:pt idx="1354">
                  <c:v>219.68800000000002</c:v>
                </c:pt>
                <c:pt idx="1355">
                  <c:v>224.57400000000001</c:v>
                </c:pt>
                <c:pt idx="1356">
                  <c:v>224.16900000000001</c:v>
                </c:pt>
                <c:pt idx="1357">
                  <c:v>225.672</c:v>
                </c:pt>
                <c:pt idx="1358">
                  <c:v>227.26899999999998</c:v>
                </c:pt>
                <c:pt idx="1359">
                  <c:v>229.71799999999999</c:v>
                </c:pt>
                <c:pt idx="1360">
                  <c:v>229.209</c:v>
                </c:pt>
                <c:pt idx="1361">
                  <c:v>228.32599999999999</c:v>
                </c:pt>
                <c:pt idx="1362">
                  <c:v>229.12699999999998</c:v>
                </c:pt>
                <c:pt idx="1363">
                  <c:v>224.72900000000001</c:v>
                </c:pt>
                <c:pt idx="1364">
                  <c:v>228.12800000000001</c:v>
                </c:pt>
                <c:pt idx="1365">
                  <c:v>235.20599999999999</c:v>
                </c:pt>
                <c:pt idx="1366">
                  <c:v>229.93800000000002</c:v>
                </c:pt>
                <c:pt idx="1367">
                  <c:v>230.58800000000002</c:v>
                </c:pt>
                <c:pt idx="1368">
                  <c:v>229.57200000000003</c:v>
                </c:pt>
                <c:pt idx="1369">
                  <c:v>228.042</c:v>
                </c:pt>
                <c:pt idx="1370">
                  <c:v>224.29499999999999</c:v>
                </c:pt>
                <c:pt idx="1371">
                  <c:v>229.85500000000002</c:v>
                </c:pt>
                <c:pt idx="1372">
                  <c:v>229.21</c:v>
                </c:pt>
                <c:pt idx="1373">
                  <c:v>231.14</c:v>
                </c:pt>
                <c:pt idx="1374">
                  <c:v>228.791</c:v>
                </c:pt>
                <c:pt idx="1375">
                  <c:v>232.28100000000001</c:v>
                </c:pt>
                <c:pt idx="1376">
                  <c:v>236.863</c:v>
                </c:pt>
                <c:pt idx="1377">
                  <c:v>240.17099999999999</c:v>
                </c:pt>
                <c:pt idx="1378">
                  <c:v>244.71799999999999</c:v>
                </c:pt>
                <c:pt idx="1379">
                  <c:v>238.05399999999997</c:v>
                </c:pt>
                <c:pt idx="1380">
                  <c:v>236.00799999999998</c:v>
                </c:pt>
                <c:pt idx="1381">
                  <c:v>233.65700000000001</c:v>
                </c:pt>
                <c:pt idx="1382">
                  <c:v>239.893</c:v>
                </c:pt>
                <c:pt idx="1383">
                  <c:v>245.785</c:v>
                </c:pt>
                <c:pt idx="1384">
                  <c:v>243.97099999999998</c:v>
                </c:pt>
                <c:pt idx="1385" formatCode="_(* #,##0_);_(* \(#,##0\);_(* &quot;-&quot;??_);_(@_)">
                  <c:v>256</c:v>
                </c:pt>
                <c:pt idx="1386" formatCode="_(* #,##0_);_(* \(#,##0\);_(* &quot;-&quot;??_);_(@_)">
                  <c:v>254.251</c:v>
                </c:pt>
                <c:pt idx="1387" formatCode="_(* #,##0_);_(* \(#,##0\);_(* &quot;-&quot;??_);_(@_)">
                  <c:v>251.36099999999999</c:v>
                </c:pt>
                <c:pt idx="1388" formatCode="_(* #,##0_);_(* \(#,##0\);_(* &quot;-&quot;??_);_(@_)">
                  <c:v>254.72199999999998</c:v>
                </c:pt>
                <c:pt idx="1389" formatCode="_(* #,##0_);_(* \(#,##0\);_(* &quot;-&quot;??_);_(@_)">
                  <c:v>252.86099999999999</c:v>
                </c:pt>
                <c:pt idx="1390" formatCode="_(* #,##0_);_(* \(#,##0\);_(* &quot;-&quot;??_);_(@_)">
                  <c:v>254.45700000000002</c:v>
                </c:pt>
                <c:pt idx="1391" formatCode="_(* #,##0_);_(* \(#,##0\);_(* &quot;-&quot;??_);_(@_)">
                  <c:v>259.18599999999998</c:v>
                </c:pt>
                <c:pt idx="1392" formatCode="_(* #,##0_);_(* \(#,##0\);_(* &quot;-&quot;??_);_(@_)">
                  <c:v>258.18299999999999</c:v>
                </c:pt>
                <c:pt idx="1393" formatCode="_(* #,##0_);_(* \(#,##0\);_(* &quot;-&quot;??_);_(@_)">
                  <c:v>260.92900000000003</c:v>
                </c:pt>
                <c:pt idx="1394" formatCode="_(* #,##0_);_(* \(#,##0\);_(* &quot;-&quot;??_);_(@_)">
                  <c:v>263.06900000000002</c:v>
                </c:pt>
                <c:pt idx="1395" formatCode="_(* #,##0_);_(* \(#,##0\);_(* &quot;-&quot;??_);_(@_)">
                  <c:v>266.61599999999999</c:v>
                </c:pt>
                <c:pt idx="1396" formatCode="_(* #,##0_);_(* \(#,##0\);_(* &quot;-&quot;??_);_(@_)">
                  <c:v>264.565</c:v>
                </c:pt>
                <c:pt idx="1397" formatCode="_(* #,##0_);_(* \(#,##0\);_(* &quot;-&quot;??_);_(@_)">
                  <c:v>265.49700000000001</c:v>
                </c:pt>
                <c:pt idx="1398" formatCode="_(* #,##0_);_(* \(#,##0\);_(* &quot;-&quot;??_);_(@_)">
                  <c:v>260.63499999999999</c:v>
                </c:pt>
                <c:pt idx="1399" formatCode="_(* #,##0_);_(* \(#,##0\);_(* &quot;-&quot;??_);_(@_)">
                  <c:v>257.01600000000002</c:v>
                </c:pt>
                <c:pt idx="1400" formatCode="_(* #,##0_);_(* \(#,##0\);_(* &quot;-&quot;??_);_(@_)">
                  <c:v>254.89000000000001</c:v>
                </c:pt>
                <c:pt idx="1401" formatCode="_(* #,##0_);_(* \(#,##0\);_(* &quot;-&quot;??_);_(@_)">
                  <c:v>256.58300000000003</c:v>
                </c:pt>
                <c:pt idx="1402" formatCode="_(* #,##0_);_(* \(#,##0\);_(* &quot;-&quot;??_);_(@_)">
                  <c:v>256.39599999999996</c:v>
                </c:pt>
              </c:numCache>
            </c:numRef>
          </c:val>
          <c:smooth val="0"/>
          <c:extLst>
            <c:ext xmlns:c16="http://schemas.microsoft.com/office/drawing/2014/chart" uri="{C3380CC4-5D6E-409C-BE32-E72D297353CC}">
              <c16:uniqueId val="{00000001-B4A7-48C0-93CD-9A595A0DCC65}"/>
            </c:ext>
          </c:extLst>
        </c:ser>
        <c:dLbls>
          <c:showLegendKey val="0"/>
          <c:showVal val="0"/>
          <c:showCatName val="0"/>
          <c:showSerName val="0"/>
          <c:showPercent val="0"/>
          <c:showBubbleSize val="0"/>
        </c:dLbls>
        <c:smooth val="0"/>
        <c:axId val="1995529952"/>
        <c:axId val="1995530368"/>
      </c:lineChart>
      <c:catAx>
        <c:axId val="199552995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s-GT"/>
          </a:p>
        </c:txPr>
        <c:crossAx val="1995530368"/>
        <c:crosses val="autoZero"/>
        <c:auto val="1"/>
        <c:lblAlgn val="ctr"/>
        <c:lblOffset val="100"/>
        <c:tickLblSkip val="21"/>
        <c:noMultiLvlLbl val="1"/>
      </c:catAx>
      <c:valAx>
        <c:axId val="1995530368"/>
        <c:scaling>
          <c:orientation val="minMax"/>
          <c:min val="1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s-GT"/>
          </a:p>
        </c:txPr>
        <c:crossAx val="19955299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s-GT"/>
    </a:p>
  </c:txPr>
  <c:externalData r:id="rId3">
    <c:autoUpdate val="0"/>
  </c:externalData>
  <c:userShapes r:id="rId4"/>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MX"/>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dirty="0"/>
              <a:t>Tasa</a:t>
            </a:r>
            <a:r>
              <a:rPr lang="en-US" b="1" baseline="0" dirty="0"/>
              <a:t> de </a:t>
            </a:r>
            <a:r>
              <a:rPr lang="en-US" b="1" dirty="0" err="1"/>
              <a:t>Vacunación</a:t>
            </a:r>
            <a:endParaRPr lang="en-US" b="1" dirty="0"/>
          </a:p>
          <a:p>
            <a:pPr>
              <a:defRPr sz="1400" b="0" i="0" u="none" strike="noStrike" kern="1200" spc="0" baseline="0">
                <a:solidFill>
                  <a:schemeClr val="tx1">
                    <a:lumMod val="65000"/>
                    <a:lumOff val="35000"/>
                  </a:schemeClr>
                </a:solidFill>
                <a:latin typeface="+mn-lt"/>
                <a:ea typeface="+mn-ea"/>
                <a:cs typeface="+mn-cs"/>
              </a:defRPr>
            </a:pPr>
            <a:r>
              <a:rPr lang="en-US" b="1" dirty="0"/>
              <a:t>(personas </a:t>
            </a:r>
            <a:r>
              <a:rPr lang="en-US" b="1" dirty="0" err="1"/>
              <a:t>vacunadas</a:t>
            </a:r>
            <a:r>
              <a:rPr lang="en-US" b="1" dirty="0"/>
              <a:t> por </a:t>
            </a:r>
            <a:r>
              <a:rPr lang="en-US" b="1" dirty="0" err="1"/>
              <a:t>cada</a:t>
            </a:r>
            <a:r>
              <a:rPr lang="en-US" b="1" dirty="0"/>
              <a:t> </a:t>
            </a:r>
            <a:r>
              <a:rPr lang="en-US" b="1" dirty="0" err="1"/>
              <a:t>cien</a:t>
            </a:r>
            <a:r>
              <a:rPr lang="en-US" b="1" dirty="0"/>
              <a:t> </a:t>
            </a:r>
            <a:r>
              <a:rPr lang="en-US" b="1" dirty="0" err="1"/>
              <a:t>habitantes</a:t>
            </a:r>
            <a:r>
              <a:rPr lang="en-US" b="1" dirty="0"/>
              <a:t>)</a:t>
            </a:r>
          </a:p>
        </c:rich>
      </c:tx>
      <c:overlay val="0"/>
      <c:spPr>
        <a:noFill/>
        <a:ln>
          <a:noFill/>
        </a:ln>
        <a:effectLst/>
      </c:spPr>
    </c:title>
    <c:autoTitleDeleted val="0"/>
    <c:plotArea>
      <c:layout>
        <c:manualLayout>
          <c:layoutTarget val="inner"/>
          <c:xMode val="edge"/>
          <c:yMode val="edge"/>
          <c:x val="5.7428328760982569E-2"/>
          <c:y val="0.23454545454545456"/>
          <c:w val="0.91389783905626354"/>
          <c:h val="0.39934280942154948"/>
        </c:manualLayout>
      </c:layout>
      <c:barChart>
        <c:barDir val="col"/>
        <c:grouping val="clustered"/>
        <c:varyColors val="0"/>
        <c:ser>
          <c:idx val="0"/>
          <c:order val="0"/>
          <c:tx>
            <c:strRef>
              <c:f>Indicadores!$D$3</c:f>
              <c:strCache>
                <c:ptCount val="1"/>
                <c:pt idx="0">
                  <c:v>Tasa de Vacunación</c:v>
                </c:pt>
              </c:strCache>
            </c:strRef>
          </c:tx>
          <c:spPr>
            <a:solidFill>
              <a:srgbClr val="0385B3"/>
            </a:solidFill>
            <a:ln>
              <a:noFill/>
            </a:ln>
            <a:effectLst/>
          </c:spPr>
          <c:invertIfNegative val="0"/>
          <c:dPt>
            <c:idx val="3"/>
            <c:invertIfNegative val="0"/>
            <c:bubble3D val="0"/>
            <c:spPr>
              <a:solidFill>
                <a:srgbClr val="0B3963"/>
              </a:solidFill>
              <a:ln>
                <a:noFill/>
              </a:ln>
              <a:effectLst/>
            </c:spPr>
            <c:extLst>
              <c:ext xmlns:c16="http://schemas.microsoft.com/office/drawing/2014/chart" uri="{C3380CC4-5D6E-409C-BE32-E72D297353CC}">
                <c16:uniqueId val="{00000001-DDE6-4086-AA1A-BDD65C261B93}"/>
              </c:ext>
            </c:extLst>
          </c:dPt>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0385B3"/>
                    </a:solidFill>
                    <a:latin typeface="+mn-lt"/>
                    <a:ea typeface="+mn-ea"/>
                    <a:cs typeface="+mn-cs"/>
                  </a:defRPr>
                </a:pPr>
                <a:endParaRPr lang="es-G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dicadores!$B$5:$B$13</c:f>
              <c:strCache>
                <c:ptCount val="9"/>
                <c:pt idx="0">
                  <c:v>EL MUNDO</c:v>
                </c:pt>
                <c:pt idx="1">
                  <c:v>EE.UU.</c:v>
                </c:pt>
                <c:pt idx="2">
                  <c:v>MEXICO</c:v>
                </c:pt>
                <c:pt idx="3">
                  <c:v>GUATEMALA</c:v>
                </c:pt>
                <c:pt idx="4">
                  <c:v>COSTA RICA</c:v>
                </c:pt>
                <c:pt idx="5">
                  <c:v>EL SALVADOR</c:v>
                </c:pt>
                <c:pt idx="6">
                  <c:v>HONDURAS</c:v>
                </c:pt>
                <c:pt idx="7">
                  <c:v>REPUBLICA DOMINICANA</c:v>
                </c:pt>
                <c:pt idx="8">
                  <c:v>PANAMA</c:v>
                </c:pt>
              </c:strCache>
            </c:strRef>
          </c:cat>
          <c:val>
            <c:numRef>
              <c:f>Indicadores!$D$5:$D$13</c:f>
              <c:numCache>
                <c:formatCode>#,##0.0</c:formatCode>
                <c:ptCount val="9"/>
                <c:pt idx="0">
                  <c:v>31.96</c:v>
                </c:pt>
                <c:pt idx="1">
                  <c:v>59.6</c:v>
                </c:pt>
                <c:pt idx="2">
                  <c:v>42.9</c:v>
                </c:pt>
                <c:pt idx="3">
                  <c:v>15.68</c:v>
                </c:pt>
                <c:pt idx="4">
                  <c:v>57.88</c:v>
                </c:pt>
                <c:pt idx="5">
                  <c:v>50.97</c:v>
                </c:pt>
                <c:pt idx="6">
                  <c:v>23.49</c:v>
                </c:pt>
                <c:pt idx="7">
                  <c:v>52.4</c:v>
                </c:pt>
                <c:pt idx="8">
                  <c:v>60.73</c:v>
                </c:pt>
              </c:numCache>
            </c:numRef>
          </c:val>
          <c:extLst>
            <c:ext xmlns:c16="http://schemas.microsoft.com/office/drawing/2014/chart" uri="{C3380CC4-5D6E-409C-BE32-E72D297353CC}">
              <c16:uniqueId val="{00000002-DDE6-4086-AA1A-BDD65C261B93}"/>
            </c:ext>
          </c:extLst>
        </c:ser>
        <c:dLbls>
          <c:showLegendKey val="0"/>
          <c:showVal val="0"/>
          <c:showCatName val="0"/>
          <c:showSerName val="0"/>
          <c:showPercent val="0"/>
          <c:showBubbleSize val="0"/>
        </c:dLbls>
        <c:gapWidth val="70"/>
        <c:overlap val="-27"/>
        <c:axId val="206243712"/>
        <c:axId val="206245248"/>
      </c:barChart>
      <c:catAx>
        <c:axId val="206243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1" i="0" u="none" strike="noStrike" kern="1200" baseline="0">
                <a:solidFill>
                  <a:schemeClr val="tx1">
                    <a:lumMod val="65000"/>
                    <a:lumOff val="35000"/>
                  </a:schemeClr>
                </a:solidFill>
                <a:latin typeface="+mn-lt"/>
                <a:ea typeface="+mn-ea"/>
                <a:cs typeface="+mn-cs"/>
              </a:defRPr>
            </a:pPr>
            <a:endParaRPr lang="es-GT"/>
          </a:p>
        </c:txPr>
        <c:crossAx val="206245248"/>
        <c:crosses val="autoZero"/>
        <c:auto val="1"/>
        <c:lblAlgn val="ctr"/>
        <c:lblOffset val="100"/>
        <c:noMultiLvlLbl val="0"/>
      </c:catAx>
      <c:valAx>
        <c:axId val="2062452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s-GT"/>
          </a:p>
        </c:txPr>
        <c:crossAx val="206243712"/>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es-GT"/>
    </a:p>
  </c:txPr>
  <c:externalData r:id="rId1">
    <c:autoUpdate val="0"/>
  </c:externalData>
  <c:userShapes r:id="rId2"/>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MX"/>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indent="0" algn="ctr" defTabSz="914400" rtl="0" eaLnBrk="1" fontAlgn="auto" latinLnBrk="0" hangingPunct="1">
              <a:lnSpc>
                <a:spcPct val="100000"/>
              </a:lnSpc>
              <a:spcBef>
                <a:spcPts val="0"/>
              </a:spcBef>
              <a:spcAft>
                <a:spcPts val="0"/>
              </a:spcAft>
              <a:buClrTx/>
              <a:buSzTx/>
              <a:buFontTx/>
              <a:buNone/>
              <a:tabLst/>
              <a:defRPr sz="1400" b="1" i="0" u="none" strike="noStrike" kern="1200" cap="none" spc="0" normalizeH="0" baseline="0">
                <a:solidFill>
                  <a:sysClr val="windowText" lastClr="000000">
                    <a:lumMod val="50000"/>
                    <a:lumOff val="50000"/>
                  </a:sysClr>
                </a:solidFill>
                <a:latin typeface="+mj-lt"/>
                <a:ea typeface="+mj-ea"/>
                <a:cs typeface="+mj-cs"/>
              </a:defRPr>
            </a:pPr>
            <a:r>
              <a:rPr lang="es-GT" sz="1300" dirty="0">
                <a:solidFill>
                  <a:srgbClr val="0B3963"/>
                </a:solidFill>
              </a:rPr>
              <a:t>Guatemala:</a:t>
            </a:r>
            <a:r>
              <a:rPr lang="es-GT" sz="1300" baseline="0" dirty="0">
                <a:solidFill>
                  <a:srgbClr val="0B3963"/>
                </a:solidFill>
              </a:rPr>
              <a:t> </a:t>
            </a:r>
            <a:r>
              <a:rPr lang="es-GT" sz="1300" dirty="0">
                <a:solidFill>
                  <a:srgbClr val="0B3963"/>
                </a:solidFill>
              </a:rPr>
              <a:t>La Evolución sobre los Casos Nuevos </a:t>
            </a:r>
            <a:r>
              <a:rPr lang="es-GT" sz="1300" baseline="0" dirty="0">
                <a:solidFill>
                  <a:srgbClr val="0B3963"/>
                </a:solidFill>
              </a:rPr>
              <a:t> </a:t>
            </a:r>
            <a:r>
              <a:rPr lang="es-GT" sz="1300" dirty="0">
                <a:solidFill>
                  <a:srgbClr val="0B3963"/>
                </a:solidFill>
              </a:rPr>
              <a:t>por Millón (Promedio</a:t>
            </a:r>
            <a:r>
              <a:rPr lang="es-GT" sz="1300" baseline="0" dirty="0">
                <a:solidFill>
                  <a:srgbClr val="0B3963"/>
                </a:solidFill>
              </a:rPr>
              <a:t> Móvil de 7 días)</a:t>
            </a:r>
            <a:endParaRPr lang="es-GT" sz="1300" dirty="0">
              <a:solidFill>
                <a:srgbClr val="0B3963"/>
              </a:solidFill>
            </a:endParaRPr>
          </a:p>
        </c:rich>
      </c:tx>
      <c:layout>
        <c:manualLayout>
          <c:xMode val="edge"/>
          <c:yMode val="edge"/>
          <c:x val="0.13026621104118669"/>
          <c:y val="0"/>
        </c:manualLayout>
      </c:layout>
      <c:overlay val="0"/>
      <c:spPr>
        <a:noFill/>
        <a:ln>
          <a:noFill/>
        </a:ln>
        <a:effectLst/>
      </c:spPr>
    </c:title>
    <c:autoTitleDeleted val="0"/>
    <c:plotArea>
      <c:layout>
        <c:manualLayout>
          <c:layoutTarget val="inner"/>
          <c:xMode val="edge"/>
          <c:yMode val="edge"/>
          <c:x val="8.4435682398782033E-2"/>
          <c:y val="0.22535608996509524"/>
          <c:w val="0.87037390653626812"/>
          <c:h val="0.61070308194312017"/>
        </c:manualLayout>
      </c:layout>
      <c:barChart>
        <c:barDir val="col"/>
        <c:grouping val="clustered"/>
        <c:varyColors val="0"/>
        <c:ser>
          <c:idx val="7"/>
          <c:order val="7"/>
          <c:spPr>
            <a:solidFill>
              <a:schemeClr val="bg1">
                <a:lumMod val="95000"/>
                <a:alpha val="50000"/>
              </a:schemeClr>
            </a:solidFill>
            <a:ln>
              <a:solidFill>
                <a:schemeClr val="bg1">
                  <a:lumMod val="95000"/>
                  <a:alpha val="50000"/>
                </a:schemeClr>
              </a:solidFill>
            </a:ln>
            <a:effectLst/>
          </c:spPr>
          <c:invertIfNegative val="0"/>
          <c:cat>
            <c:numRef>
              <c:f>World!$A$94:$A$598</c:f>
              <c:numCache>
                <c:formatCode>dd/mm/yy;@</c:formatCode>
                <c:ptCount val="505"/>
                <c:pt idx="0">
                  <c:v>43922</c:v>
                </c:pt>
                <c:pt idx="1">
                  <c:v>43923</c:v>
                </c:pt>
                <c:pt idx="2">
                  <c:v>43924</c:v>
                </c:pt>
                <c:pt idx="3">
                  <c:v>43925</c:v>
                </c:pt>
                <c:pt idx="4">
                  <c:v>43926</c:v>
                </c:pt>
                <c:pt idx="5">
                  <c:v>43927</c:v>
                </c:pt>
                <c:pt idx="6">
                  <c:v>43928</c:v>
                </c:pt>
                <c:pt idx="7">
                  <c:v>43929</c:v>
                </c:pt>
                <c:pt idx="8">
                  <c:v>43930</c:v>
                </c:pt>
                <c:pt idx="9">
                  <c:v>43931</c:v>
                </c:pt>
                <c:pt idx="10">
                  <c:v>43932</c:v>
                </c:pt>
                <c:pt idx="11">
                  <c:v>43933</c:v>
                </c:pt>
                <c:pt idx="12">
                  <c:v>43934</c:v>
                </c:pt>
                <c:pt idx="13">
                  <c:v>43935</c:v>
                </c:pt>
                <c:pt idx="14">
                  <c:v>43936</c:v>
                </c:pt>
                <c:pt idx="15">
                  <c:v>43937</c:v>
                </c:pt>
                <c:pt idx="16">
                  <c:v>43938</c:v>
                </c:pt>
                <c:pt idx="17">
                  <c:v>43939</c:v>
                </c:pt>
                <c:pt idx="18">
                  <c:v>43940</c:v>
                </c:pt>
                <c:pt idx="19">
                  <c:v>43941</c:v>
                </c:pt>
                <c:pt idx="20">
                  <c:v>43942</c:v>
                </c:pt>
                <c:pt idx="21">
                  <c:v>43943</c:v>
                </c:pt>
                <c:pt idx="22">
                  <c:v>43944</c:v>
                </c:pt>
                <c:pt idx="23">
                  <c:v>43945</c:v>
                </c:pt>
                <c:pt idx="24">
                  <c:v>43946</c:v>
                </c:pt>
                <c:pt idx="25">
                  <c:v>43947</c:v>
                </c:pt>
                <c:pt idx="26">
                  <c:v>43948</c:v>
                </c:pt>
                <c:pt idx="27">
                  <c:v>43949</c:v>
                </c:pt>
                <c:pt idx="28">
                  <c:v>43950</c:v>
                </c:pt>
                <c:pt idx="29">
                  <c:v>43951</c:v>
                </c:pt>
                <c:pt idx="30">
                  <c:v>43952</c:v>
                </c:pt>
                <c:pt idx="31">
                  <c:v>43953</c:v>
                </c:pt>
                <c:pt idx="32">
                  <c:v>43954</c:v>
                </c:pt>
                <c:pt idx="33">
                  <c:v>43955</c:v>
                </c:pt>
                <c:pt idx="34">
                  <c:v>43956</c:v>
                </c:pt>
                <c:pt idx="35">
                  <c:v>43957</c:v>
                </c:pt>
                <c:pt idx="36">
                  <c:v>43958</c:v>
                </c:pt>
                <c:pt idx="37">
                  <c:v>43959</c:v>
                </c:pt>
                <c:pt idx="38">
                  <c:v>43960</c:v>
                </c:pt>
                <c:pt idx="39">
                  <c:v>43961</c:v>
                </c:pt>
                <c:pt idx="40">
                  <c:v>43962</c:v>
                </c:pt>
                <c:pt idx="41">
                  <c:v>43963</c:v>
                </c:pt>
                <c:pt idx="42">
                  <c:v>43964</c:v>
                </c:pt>
                <c:pt idx="43">
                  <c:v>43965</c:v>
                </c:pt>
                <c:pt idx="44">
                  <c:v>43966</c:v>
                </c:pt>
                <c:pt idx="45">
                  <c:v>43967</c:v>
                </c:pt>
                <c:pt idx="46">
                  <c:v>43968</c:v>
                </c:pt>
                <c:pt idx="47">
                  <c:v>43969</c:v>
                </c:pt>
                <c:pt idx="48">
                  <c:v>43970</c:v>
                </c:pt>
                <c:pt idx="49">
                  <c:v>43971</c:v>
                </c:pt>
                <c:pt idx="50">
                  <c:v>43972</c:v>
                </c:pt>
                <c:pt idx="51">
                  <c:v>43973</c:v>
                </c:pt>
                <c:pt idx="52">
                  <c:v>43974</c:v>
                </c:pt>
                <c:pt idx="53">
                  <c:v>43975</c:v>
                </c:pt>
                <c:pt idx="54">
                  <c:v>43976</c:v>
                </c:pt>
                <c:pt idx="55">
                  <c:v>43977</c:v>
                </c:pt>
                <c:pt idx="56">
                  <c:v>43978</c:v>
                </c:pt>
                <c:pt idx="57">
                  <c:v>43979</c:v>
                </c:pt>
                <c:pt idx="58">
                  <c:v>43980</c:v>
                </c:pt>
                <c:pt idx="59">
                  <c:v>43981</c:v>
                </c:pt>
                <c:pt idx="60">
                  <c:v>43982</c:v>
                </c:pt>
                <c:pt idx="61">
                  <c:v>43983</c:v>
                </c:pt>
                <c:pt idx="62">
                  <c:v>43984</c:v>
                </c:pt>
                <c:pt idx="63">
                  <c:v>43985</c:v>
                </c:pt>
                <c:pt idx="64">
                  <c:v>43986</c:v>
                </c:pt>
                <c:pt idx="65">
                  <c:v>43987</c:v>
                </c:pt>
                <c:pt idx="66">
                  <c:v>43988</c:v>
                </c:pt>
                <c:pt idx="67">
                  <c:v>43989</c:v>
                </c:pt>
                <c:pt idx="68">
                  <c:v>43990</c:v>
                </c:pt>
                <c:pt idx="69">
                  <c:v>43991</c:v>
                </c:pt>
                <c:pt idx="70">
                  <c:v>43992</c:v>
                </c:pt>
                <c:pt idx="71">
                  <c:v>43993</c:v>
                </c:pt>
                <c:pt idx="72">
                  <c:v>43994</c:v>
                </c:pt>
                <c:pt idx="73">
                  <c:v>43995</c:v>
                </c:pt>
                <c:pt idx="74">
                  <c:v>43996</c:v>
                </c:pt>
                <c:pt idx="75">
                  <c:v>43997</c:v>
                </c:pt>
                <c:pt idx="76">
                  <c:v>43998</c:v>
                </c:pt>
                <c:pt idx="77">
                  <c:v>43999</c:v>
                </c:pt>
                <c:pt idx="78">
                  <c:v>44000</c:v>
                </c:pt>
                <c:pt idx="79">
                  <c:v>44001</c:v>
                </c:pt>
                <c:pt idx="80">
                  <c:v>44002</c:v>
                </c:pt>
                <c:pt idx="81">
                  <c:v>44003</c:v>
                </c:pt>
                <c:pt idx="82">
                  <c:v>44004</c:v>
                </c:pt>
                <c:pt idx="83">
                  <c:v>44005</c:v>
                </c:pt>
                <c:pt idx="84">
                  <c:v>44006</c:v>
                </c:pt>
                <c:pt idx="85">
                  <c:v>44007</c:v>
                </c:pt>
                <c:pt idx="86">
                  <c:v>44008</c:v>
                </c:pt>
                <c:pt idx="87">
                  <c:v>44009</c:v>
                </c:pt>
                <c:pt idx="88">
                  <c:v>44010</c:v>
                </c:pt>
                <c:pt idx="89">
                  <c:v>44011</c:v>
                </c:pt>
                <c:pt idx="90">
                  <c:v>44012</c:v>
                </c:pt>
                <c:pt idx="91">
                  <c:v>44013</c:v>
                </c:pt>
                <c:pt idx="92">
                  <c:v>44014</c:v>
                </c:pt>
                <c:pt idx="93">
                  <c:v>44015</c:v>
                </c:pt>
                <c:pt idx="94">
                  <c:v>44016</c:v>
                </c:pt>
                <c:pt idx="95">
                  <c:v>44017</c:v>
                </c:pt>
                <c:pt idx="96">
                  <c:v>44018</c:v>
                </c:pt>
                <c:pt idx="97">
                  <c:v>44019</c:v>
                </c:pt>
                <c:pt idx="98">
                  <c:v>44020</c:v>
                </c:pt>
                <c:pt idx="99">
                  <c:v>44021</c:v>
                </c:pt>
                <c:pt idx="100">
                  <c:v>44022</c:v>
                </c:pt>
                <c:pt idx="101">
                  <c:v>44023</c:v>
                </c:pt>
                <c:pt idx="102">
                  <c:v>44024</c:v>
                </c:pt>
                <c:pt idx="103">
                  <c:v>44025</c:v>
                </c:pt>
                <c:pt idx="104">
                  <c:v>44026</c:v>
                </c:pt>
                <c:pt idx="105">
                  <c:v>44027</c:v>
                </c:pt>
                <c:pt idx="106">
                  <c:v>44028</c:v>
                </c:pt>
                <c:pt idx="107">
                  <c:v>44029</c:v>
                </c:pt>
                <c:pt idx="108">
                  <c:v>44030</c:v>
                </c:pt>
                <c:pt idx="109">
                  <c:v>44031</c:v>
                </c:pt>
                <c:pt idx="110">
                  <c:v>44032</c:v>
                </c:pt>
                <c:pt idx="111">
                  <c:v>44033</c:v>
                </c:pt>
                <c:pt idx="112">
                  <c:v>44034</c:v>
                </c:pt>
                <c:pt idx="113">
                  <c:v>44035</c:v>
                </c:pt>
                <c:pt idx="114">
                  <c:v>44036</c:v>
                </c:pt>
                <c:pt idx="115">
                  <c:v>44037</c:v>
                </c:pt>
                <c:pt idx="116">
                  <c:v>44038</c:v>
                </c:pt>
                <c:pt idx="117">
                  <c:v>44039</c:v>
                </c:pt>
                <c:pt idx="118">
                  <c:v>44040</c:v>
                </c:pt>
                <c:pt idx="119">
                  <c:v>44041</c:v>
                </c:pt>
                <c:pt idx="120">
                  <c:v>44042</c:v>
                </c:pt>
                <c:pt idx="121">
                  <c:v>44043</c:v>
                </c:pt>
                <c:pt idx="122">
                  <c:v>44044</c:v>
                </c:pt>
                <c:pt idx="123">
                  <c:v>44045</c:v>
                </c:pt>
                <c:pt idx="124">
                  <c:v>44046</c:v>
                </c:pt>
                <c:pt idx="125">
                  <c:v>44047</c:v>
                </c:pt>
                <c:pt idx="126">
                  <c:v>44048</c:v>
                </c:pt>
                <c:pt idx="127">
                  <c:v>44049</c:v>
                </c:pt>
                <c:pt idx="128">
                  <c:v>44050</c:v>
                </c:pt>
                <c:pt idx="129">
                  <c:v>44051</c:v>
                </c:pt>
                <c:pt idx="130">
                  <c:v>44052</c:v>
                </c:pt>
                <c:pt idx="131">
                  <c:v>44053</c:v>
                </c:pt>
                <c:pt idx="132">
                  <c:v>44054</c:v>
                </c:pt>
                <c:pt idx="133">
                  <c:v>44055</c:v>
                </c:pt>
                <c:pt idx="134">
                  <c:v>44056</c:v>
                </c:pt>
                <c:pt idx="135">
                  <c:v>44057</c:v>
                </c:pt>
                <c:pt idx="136">
                  <c:v>44058</c:v>
                </c:pt>
                <c:pt idx="137">
                  <c:v>44059</c:v>
                </c:pt>
                <c:pt idx="138">
                  <c:v>44060</c:v>
                </c:pt>
                <c:pt idx="139">
                  <c:v>44061</c:v>
                </c:pt>
                <c:pt idx="140">
                  <c:v>44062</c:v>
                </c:pt>
                <c:pt idx="141">
                  <c:v>44063</c:v>
                </c:pt>
                <c:pt idx="142">
                  <c:v>44064</c:v>
                </c:pt>
                <c:pt idx="143">
                  <c:v>44065</c:v>
                </c:pt>
                <c:pt idx="144">
                  <c:v>44066</c:v>
                </c:pt>
                <c:pt idx="145">
                  <c:v>44067</c:v>
                </c:pt>
                <c:pt idx="146">
                  <c:v>44068</c:v>
                </c:pt>
                <c:pt idx="147">
                  <c:v>44069</c:v>
                </c:pt>
                <c:pt idx="148">
                  <c:v>44070</c:v>
                </c:pt>
                <c:pt idx="149">
                  <c:v>44071</c:v>
                </c:pt>
                <c:pt idx="150">
                  <c:v>44072</c:v>
                </c:pt>
                <c:pt idx="151">
                  <c:v>44073</c:v>
                </c:pt>
                <c:pt idx="152">
                  <c:v>44074</c:v>
                </c:pt>
                <c:pt idx="153">
                  <c:v>44075</c:v>
                </c:pt>
                <c:pt idx="154">
                  <c:v>44076</c:v>
                </c:pt>
                <c:pt idx="155">
                  <c:v>44077</c:v>
                </c:pt>
                <c:pt idx="156">
                  <c:v>44078</c:v>
                </c:pt>
                <c:pt idx="157">
                  <c:v>44079</c:v>
                </c:pt>
                <c:pt idx="158">
                  <c:v>44080</c:v>
                </c:pt>
                <c:pt idx="159">
                  <c:v>44081</c:v>
                </c:pt>
                <c:pt idx="160">
                  <c:v>44082</c:v>
                </c:pt>
                <c:pt idx="161">
                  <c:v>44083</c:v>
                </c:pt>
                <c:pt idx="162">
                  <c:v>44084</c:v>
                </c:pt>
                <c:pt idx="163">
                  <c:v>44085</c:v>
                </c:pt>
                <c:pt idx="164">
                  <c:v>44086</c:v>
                </c:pt>
                <c:pt idx="165">
                  <c:v>44087</c:v>
                </c:pt>
                <c:pt idx="166">
                  <c:v>44088</c:v>
                </c:pt>
                <c:pt idx="167">
                  <c:v>44089</c:v>
                </c:pt>
                <c:pt idx="168">
                  <c:v>44090</c:v>
                </c:pt>
                <c:pt idx="169">
                  <c:v>44091</c:v>
                </c:pt>
                <c:pt idx="170">
                  <c:v>44092</c:v>
                </c:pt>
                <c:pt idx="171">
                  <c:v>44093</c:v>
                </c:pt>
                <c:pt idx="172">
                  <c:v>44094</c:v>
                </c:pt>
                <c:pt idx="173">
                  <c:v>44095</c:v>
                </c:pt>
                <c:pt idx="174">
                  <c:v>44096</c:v>
                </c:pt>
                <c:pt idx="175">
                  <c:v>44097</c:v>
                </c:pt>
                <c:pt idx="176">
                  <c:v>44098</c:v>
                </c:pt>
                <c:pt idx="177">
                  <c:v>44099</c:v>
                </c:pt>
                <c:pt idx="178">
                  <c:v>44100</c:v>
                </c:pt>
                <c:pt idx="179">
                  <c:v>44101</c:v>
                </c:pt>
                <c:pt idx="180">
                  <c:v>44102</c:v>
                </c:pt>
                <c:pt idx="181">
                  <c:v>44103</c:v>
                </c:pt>
                <c:pt idx="182">
                  <c:v>44104</c:v>
                </c:pt>
                <c:pt idx="183">
                  <c:v>44105</c:v>
                </c:pt>
                <c:pt idx="184">
                  <c:v>44106</c:v>
                </c:pt>
                <c:pt idx="185">
                  <c:v>44107</c:v>
                </c:pt>
                <c:pt idx="186">
                  <c:v>44108</c:v>
                </c:pt>
                <c:pt idx="187">
                  <c:v>44109</c:v>
                </c:pt>
                <c:pt idx="188">
                  <c:v>44110</c:v>
                </c:pt>
                <c:pt idx="189">
                  <c:v>44111</c:v>
                </c:pt>
                <c:pt idx="190">
                  <c:v>44112</c:v>
                </c:pt>
                <c:pt idx="191">
                  <c:v>44113</c:v>
                </c:pt>
                <c:pt idx="192">
                  <c:v>44114</c:v>
                </c:pt>
                <c:pt idx="193">
                  <c:v>44115</c:v>
                </c:pt>
                <c:pt idx="194">
                  <c:v>44116</c:v>
                </c:pt>
                <c:pt idx="195">
                  <c:v>44117</c:v>
                </c:pt>
                <c:pt idx="196">
                  <c:v>44118</c:v>
                </c:pt>
                <c:pt idx="197">
                  <c:v>44119</c:v>
                </c:pt>
                <c:pt idx="198">
                  <c:v>44120</c:v>
                </c:pt>
                <c:pt idx="199">
                  <c:v>44121</c:v>
                </c:pt>
                <c:pt idx="200">
                  <c:v>44122</c:v>
                </c:pt>
                <c:pt idx="201">
                  <c:v>44123</c:v>
                </c:pt>
                <c:pt idx="202">
                  <c:v>44124</c:v>
                </c:pt>
                <c:pt idx="203">
                  <c:v>44125</c:v>
                </c:pt>
                <c:pt idx="204">
                  <c:v>44126</c:v>
                </c:pt>
                <c:pt idx="205">
                  <c:v>44127</c:v>
                </c:pt>
                <c:pt idx="206">
                  <c:v>44128</c:v>
                </c:pt>
                <c:pt idx="207">
                  <c:v>44129</c:v>
                </c:pt>
                <c:pt idx="208">
                  <c:v>44130</c:v>
                </c:pt>
                <c:pt idx="209">
                  <c:v>44131</c:v>
                </c:pt>
                <c:pt idx="210">
                  <c:v>44132</c:v>
                </c:pt>
                <c:pt idx="211">
                  <c:v>44133</c:v>
                </c:pt>
                <c:pt idx="212">
                  <c:v>44134</c:v>
                </c:pt>
                <c:pt idx="213">
                  <c:v>44135</c:v>
                </c:pt>
                <c:pt idx="214">
                  <c:v>44136</c:v>
                </c:pt>
                <c:pt idx="215">
                  <c:v>44137</c:v>
                </c:pt>
                <c:pt idx="216">
                  <c:v>44138</c:v>
                </c:pt>
                <c:pt idx="217">
                  <c:v>44139</c:v>
                </c:pt>
                <c:pt idx="218">
                  <c:v>44140</c:v>
                </c:pt>
                <c:pt idx="219">
                  <c:v>44141</c:v>
                </c:pt>
                <c:pt idx="220">
                  <c:v>44142</c:v>
                </c:pt>
                <c:pt idx="221">
                  <c:v>44143</c:v>
                </c:pt>
                <c:pt idx="222">
                  <c:v>44144</c:v>
                </c:pt>
                <c:pt idx="223">
                  <c:v>44145</c:v>
                </c:pt>
                <c:pt idx="224">
                  <c:v>44146</c:v>
                </c:pt>
                <c:pt idx="225">
                  <c:v>44147</c:v>
                </c:pt>
                <c:pt idx="226">
                  <c:v>44148</c:v>
                </c:pt>
                <c:pt idx="227">
                  <c:v>44149</c:v>
                </c:pt>
                <c:pt idx="228">
                  <c:v>44150</c:v>
                </c:pt>
                <c:pt idx="229">
                  <c:v>44151</c:v>
                </c:pt>
                <c:pt idx="230">
                  <c:v>44152</c:v>
                </c:pt>
                <c:pt idx="231">
                  <c:v>44153</c:v>
                </c:pt>
                <c:pt idx="232">
                  <c:v>44154</c:v>
                </c:pt>
                <c:pt idx="233">
                  <c:v>44155</c:v>
                </c:pt>
                <c:pt idx="234">
                  <c:v>44156</c:v>
                </c:pt>
                <c:pt idx="235">
                  <c:v>44157</c:v>
                </c:pt>
                <c:pt idx="236">
                  <c:v>44158</c:v>
                </c:pt>
                <c:pt idx="237">
                  <c:v>44159</c:v>
                </c:pt>
                <c:pt idx="238">
                  <c:v>44160</c:v>
                </c:pt>
                <c:pt idx="239">
                  <c:v>44161</c:v>
                </c:pt>
                <c:pt idx="240">
                  <c:v>44162</c:v>
                </c:pt>
                <c:pt idx="241">
                  <c:v>44163</c:v>
                </c:pt>
                <c:pt idx="242">
                  <c:v>44164</c:v>
                </c:pt>
                <c:pt idx="243">
                  <c:v>44165</c:v>
                </c:pt>
                <c:pt idx="244">
                  <c:v>44166</c:v>
                </c:pt>
                <c:pt idx="245">
                  <c:v>44167</c:v>
                </c:pt>
                <c:pt idx="246">
                  <c:v>44168</c:v>
                </c:pt>
                <c:pt idx="247">
                  <c:v>44169</c:v>
                </c:pt>
                <c:pt idx="248">
                  <c:v>44170</c:v>
                </c:pt>
                <c:pt idx="249">
                  <c:v>44171</c:v>
                </c:pt>
                <c:pt idx="250">
                  <c:v>44172</c:v>
                </c:pt>
                <c:pt idx="251">
                  <c:v>44173</c:v>
                </c:pt>
                <c:pt idx="252">
                  <c:v>44174</c:v>
                </c:pt>
                <c:pt idx="253">
                  <c:v>44175</c:v>
                </c:pt>
                <c:pt idx="254">
                  <c:v>44176</c:v>
                </c:pt>
                <c:pt idx="255">
                  <c:v>44177</c:v>
                </c:pt>
                <c:pt idx="256">
                  <c:v>44178</c:v>
                </c:pt>
                <c:pt idx="257">
                  <c:v>44179</c:v>
                </c:pt>
                <c:pt idx="258">
                  <c:v>44180</c:v>
                </c:pt>
                <c:pt idx="259">
                  <c:v>44181</c:v>
                </c:pt>
                <c:pt idx="260">
                  <c:v>44182</c:v>
                </c:pt>
                <c:pt idx="261">
                  <c:v>44183</c:v>
                </c:pt>
                <c:pt idx="262">
                  <c:v>44184</c:v>
                </c:pt>
                <c:pt idx="263">
                  <c:v>44185</c:v>
                </c:pt>
                <c:pt idx="264">
                  <c:v>44186</c:v>
                </c:pt>
                <c:pt idx="265">
                  <c:v>44187</c:v>
                </c:pt>
                <c:pt idx="266">
                  <c:v>44188</c:v>
                </c:pt>
                <c:pt idx="267">
                  <c:v>44189</c:v>
                </c:pt>
                <c:pt idx="268">
                  <c:v>44190</c:v>
                </c:pt>
                <c:pt idx="269">
                  <c:v>44191</c:v>
                </c:pt>
                <c:pt idx="270">
                  <c:v>44192</c:v>
                </c:pt>
                <c:pt idx="271">
                  <c:v>44193</c:v>
                </c:pt>
                <c:pt idx="272">
                  <c:v>44194</c:v>
                </c:pt>
                <c:pt idx="273">
                  <c:v>44195</c:v>
                </c:pt>
                <c:pt idx="274">
                  <c:v>44196</c:v>
                </c:pt>
                <c:pt idx="275">
                  <c:v>44197</c:v>
                </c:pt>
                <c:pt idx="276">
                  <c:v>44198</c:v>
                </c:pt>
                <c:pt idx="277">
                  <c:v>44199</c:v>
                </c:pt>
                <c:pt idx="278">
                  <c:v>44200</c:v>
                </c:pt>
                <c:pt idx="279">
                  <c:v>44201</c:v>
                </c:pt>
                <c:pt idx="280">
                  <c:v>44202</c:v>
                </c:pt>
                <c:pt idx="281">
                  <c:v>44203</c:v>
                </c:pt>
                <c:pt idx="282">
                  <c:v>44204</c:v>
                </c:pt>
                <c:pt idx="283">
                  <c:v>44205</c:v>
                </c:pt>
                <c:pt idx="284">
                  <c:v>44206</c:v>
                </c:pt>
                <c:pt idx="285">
                  <c:v>44207</c:v>
                </c:pt>
                <c:pt idx="286">
                  <c:v>44208</c:v>
                </c:pt>
                <c:pt idx="287">
                  <c:v>44209</c:v>
                </c:pt>
                <c:pt idx="288">
                  <c:v>44210</c:v>
                </c:pt>
                <c:pt idx="289">
                  <c:v>44211</c:v>
                </c:pt>
                <c:pt idx="290">
                  <c:v>44212</c:v>
                </c:pt>
                <c:pt idx="291">
                  <c:v>44213</c:v>
                </c:pt>
                <c:pt idx="292">
                  <c:v>44214</c:v>
                </c:pt>
                <c:pt idx="293">
                  <c:v>44215</c:v>
                </c:pt>
                <c:pt idx="294">
                  <c:v>44216</c:v>
                </c:pt>
                <c:pt idx="295">
                  <c:v>44217</c:v>
                </c:pt>
                <c:pt idx="296">
                  <c:v>44218</c:v>
                </c:pt>
                <c:pt idx="297">
                  <c:v>44219</c:v>
                </c:pt>
                <c:pt idx="298">
                  <c:v>44220</c:v>
                </c:pt>
                <c:pt idx="299">
                  <c:v>44221</c:v>
                </c:pt>
                <c:pt idx="300">
                  <c:v>44222</c:v>
                </c:pt>
                <c:pt idx="301">
                  <c:v>44223</c:v>
                </c:pt>
                <c:pt idx="302">
                  <c:v>44224</c:v>
                </c:pt>
                <c:pt idx="303">
                  <c:v>44225</c:v>
                </c:pt>
                <c:pt idx="304">
                  <c:v>44226</c:v>
                </c:pt>
                <c:pt idx="305">
                  <c:v>44227</c:v>
                </c:pt>
                <c:pt idx="306">
                  <c:v>44228</c:v>
                </c:pt>
                <c:pt idx="307">
                  <c:v>44229</c:v>
                </c:pt>
                <c:pt idx="308">
                  <c:v>44230</c:v>
                </c:pt>
                <c:pt idx="309">
                  <c:v>44231</c:v>
                </c:pt>
                <c:pt idx="310">
                  <c:v>44232</c:v>
                </c:pt>
                <c:pt idx="311">
                  <c:v>44233</c:v>
                </c:pt>
                <c:pt idx="312">
                  <c:v>44234</c:v>
                </c:pt>
                <c:pt idx="313">
                  <c:v>44235</c:v>
                </c:pt>
                <c:pt idx="314">
                  <c:v>44236</c:v>
                </c:pt>
                <c:pt idx="315">
                  <c:v>44237</c:v>
                </c:pt>
                <c:pt idx="316">
                  <c:v>44238</c:v>
                </c:pt>
                <c:pt idx="317">
                  <c:v>44239</c:v>
                </c:pt>
                <c:pt idx="318">
                  <c:v>44240</c:v>
                </c:pt>
                <c:pt idx="319">
                  <c:v>44241</c:v>
                </c:pt>
                <c:pt idx="320">
                  <c:v>44242</c:v>
                </c:pt>
                <c:pt idx="321">
                  <c:v>44243</c:v>
                </c:pt>
                <c:pt idx="322">
                  <c:v>44244</c:v>
                </c:pt>
                <c:pt idx="323">
                  <c:v>44245</c:v>
                </c:pt>
                <c:pt idx="324">
                  <c:v>44246</c:v>
                </c:pt>
                <c:pt idx="325">
                  <c:v>44247</c:v>
                </c:pt>
                <c:pt idx="326">
                  <c:v>44248</c:v>
                </c:pt>
                <c:pt idx="327">
                  <c:v>44249</c:v>
                </c:pt>
                <c:pt idx="328">
                  <c:v>44250</c:v>
                </c:pt>
                <c:pt idx="329">
                  <c:v>44251</c:v>
                </c:pt>
                <c:pt idx="330">
                  <c:v>44252</c:v>
                </c:pt>
                <c:pt idx="331">
                  <c:v>44253</c:v>
                </c:pt>
                <c:pt idx="332">
                  <c:v>44254</c:v>
                </c:pt>
                <c:pt idx="333">
                  <c:v>44255</c:v>
                </c:pt>
                <c:pt idx="334">
                  <c:v>44256</c:v>
                </c:pt>
                <c:pt idx="335">
                  <c:v>44257</c:v>
                </c:pt>
                <c:pt idx="336">
                  <c:v>44258</c:v>
                </c:pt>
                <c:pt idx="337">
                  <c:v>44259</c:v>
                </c:pt>
                <c:pt idx="338">
                  <c:v>44260</c:v>
                </c:pt>
                <c:pt idx="339">
                  <c:v>44261</c:v>
                </c:pt>
                <c:pt idx="340">
                  <c:v>44262</c:v>
                </c:pt>
                <c:pt idx="341">
                  <c:v>44263</c:v>
                </c:pt>
                <c:pt idx="342">
                  <c:v>44264</c:v>
                </c:pt>
                <c:pt idx="343">
                  <c:v>44265</c:v>
                </c:pt>
                <c:pt idx="344">
                  <c:v>44266</c:v>
                </c:pt>
                <c:pt idx="345">
                  <c:v>44267</c:v>
                </c:pt>
                <c:pt idx="346">
                  <c:v>44268</c:v>
                </c:pt>
                <c:pt idx="347">
                  <c:v>44269</c:v>
                </c:pt>
                <c:pt idx="348">
                  <c:v>44270</c:v>
                </c:pt>
                <c:pt idx="349">
                  <c:v>44271</c:v>
                </c:pt>
                <c:pt idx="350">
                  <c:v>44272</c:v>
                </c:pt>
                <c:pt idx="351">
                  <c:v>44273</c:v>
                </c:pt>
                <c:pt idx="352">
                  <c:v>44274</c:v>
                </c:pt>
                <c:pt idx="353">
                  <c:v>44275</c:v>
                </c:pt>
                <c:pt idx="354">
                  <c:v>44276</c:v>
                </c:pt>
                <c:pt idx="355">
                  <c:v>44277</c:v>
                </c:pt>
                <c:pt idx="356">
                  <c:v>44278</c:v>
                </c:pt>
                <c:pt idx="357">
                  <c:v>44279</c:v>
                </c:pt>
                <c:pt idx="358">
                  <c:v>44280</c:v>
                </c:pt>
                <c:pt idx="359">
                  <c:v>44281</c:v>
                </c:pt>
                <c:pt idx="360">
                  <c:v>44282</c:v>
                </c:pt>
                <c:pt idx="361">
                  <c:v>44283</c:v>
                </c:pt>
                <c:pt idx="362">
                  <c:v>44284</c:v>
                </c:pt>
                <c:pt idx="363">
                  <c:v>44285</c:v>
                </c:pt>
                <c:pt idx="364">
                  <c:v>44286</c:v>
                </c:pt>
                <c:pt idx="365">
                  <c:v>44287</c:v>
                </c:pt>
                <c:pt idx="366">
                  <c:v>44288</c:v>
                </c:pt>
                <c:pt idx="367">
                  <c:v>44289</c:v>
                </c:pt>
                <c:pt idx="368">
                  <c:v>44290</c:v>
                </c:pt>
                <c:pt idx="369">
                  <c:v>44291</c:v>
                </c:pt>
                <c:pt idx="370">
                  <c:v>44292</c:v>
                </c:pt>
                <c:pt idx="371">
                  <c:v>44293</c:v>
                </c:pt>
                <c:pt idx="372">
                  <c:v>44294</c:v>
                </c:pt>
                <c:pt idx="373">
                  <c:v>44295</c:v>
                </c:pt>
                <c:pt idx="374">
                  <c:v>44296</c:v>
                </c:pt>
                <c:pt idx="375">
                  <c:v>44297</c:v>
                </c:pt>
                <c:pt idx="376">
                  <c:v>44298</c:v>
                </c:pt>
                <c:pt idx="377">
                  <c:v>44299</c:v>
                </c:pt>
                <c:pt idx="378">
                  <c:v>44300</c:v>
                </c:pt>
                <c:pt idx="379">
                  <c:v>44301</c:v>
                </c:pt>
                <c:pt idx="380">
                  <c:v>44302</c:v>
                </c:pt>
                <c:pt idx="381">
                  <c:v>44303</c:v>
                </c:pt>
                <c:pt idx="382">
                  <c:v>44304</c:v>
                </c:pt>
                <c:pt idx="383">
                  <c:v>44305</c:v>
                </c:pt>
                <c:pt idx="384">
                  <c:v>44306</c:v>
                </c:pt>
                <c:pt idx="385">
                  <c:v>44307</c:v>
                </c:pt>
                <c:pt idx="386">
                  <c:v>44308</c:v>
                </c:pt>
                <c:pt idx="387">
                  <c:v>44309</c:v>
                </c:pt>
                <c:pt idx="388">
                  <c:v>44310</c:v>
                </c:pt>
                <c:pt idx="389">
                  <c:v>44311</c:v>
                </c:pt>
                <c:pt idx="390">
                  <c:v>44312</c:v>
                </c:pt>
                <c:pt idx="391">
                  <c:v>44313</c:v>
                </c:pt>
                <c:pt idx="392">
                  <c:v>44314</c:v>
                </c:pt>
                <c:pt idx="393">
                  <c:v>44315</c:v>
                </c:pt>
                <c:pt idx="394">
                  <c:v>44316</c:v>
                </c:pt>
                <c:pt idx="395">
                  <c:v>44317</c:v>
                </c:pt>
                <c:pt idx="396">
                  <c:v>44318</c:v>
                </c:pt>
                <c:pt idx="397">
                  <c:v>44319</c:v>
                </c:pt>
                <c:pt idx="398">
                  <c:v>44320</c:v>
                </c:pt>
                <c:pt idx="399">
                  <c:v>44321</c:v>
                </c:pt>
                <c:pt idx="400">
                  <c:v>44322</c:v>
                </c:pt>
                <c:pt idx="401">
                  <c:v>44323</c:v>
                </c:pt>
                <c:pt idx="402">
                  <c:v>44324</c:v>
                </c:pt>
                <c:pt idx="403">
                  <c:v>44325</c:v>
                </c:pt>
                <c:pt idx="404">
                  <c:v>44326</c:v>
                </c:pt>
                <c:pt idx="405">
                  <c:v>44327</c:v>
                </c:pt>
                <c:pt idx="406">
                  <c:v>44328</c:v>
                </c:pt>
                <c:pt idx="407">
                  <c:v>44329</c:v>
                </c:pt>
                <c:pt idx="408">
                  <c:v>44330</c:v>
                </c:pt>
                <c:pt idx="409">
                  <c:v>44331</c:v>
                </c:pt>
                <c:pt idx="410">
                  <c:v>44332</c:v>
                </c:pt>
                <c:pt idx="411">
                  <c:v>44333</c:v>
                </c:pt>
                <c:pt idx="412">
                  <c:v>44334</c:v>
                </c:pt>
                <c:pt idx="413">
                  <c:v>44335</c:v>
                </c:pt>
                <c:pt idx="414">
                  <c:v>44336</c:v>
                </c:pt>
                <c:pt idx="415">
                  <c:v>44337</c:v>
                </c:pt>
                <c:pt idx="416">
                  <c:v>44338</c:v>
                </c:pt>
                <c:pt idx="417">
                  <c:v>44339</c:v>
                </c:pt>
                <c:pt idx="418">
                  <c:v>44340</c:v>
                </c:pt>
                <c:pt idx="419">
                  <c:v>44341</c:v>
                </c:pt>
                <c:pt idx="420">
                  <c:v>44342</c:v>
                </c:pt>
                <c:pt idx="421">
                  <c:v>44343</c:v>
                </c:pt>
                <c:pt idx="422">
                  <c:v>44344</c:v>
                </c:pt>
                <c:pt idx="423">
                  <c:v>44345</c:v>
                </c:pt>
                <c:pt idx="424">
                  <c:v>44346</c:v>
                </c:pt>
                <c:pt idx="425">
                  <c:v>44347</c:v>
                </c:pt>
                <c:pt idx="426">
                  <c:v>44348</c:v>
                </c:pt>
                <c:pt idx="427">
                  <c:v>44349</c:v>
                </c:pt>
                <c:pt idx="428">
                  <c:v>44350</c:v>
                </c:pt>
                <c:pt idx="429">
                  <c:v>44351</c:v>
                </c:pt>
                <c:pt idx="430">
                  <c:v>44352</c:v>
                </c:pt>
                <c:pt idx="431">
                  <c:v>44353</c:v>
                </c:pt>
                <c:pt idx="432">
                  <c:v>44354</c:v>
                </c:pt>
                <c:pt idx="433">
                  <c:v>44355</c:v>
                </c:pt>
                <c:pt idx="434">
                  <c:v>44356</c:v>
                </c:pt>
                <c:pt idx="435">
                  <c:v>44357</c:v>
                </c:pt>
                <c:pt idx="436">
                  <c:v>44358</c:v>
                </c:pt>
                <c:pt idx="437">
                  <c:v>44359</c:v>
                </c:pt>
                <c:pt idx="438">
                  <c:v>44360</c:v>
                </c:pt>
                <c:pt idx="439">
                  <c:v>44361</c:v>
                </c:pt>
                <c:pt idx="440">
                  <c:v>44362</c:v>
                </c:pt>
                <c:pt idx="441">
                  <c:v>44363</c:v>
                </c:pt>
                <c:pt idx="442">
                  <c:v>44364</c:v>
                </c:pt>
                <c:pt idx="443">
                  <c:v>44365</c:v>
                </c:pt>
                <c:pt idx="444">
                  <c:v>44366</c:v>
                </c:pt>
                <c:pt idx="445">
                  <c:v>44367</c:v>
                </c:pt>
                <c:pt idx="446">
                  <c:v>44368</c:v>
                </c:pt>
                <c:pt idx="447">
                  <c:v>44369</c:v>
                </c:pt>
                <c:pt idx="448">
                  <c:v>44370</c:v>
                </c:pt>
                <c:pt idx="449">
                  <c:v>44371</c:v>
                </c:pt>
                <c:pt idx="450">
                  <c:v>44372</c:v>
                </c:pt>
                <c:pt idx="451">
                  <c:v>44373</c:v>
                </c:pt>
                <c:pt idx="452">
                  <c:v>44374</c:v>
                </c:pt>
                <c:pt idx="453">
                  <c:v>44375</c:v>
                </c:pt>
                <c:pt idx="454">
                  <c:v>44376</c:v>
                </c:pt>
                <c:pt idx="455">
                  <c:v>44377</c:v>
                </c:pt>
                <c:pt idx="456">
                  <c:v>44378</c:v>
                </c:pt>
                <c:pt idx="457">
                  <c:v>44379</c:v>
                </c:pt>
                <c:pt idx="458">
                  <c:v>44380</c:v>
                </c:pt>
                <c:pt idx="459">
                  <c:v>44381</c:v>
                </c:pt>
                <c:pt idx="460">
                  <c:v>44382</c:v>
                </c:pt>
                <c:pt idx="461">
                  <c:v>44383</c:v>
                </c:pt>
                <c:pt idx="462">
                  <c:v>44384</c:v>
                </c:pt>
                <c:pt idx="463">
                  <c:v>44385</c:v>
                </c:pt>
                <c:pt idx="464">
                  <c:v>44386</c:v>
                </c:pt>
                <c:pt idx="465">
                  <c:v>44387</c:v>
                </c:pt>
                <c:pt idx="466">
                  <c:v>44388</c:v>
                </c:pt>
                <c:pt idx="467">
                  <c:v>44389</c:v>
                </c:pt>
                <c:pt idx="468">
                  <c:v>44390</c:v>
                </c:pt>
                <c:pt idx="469">
                  <c:v>44391</c:v>
                </c:pt>
                <c:pt idx="470">
                  <c:v>44392</c:v>
                </c:pt>
                <c:pt idx="471">
                  <c:v>44393</c:v>
                </c:pt>
                <c:pt idx="472">
                  <c:v>44394</c:v>
                </c:pt>
                <c:pt idx="473">
                  <c:v>44395</c:v>
                </c:pt>
                <c:pt idx="474">
                  <c:v>44396</c:v>
                </c:pt>
                <c:pt idx="475">
                  <c:v>44397</c:v>
                </c:pt>
                <c:pt idx="476">
                  <c:v>44398</c:v>
                </c:pt>
                <c:pt idx="477">
                  <c:v>44399</c:v>
                </c:pt>
                <c:pt idx="478">
                  <c:v>44400</c:v>
                </c:pt>
                <c:pt idx="479">
                  <c:v>44401</c:v>
                </c:pt>
                <c:pt idx="480">
                  <c:v>44402</c:v>
                </c:pt>
                <c:pt idx="481">
                  <c:v>44403</c:v>
                </c:pt>
                <c:pt idx="482">
                  <c:v>44404</c:v>
                </c:pt>
                <c:pt idx="483">
                  <c:v>44405</c:v>
                </c:pt>
                <c:pt idx="484">
                  <c:v>44406</c:v>
                </c:pt>
                <c:pt idx="485">
                  <c:v>44407</c:v>
                </c:pt>
                <c:pt idx="486">
                  <c:v>44408</c:v>
                </c:pt>
                <c:pt idx="487">
                  <c:v>44409</c:v>
                </c:pt>
                <c:pt idx="488">
                  <c:v>44410</c:v>
                </c:pt>
                <c:pt idx="489">
                  <c:v>44411</c:v>
                </c:pt>
                <c:pt idx="490">
                  <c:v>44412</c:v>
                </c:pt>
                <c:pt idx="491">
                  <c:v>44413</c:v>
                </c:pt>
                <c:pt idx="492">
                  <c:v>44414</c:v>
                </c:pt>
                <c:pt idx="493">
                  <c:v>44415</c:v>
                </c:pt>
                <c:pt idx="494">
                  <c:v>44416</c:v>
                </c:pt>
                <c:pt idx="495">
                  <c:v>44417</c:v>
                </c:pt>
                <c:pt idx="496">
                  <c:v>44418</c:v>
                </c:pt>
                <c:pt idx="497">
                  <c:v>44419</c:v>
                </c:pt>
                <c:pt idx="498">
                  <c:v>44420</c:v>
                </c:pt>
                <c:pt idx="499">
                  <c:v>44421</c:v>
                </c:pt>
                <c:pt idx="500">
                  <c:v>44422</c:v>
                </c:pt>
                <c:pt idx="501">
                  <c:v>44423</c:v>
                </c:pt>
                <c:pt idx="502">
                  <c:v>44424</c:v>
                </c:pt>
                <c:pt idx="503">
                  <c:v>44425</c:v>
                </c:pt>
                <c:pt idx="504">
                  <c:v>44426</c:v>
                </c:pt>
              </c:numCache>
            </c:numRef>
          </c:cat>
          <c:val>
            <c:numRef>
              <c:f>'C.A.+R.D.'!$B$94:$B$598</c:f>
              <c:numCache>
                <c:formatCode>General</c:formatCode>
                <c:ptCount val="505"/>
                <c:pt idx="105" formatCode="0">
                  <c:v>900</c:v>
                </c:pt>
                <c:pt idx="106" formatCode="0">
                  <c:v>900</c:v>
                </c:pt>
                <c:pt idx="107" formatCode="0">
                  <c:v>900</c:v>
                </c:pt>
                <c:pt idx="108" formatCode="0">
                  <c:v>900</c:v>
                </c:pt>
                <c:pt idx="109" formatCode="0">
                  <c:v>900</c:v>
                </c:pt>
                <c:pt idx="110" formatCode="0">
                  <c:v>900</c:v>
                </c:pt>
                <c:pt idx="111" formatCode="0">
                  <c:v>900</c:v>
                </c:pt>
                <c:pt idx="112" formatCode="0">
                  <c:v>900</c:v>
                </c:pt>
                <c:pt idx="113" formatCode="0">
                  <c:v>900</c:v>
                </c:pt>
                <c:pt idx="114" formatCode="0">
                  <c:v>900</c:v>
                </c:pt>
                <c:pt idx="115" formatCode="0">
                  <c:v>900</c:v>
                </c:pt>
                <c:pt idx="116" formatCode="0">
                  <c:v>900</c:v>
                </c:pt>
                <c:pt idx="117" formatCode="0">
                  <c:v>900</c:v>
                </c:pt>
                <c:pt idx="118" formatCode="0">
                  <c:v>900</c:v>
                </c:pt>
                <c:pt idx="119" formatCode="0">
                  <c:v>900</c:v>
                </c:pt>
                <c:pt idx="120" formatCode="0">
                  <c:v>900</c:v>
                </c:pt>
                <c:pt idx="121" formatCode="0">
                  <c:v>900</c:v>
                </c:pt>
                <c:pt idx="122" formatCode="0">
                  <c:v>900</c:v>
                </c:pt>
                <c:pt idx="123" formatCode="0">
                  <c:v>900</c:v>
                </c:pt>
                <c:pt idx="124" formatCode="0">
                  <c:v>900</c:v>
                </c:pt>
                <c:pt idx="125" formatCode="0">
                  <c:v>900</c:v>
                </c:pt>
                <c:pt idx="126" formatCode="0">
                  <c:v>900</c:v>
                </c:pt>
                <c:pt idx="127" formatCode="0">
                  <c:v>900</c:v>
                </c:pt>
                <c:pt idx="128" formatCode="0">
                  <c:v>900</c:v>
                </c:pt>
                <c:pt idx="129" formatCode="0">
                  <c:v>900</c:v>
                </c:pt>
                <c:pt idx="130" formatCode="0">
                  <c:v>900</c:v>
                </c:pt>
                <c:pt idx="131" formatCode="0">
                  <c:v>900</c:v>
                </c:pt>
                <c:pt idx="132" formatCode="0">
                  <c:v>900</c:v>
                </c:pt>
                <c:pt idx="133" formatCode="0">
                  <c:v>900</c:v>
                </c:pt>
                <c:pt idx="134" formatCode="0">
                  <c:v>900</c:v>
                </c:pt>
                <c:pt idx="135" formatCode="0">
                  <c:v>900</c:v>
                </c:pt>
                <c:pt idx="136" formatCode="0">
                  <c:v>900</c:v>
                </c:pt>
                <c:pt idx="137" formatCode="0">
                  <c:v>900</c:v>
                </c:pt>
                <c:pt idx="138" formatCode="0">
                  <c:v>900</c:v>
                </c:pt>
                <c:pt idx="139" formatCode="0">
                  <c:v>900</c:v>
                </c:pt>
                <c:pt idx="140" formatCode="0">
                  <c:v>900</c:v>
                </c:pt>
                <c:pt idx="141" formatCode="0">
                  <c:v>900</c:v>
                </c:pt>
                <c:pt idx="142" formatCode="0">
                  <c:v>900</c:v>
                </c:pt>
                <c:pt idx="143" formatCode="0">
                  <c:v>900</c:v>
                </c:pt>
                <c:pt idx="144" formatCode="0">
                  <c:v>900</c:v>
                </c:pt>
                <c:pt idx="145" formatCode="0">
                  <c:v>900</c:v>
                </c:pt>
                <c:pt idx="146" formatCode="0">
                  <c:v>900</c:v>
                </c:pt>
                <c:pt idx="147" formatCode="0">
                  <c:v>900</c:v>
                </c:pt>
                <c:pt idx="148" formatCode="0">
                  <c:v>900</c:v>
                </c:pt>
                <c:pt idx="149" formatCode="0">
                  <c:v>900</c:v>
                </c:pt>
                <c:pt idx="150" formatCode="0">
                  <c:v>900</c:v>
                </c:pt>
                <c:pt idx="151" formatCode="0">
                  <c:v>900</c:v>
                </c:pt>
                <c:pt idx="152" formatCode="0">
                  <c:v>900</c:v>
                </c:pt>
                <c:pt idx="153" formatCode="0">
                  <c:v>900</c:v>
                </c:pt>
                <c:pt idx="154" formatCode="0">
                  <c:v>900</c:v>
                </c:pt>
                <c:pt idx="155" formatCode="0">
                  <c:v>900</c:v>
                </c:pt>
                <c:pt idx="156" formatCode="0">
                  <c:v>900</c:v>
                </c:pt>
                <c:pt idx="157" formatCode="0">
                  <c:v>900</c:v>
                </c:pt>
                <c:pt idx="158" formatCode="0">
                  <c:v>900</c:v>
                </c:pt>
                <c:pt idx="159" formatCode="0">
                  <c:v>900</c:v>
                </c:pt>
                <c:pt idx="160" formatCode="0">
                  <c:v>900</c:v>
                </c:pt>
                <c:pt idx="161" formatCode="0">
                  <c:v>900</c:v>
                </c:pt>
                <c:pt idx="162" formatCode="0">
                  <c:v>900</c:v>
                </c:pt>
                <c:pt idx="163" formatCode="0">
                  <c:v>900</c:v>
                </c:pt>
                <c:pt idx="164" formatCode="0">
                  <c:v>900</c:v>
                </c:pt>
                <c:pt idx="165" formatCode="0">
                  <c:v>900</c:v>
                </c:pt>
                <c:pt idx="166" formatCode="0">
                  <c:v>900</c:v>
                </c:pt>
                <c:pt idx="167" formatCode="0">
                  <c:v>900</c:v>
                </c:pt>
                <c:pt idx="250" formatCode="0">
                  <c:v>900</c:v>
                </c:pt>
                <c:pt idx="251" formatCode="0">
                  <c:v>900</c:v>
                </c:pt>
                <c:pt idx="252" formatCode="0">
                  <c:v>900</c:v>
                </c:pt>
                <c:pt idx="253" formatCode="0">
                  <c:v>900</c:v>
                </c:pt>
                <c:pt idx="254" formatCode="0">
                  <c:v>900</c:v>
                </c:pt>
                <c:pt idx="255" formatCode="0">
                  <c:v>900</c:v>
                </c:pt>
                <c:pt idx="256" formatCode="0">
                  <c:v>900</c:v>
                </c:pt>
                <c:pt idx="257" formatCode="0">
                  <c:v>900</c:v>
                </c:pt>
                <c:pt idx="258" formatCode="0">
                  <c:v>900</c:v>
                </c:pt>
                <c:pt idx="259" formatCode="0">
                  <c:v>900</c:v>
                </c:pt>
                <c:pt idx="260" formatCode="0">
                  <c:v>900</c:v>
                </c:pt>
                <c:pt idx="261" formatCode="0">
                  <c:v>900</c:v>
                </c:pt>
                <c:pt idx="262" formatCode="0">
                  <c:v>900</c:v>
                </c:pt>
                <c:pt idx="263" formatCode="0">
                  <c:v>900</c:v>
                </c:pt>
                <c:pt idx="264" formatCode="0">
                  <c:v>900</c:v>
                </c:pt>
                <c:pt idx="265" formatCode="0">
                  <c:v>900</c:v>
                </c:pt>
                <c:pt idx="266" formatCode="0">
                  <c:v>900</c:v>
                </c:pt>
                <c:pt idx="267" formatCode="0">
                  <c:v>900</c:v>
                </c:pt>
                <c:pt idx="268" formatCode="0">
                  <c:v>900</c:v>
                </c:pt>
                <c:pt idx="269" formatCode="0">
                  <c:v>900</c:v>
                </c:pt>
                <c:pt idx="270" formatCode="0">
                  <c:v>900</c:v>
                </c:pt>
                <c:pt idx="271" formatCode="0">
                  <c:v>900</c:v>
                </c:pt>
                <c:pt idx="272" formatCode="0">
                  <c:v>900</c:v>
                </c:pt>
                <c:pt idx="273" formatCode="0">
                  <c:v>900</c:v>
                </c:pt>
                <c:pt idx="274" formatCode="0">
                  <c:v>900</c:v>
                </c:pt>
                <c:pt idx="275" formatCode="0">
                  <c:v>900</c:v>
                </c:pt>
                <c:pt idx="276" formatCode="0">
                  <c:v>900</c:v>
                </c:pt>
                <c:pt idx="277" formatCode="0">
                  <c:v>900</c:v>
                </c:pt>
                <c:pt idx="278" formatCode="0">
                  <c:v>900</c:v>
                </c:pt>
                <c:pt idx="279" formatCode="0">
                  <c:v>900</c:v>
                </c:pt>
                <c:pt idx="280" formatCode="0">
                  <c:v>900</c:v>
                </c:pt>
                <c:pt idx="281" formatCode="0">
                  <c:v>900</c:v>
                </c:pt>
                <c:pt idx="282" formatCode="0">
                  <c:v>900</c:v>
                </c:pt>
                <c:pt idx="283" formatCode="0">
                  <c:v>900</c:v>
                </c:pt>
                <c:pt idx="284" formatCode="0">
                  <c:v>900</c:v>
                </c:pt>
                <c:pt idx="285" formatCode="0">
                  <c:v>900</c:v>
                </c:pt>
                <c:pt idx="286" formatCode="0">
                  <c:v>900</c:v>
                </c:pt>
                <c:pt idx="287" formatCode="0">
                  <c:v>900</c:v>
                </c:pt>
                <c:pt idx="288" formatCode="0">
                  <c:v>900</c:v>
                </c:pt>
                <c:pt idx="289" formatCode="0">
                  <c:v>900</c:v>
                </c:pt>
                <c:pt idx="290" formatCode="0">
                  <c:v>900</c:v>
                </c:pt>
                <c:pt idx="291" formatCode="0">
                  <c:v>900</c:v>
                </c:pt>
                <c:pt idx="292" formatCode="0">
                  <c:v>900</c:v>
                </c:pt>
                <c:pt idx="293" formatCode="0">
                  <c:v>900</c:v>
                </c:pt>
                <c:pt idx="294" formatCode="0">
                  <c:v>900</c:v>
                </c:pt>
                <c:pt idx="295" formatCode="0">
                  <c:v>900</c:v>
                </c:pt>
                <c:pt idx="296" formatCode="0">
                  <c:v>900</c:v>
                </c:pt>
                <c:pt idx="297" formatCode="0">
                  <c:v>900</c:v>
                </c:pt>
                <c:pt idx="298" formatCode="0">
                  <c:v>900</c:v>
                </c:pt>
                <c:pt idx="299" formatCode="0">
                  <c:v>900</c:v>
                </c:pt>
                <c:pt idx="300" formatCode="0">
                  <c:v>900</c:v>
                </c:pt>
                <c:pt idx="301" formatCode="0">
                  <c:v>900</c:v>
                </c:pt>
                <c:pt idx="302" formatCode="0">
                  <c:v>900</c:v>
                </c:pt>
                <c:pt idx="303" formatCode="0">
                  <c:v>900</c:v>
                </c:pt>
                <c:pt idx="304" formatCode="0">
                  <c:v>900</c:v>
                </c:pt>
                <c:pt idx="305" formatCode="0">
                  <c:v>900</c:v>
                </c:pt>
                <c:pt idx="306" formatCode="0">
                  <c:v>0</c:v>
                </c:pt>
                <c:pt idx="307" formatCode="0">
                  <c:v>0</c:v>
                </c:pt>
                <c:pt idx="308" formatCode="0">
                  <c:v>0</c:v>
                </c:pt>
                <c:pt idx="309" formatCode="0">
                  <c:v>0</c:v>
                </c:pt>
                <c:pt idx="310" formatCode="0">
                  <c:v>0</c:v>
                </c:pt>
                <c:pt idx="311" formatCode="0">
                  <c:v>0</c:v>
                </c:pt>
                <c:pt idx="312" formatCode="0">
                  <c:v>0</c:v>
                </c:pt>
                <c:pt idx="313" formatCode="0">
                  <c:v>0</c:v>
                </c:pt>
                <c:pt idx="314" formatCode="0">
                  <c:v>0</c:v>
                </c:pt>
                <c:pt idx="315" formatCode="0">
                  <c:v>0</c:v>
                </c:pt>
                <c:pt idx="316" formatCode="0">
                  <c:v>0</c:v>
                </c:pt>
                <c:pt idx="317" formatCode="0">
                  <c:v>0</c:v>
                </c:pt>
                <c:pt idx="318" formatCode="0">
                  <c:v>0</c:v>
                </c:pt>
                <c:pt idx="319" formatCode="0">
                  <c:v>0</c:v>
                </c:pt>
                <c:pt idx="320" formatCode="0">
                  <c:v>0</c:v>
                </c:pt>
                <c:pt idx="321" formatCode="0">
                  <c:v>0</c:v>
                </c:pt>
                <c:pt idx="322" formatCode="0">
                  <c:v>0</c:v>
                </c:pt>
                <c:pt idx="323" formatCode="0">
                  <c:v>0</c:v>
                </c:pt>
                <c:pt idx="324" formatCode="0">
                  <c:v>0</c:v>
                </c:pt>
                <c:pt idx="325" formatCode="0">
                  <c:v>0</c:v>
                </c:pt>
                <c:pt idx="326" formatCode="0">
                  <c:v>0</c:v>
                </c:pt>
                <c:pt idx="327" formatCode="0">
                  <c:v>0</c:v>
                </c:pt>
                <c:pt idx="328" formatCode="0">
                  <c:v>0</c:v>
                </c:pt>
                <c:pt idx="329" formatCode="0">
                  <c:v>0</c:v>
                </c:pt>
                <c:pt idx="330" formatCode="0">
                  <c:v>0</c:v>
                </c:pt>
                <c:pt idx="331" formatCode="0">
                  <c:v>0</c:v>
                </c:pt>
                <c:pt idx="332" formatCode="0">
                  <c:v>0</c:v>
                </c:pt>
                <c:pt idx="333" formatCode="0">
                  <c:v>0</c:v>
                </c:pt>
                <c:pt idx="334" formatCode="0">
                  <c:v>900</c:v>
                </c:pt>
                <c:pt idx="335" formatCode="0">
                  <c:v>900</c:v>
                </c:pt>
                <c:pt idx="336" formatCode="0">
                  <c:v>900</c:v>
                </c:pt>
                <c:pt idx="337" formatCode="0">
                  <c:v>900</c:v>
                </c:pt>
                <c:pt idx="338" formatCode="0">
                  <c:v>900</c:v>
                </c:pt>
                <c:pt idx="339" formatCode="0">
                  <c:v>900</c:v>
                </c:pt>
                <c:pt idx="340" formatCode="0">
                  <c:v>900</c:v>
                </c:pt>
                <c:pt idx="341" formatCode="0">
                  <c:v>900</c:v>
                </c:pt>
                <c:pt idx="342" formatCode="0">
                  <c:v>900</c:v>
                </c:pt>
                <c:pt idx="343" formatCode="0">
                  <c:v>900</c:v>
                </c:pt>
                <c:pt idx="344" formatCode="0">
                  <c:v>900</c:v>
                </c:pt>
                <c:pt idx="345" formatCode="0">
                  <c:v>900</c:v>
                </c:pt>
                <c:pt idx="346" formatCode="0">
                  <c:v>900</c:v>
                </c:pt>
                <c:pt idx="347" formatCode="0">
                  <c:v>900</c:v>
                </c:pt>
                <c:pt idx="348" formatCode="0">
                  <c:v>900</c:v>
                </c:pt>
                <c:pt idx="349" formatCode="0">
                  <c:v>900</c:v>
                </c:pt>
                <c:pt idx="350" formatCode="0">
                  <c:v>900</c:v>
                </c:pt>
                <c:pt idx="351" formatCode="0">
                  <c:v>900</c:v>
                </c:pt>
                <c:pt idx="352" formatCode="0">
                  <c:v>900</c:v>
                </c:pt>
                <c:pt idx="353" formatCode="0">
                  <c:v>900</c:v>
                </c:pt>
                <c:pt idx="354" formatCode="0">
                  <c:v>900</c:v>
                </c:pt>
                <c:pt idx="355" formatCode="0">
                  <c:v>900</c:v>
                </c:pt>
                <c:pt idx="356" formatCode="0">
                  <c:v>900</c:v>
                </c:pt>
                <c:pt idx="357" formatCode="0">
                  <c:v>900</c:v>
                </c:pt>
                <c:pt idx="358" formatCode="0">
                  <c:v>900</c:v>
                </c:pt>
                <c:pt idx="359" formatCode="0">
                  <c:v>900</c:v>
                </c:pt>
                <c:pt idx="360" formatCode="0">
                  <c:v>900</c:v>
                </c:pt>
                <c:pt idx="361" formatCode="0">
                  <c:v>900</c:v>
                </c:pt>
                <c:pt idx="362" formatCode="0">
                  <c:v>900</c:v>
                </c:pt>
                <c:pt idx="363" formatCode="0">
                  <c:v>900</c:v>
                </c:pt>
                <c:pt idx="364" formatCode="0">
                  <c:v>900</c:v>
                </c:pt>
                <c:pt idx="365" formatCode="0">
                  <c:v>900</c:v>
                </c:pt>
                <c:pt idx="366" formatCode="0">
                  <c:v>900</c:v>
                </c:pt>
                <c:pt idx="367" formatCode="0">
                  <c:v>900</c:v>
                </c:pt>
                <c:pt idx="368" formatCode="0">
                  <c:v>900</c:v>
                </c:pt>
                <c:pt idx="369" formatCode="0">
                  <c:v>900</c:v>
                </c:pt>
                <c:pt idx="370" formatCode="0">
                  <c:v>900</c:v>
                </c:pt>
                <c:pt idx="371" formatCode="0">
                  <c:v>900</c:v>
                </c:pt>
                <c:pt idx="372" formatCode="0">
                  <c:v>900</c:v>
                </c:pt>
                <c:pt idx="373" formatCode="0">
                  <c:v>900</c:v>
                </c:pt>
                <c:pt idx="374" formatCode="0">
                  <c:v>900</c:v>
                </c:pt>
                <c:pt idx="375" formatCode="0">
                  <c:v>900</c:v>
                </c:pt>
                <c:pt idx="376" formatCode="0">
                  <c:v>900</c:v>
                </c:pt>
                <c:pt idx="377" formatCode="0">
                  <c:v>900</c:v>
                </c:pt>
                <c:pt idx="378" formatCode="0">
                  <c:v>900</c:v>
                </c:pt>
                <c:pt idx="379" formatCode="0">
                  <c:v>900</c:v>
                </c:pt>
                <c:pt idx="380" formatCode="0">
                  <c:v>900</c:v>
                </c:pt>
                <c:pt idx="381" formatCode="0">
                  <c:v>900</c:v>
                </c:pt>
                <c:pt idx="382" formatCode="0">
                  <c:v>900</c:v>
                </c:pt>
                <c:pt idx="383" formatCode="0">
                  <c:v>900</c:v>
                </c:pt>
                <c:pt idx="384" formatCode="0">
                  <c:v>900</c:v>
                </c:pt>
                <c:pt idx="385" formatCode="0">
                  <c:v>900</c:v>
                </c:pt>
                <c:pt idx="386" formatCode="0">
                  <c:v>900</c:v>
                </c:pt>
                <c:pt idx="387" formatCode="0">
                  <c:v>900</c:v>
                </c:pt>
                <c:pt idx="388" formatCode="0">
                  <c:v>900</c:v>
                </c:pt>
                <c:pt idx="389" formatCode="0">
                  <c:v>900</c:v>
                </c:pt>
                <c:pt idx="390" formatCode="0">
                  <c:v>900</c:v>
                </c:pt>
                <c:pt idx="391" formatCode="0">
                  <c:v>900</c:v>
                </c:pt>
                <c:pt idx="392" formatCode="0">
                  <c:v>900</c:v>
                </c:pt>
                <c:pt idx="393" formatCode="0">
                  <c:v>900</c:v>
                </c:pt>
                <c:pt idx="394" formatCode="0">
                  <c:v>900</c:v>
                </c:pt>
                <c:pt idx="395" formatCode="0">
                  <c:v>900</c:v>
                </c:pt>
                <c:pt idx="396" formatCode="0">
                  <c:v>900</c:v>
                </c:pt>
                <c:pt idx="397" formatCode="0">
                  <c:v>900</c:v>
                </c:pt>
                <c:pt idx="398" formatCode="0">
                  <c:v>900</c:v>
                </c:pt>
                <c:pt idx="399" formatCode="0">
                  <c:v>900</c:v>
                </c:pt>
                <c:pt idx="400" formatCode="0">
                  <c:v>900</c:v>
                </c:pt>
                <c:pt idx="401" formatCode="0">
                  <c:v>900</c:v>
                </c:pt>
                <c:pt idx="402" formatCode="0">
                  <c:v>900</c:v>
                </c:pt>
                <c:pt idx="403" formatCode="0">
                  <c:v>900</c:v>
                </c:pt>
                <c:pt idx="404" formatCode="0">
                  <c:v>900</c:v>
                </c:pt>
                <c:pt idx="405" formatCode="0">
                  <c:v>900</c:v>
                </c:pt>
                <c:pt idx="406" formatCode="0">
                  <c:v>900</c:v>
                </c:pt>
                <c:pt idx="407" formatCode="0">
                  <c:v>900</c:v>
                </c:pt>
                <c:pt idx="408" formatCode="0">
                  <c:v>900</c:v>
                </c:pt>
                <c:pt idx="409" formatCode="0">
                  <c:v>900</c:v>
                </c:pt>
                <c:pt idx="410" formatCode="0">
                  <c:v>900</c:v>
                </c:pt>
                <c:pt idx="411" formatCode="0">
                  <c:v>900</c:v>
                </c:pt>
                <c:pt idx="412" formatCode="0">
                  <c:v>900</c:v>
                </c:pt>
                <c:pt idx="413" formatCode="0">
                  <c:v>900</c:v>
                </c:pt>
                <c:pt idx="414" formatCode="0">
                  <c:v>900</c:v>
                </c:pt>
                <c:pt idx="415" formatCode="0">
                  <c:v>900</c:v>
                </c:pt>
                <c:pt idx="416" formatCode="0">
                  <c:v>900</c:v>
                </c:pt>
                <c:pt idx="417" formatCode="0">
                  <c:v>900</c:v>
                </c:pt>
                <c:pt idx="418" formatCode="0">
                  <c:v>900</c:v>
                </c:pt>
                <c:pt idx="419" formatCode="0">
                  <c:v>900</c:v>
                </c:pt>
                <c:pt idx="420" formatCode="0">
                  <c:v>900</c:v>
                </c:pt>
                <c:pt idx="421" formatCode="0">
                  <c:v>900</c:v>
                </c:pt>
                <c:pt idx="422" formatCode="0">
                  <c:v>900</c:v>
                </c:pt>
                <c:pt idx="423" formatCode="0">
                  <c:v>900</c:v>
                </c:pt>
                <c:pt idx="424" formatCode="0">
                  <c:v>900</c:v>
                </c:pt>
                <c:pt idx="425" formatCode="0">
                  <c:v>900</c:v>
                </c:pt>
                <c:pt idx="426" formatCode="0">
                  <c:v>900</c:v>
                </c:pt>
                <c:pt idx="427" formatCode="0">
                  <c:v>900</c:v>
                </c:pt>
                <c:pt idx="428" formatCode="0">
                  <c:v>900</c:v>
                </c:pt>
                <c:pt idx="429" formatCode="0">
                  <c:v>900</c:v>
                </c:pt>
                <c:pt idx="430" formatCode="0">
                  <c:v>900</c:v>
                </c:pt>
                <c:pt idx="431" formatCode="0">
                  <c:v>900</c:v>
                </c:pt>
                <c:pt idx="432" formatCode="0">
                  <c:v>900</c:v>
                </c:pt>
                <c:pt idx="433" formatCode="0">
                  <c:v>900</c:v>
                </c:pt>
                <c:pt idx="434" formatCode="0">
                  <c:v>900</c:v>
                </c:pt>
                <c:pt idx="435" formatCode="0">
                  <c:v>900</c:v>
                </c:pt>
                <c:pt idx="436" formatCode="0">
                  <c:v>900</c:v>
                </c:pt>
                <c:pt idx="437" formatCode="0">
                  <c:v>900</c:v>
                </c:pt>
                <c:pt idx="438" formatCode="0">
                  <c:v>900</c:v>
                </c:pt>
                <c:pt idx="439" formatCode="0">
                  <c:v>900</c:v>
                </c:pt>
                <c:pt idx="440" formatCode="0">
                  <c:v>900</c:v>
                </c:pt>
                <c:pt idx="441" formatCode="0">
                  <c:v>900</c:v>
                </c:pt>
                <c:pt idx="442" formatCode="0">
                  <c:v>900</c:v>
                </c:pt>
                <c:pt idx="443" formatCode="0">
                  <c:v>900</c:v>
                </c:pt>
                <c:pt idx="444" formatCode="0">
                  <c:v>900</c:v>
                </c:pt>
                <c:pt idx="445" formatCode="0">
                  <c:v>900</c:v>
                </c:pt>
                <c:pt idx="446" formatCode="0">
                  <c:v>900</c:v>
                </c:pt>
                <c:pt idx="447" formatCode="0">
                  <c:v>900</c:v>
                </c:pt>
                <c:pt idx="448" formatCode="0">
                  <c:v>900</c:v>
                </c:pt>
                <c:pt idx="449" formatCode="0">
                  <c:v>900</c:v>
                </c:pt>
                <c:pt idx="450" formatCode="0">
                  <c:v>900</c:v>
                </c:pt>
                <c:pt idx="451" formatCode="0">
                  <c:v>900</c:v>
                </c:pt>
                <c:pt idx="452" formatCode="0">
                  <c:v>900</c:v>
                </c:pt>
                <c:pt idx="453" formatCode="0">
                  <c:v>900</c:v>
                </c:pt>
                <c:pt idx="454" formatCode="0">
                  <c:v>900</c:v>
                </c:pt>
                <c:pt idx="455" formatCode="0">
                  <c:v>900</c:v>
                </c:pt>
                <c:pt idx="456" formatCode="0">
                  <c:v>900</c:v>
                </c:pt>
                <c:pt idx="457" formatCode="0">
                  <c:v>900</c:v>
                </c:pt>
                <c:pt idx="458" formatCode="0">
                  <c:v>900</c:v>
                </c:pt>
                <c:pt idx="459" formatCode="0">
                  <c:v>900</c:v>
                </c:pt>
                <c:pt idx="460" formatCode="0">
                  <c:v>900</c:v>
                </c:pt>
                <c:pt idx="461" formatCode="0">
                  <c:v>900</c:v>
                </c:pt>
                <c:pt idx="462" formatCode="0">
                  <c:v>900</c:v>
                </c:pt>
                <c:pt idx="463" formatCode="0">
                  <c:v>900</c:v>
                </c:pt>
                <c:pt idx="464" formatCode="0">
                  <c:v>900</c:v>
                </c:pt>
                <c:pt idx="465" formatCode="0">
                  <c:v>900</c:v>
                </c:pt>
                <c:pt idx="466" formatCode="0">
                  <c:v>900</c:v>
                </c:pt>
                <c:pt idx="467" formatCode="0">
                  <c:v>900</c:v>
                </c:pt>
                <c:pt idx="468" formatCode="0">
                  <c:v>900</c:v>
                </c:pt>
                <c:pt idx="469" formatCode="0">
                  <c:v>900</c:v>
                </c:pt>
                <c:pt idx="470" formatCode="0">
                  <c:v>900</c:v>
                </c:pt>
                <c:pt idx="471" formatCode="0">
                  <c:v>900</c:v>
                </c:pt>
                <c:pt idx="472" formatCode="0">
                  <c:v>900</c:v>
                </c:pt>
                <c:pt idx="473" formatCode="0">
                  <c:v>900</c:v>
                </c:pt>
                <c:pt idx="474" formatCode="0">
                  <c:v>900</c:v>
                </c:pt>
                <c:pt idx="475" formatCode="0">
                  <c:v>900</c:v>
                </c:pt>
                <c:pt idx="476" formatCode="0">
                  <c:v>900</c:v>
                </c:pt>
                <c:pt idx="477" formatCode="0">
                  <c:v>900</c:v>
                </c:pt>
                <c:pt idx="478" formatCode="0">
                  <c:v>900</c:v>
                </c:pt>
                <c:pt idx="479" formatCode="0">
                  <c:v>900</c:v>
                </c:pt>
                <c:pt idx="480" formatCode="0">
                  <c:v>900</c:v>
                </c:pt>
                <c:pt idx="481" formatCode="0">
                  <c:v>900</c:v>
                </c:pt>
                <c:pt idx="482" formatCode="0">
                  <c:v>900</c:v>
                </c:pt>
                <c:pt idx="483" formatCode="0">
                  <c:v>900</c:v>
                </c:pt>
                <c:pt idx="484" formatCode="0">
                  <c:v>900</c:v>
                </c:pt>
                <c:pt idx="485" formatCode="0">
                  <c:v>900</c:v>
                </c:pt>
                <c:pt idx="486" formatCode="0">
                  <c:v>900</c:v>
                </c:pt>
                <c:pt idx="487" formatCode="0">
                  <c:v>900</c:v>
                </c:pt>
                <c:pt idx="488" formatCode="0">
                  <c:v>900</c:v>
                </c:pt>
                <c:pt idx="489" formatCode="0">
                  <c:v>900</c:v>
                </c:pt>
                <c:pt idx="490" formatCode="0">
                  <c:v>900</c:v>
                </c:pt>
                <c:pt idx="491" formatCode="0">
                  <c:v>900</c:v>
                </c:pt>
                <c:pt idx="492" formatCode="0">
                  <c:v>900</c:v>
                </c:pt>
                <c:pt idx="493" formatCode="0">
                  <c:v>900</c:v>
                </c:pt>
                <c:pt idx="494" formatCode="0">
                  <c:v>900</c:v>
                </c:pt>
                <c:pt idx="495" formatCode="0">
                  <c:v>900</c:v>
                </c:pt>
                <c:pt idx="496" formatCode="0">
                  <c:v>900</c:v>
                </c:pt>
                <c:pt idx="497" formatCode="0">
                  <c:v>900</c:v>
                </c:pt>
                <c:pt idx="498" formatCode="0">
                  <c:v>900</c:v>
                </c:pt>
                <c:pt idx="499" formatCode="0">
                  <c:v>900</c:v>
                </c:pt>
                <c:pt idx="500" formatCode="0">
                  <c:v>900</c:v>
                </c:pt>
                <c:pt idx="501" formatCode="0">
                  <c:v>900</c:v>
                </c:pt>
                <c:pt idx="502" formatCode="0">
                  <c:v>900</c:v>
                </c:pt>
                <c:pt idx="503" formatCode="0">
                  <c:v>900</c:v>
                </c:pt>
                <c:pt idx="504" formatCode="0">
                  <c:v>900</c:v>
                </c:pt>
              </c:numCache>
            </c:numRef>
          </c:val>
          <c:extLst>
            <c:ext xmlns:c16="http://schemas.microsoft.com/office/drawing/2014/chart" uri="{C3380CC4-5D6E-409C-BE32-E72D297353CC}">
              <c16:uniqueId val="{00000000-1D52-4AF4-98CA-071069331375}"/>
            </c:ext>
          </c:extLst>
        </c:ser>
        <c:dLbls>
          <c:showLegendKey val="0"/>
          <c:showVal val="0"/>
          <c:showCatName val="0"/>
          <c:showSerName val="0"/>
          <c:showPercent val="0"/>
          <c:showBubbleSize val="0"/>
        </c:dLbls>
        <c:gapWidth val="150"/>
        <c:axId val="197384064"/>
        <c:axId val="197385600"/>
        <c:extLst>
          <c:ext xmlns:c15="http://schemas.microsoft.com/office/drawing/2012/chart" uri="{02D57815-91ED-43cb-92C2-25804820EDAC}">
            <c15:filteredBarSeries>
              <c15:ser>
                <c:idx val="0"/>
                <c:order val="1"/>
                <c:tx>
                  <c:strRef>
                    <c:extLst>
                      <c:ext uri="{02D57815-91ED-43cb-92C2-25804820EDAC}">
                        <c15:formulaRef>
                          <c15:sqref>Detalle!#REF!</c15:sqref>
                        </c15:formulaRef>
                      </c:ext>
                    </c:extLst>
                    <c:strCache>
                      <c:ptCount val="1"/>
                      <c:pt idx="0">
                        <c:v>#REF!</c:v>
                      </c:pt>
                    </c:strCache>
                  </c:strRef>
                </c:tx>
                <c:spPr>
                  <a:solidFill>
                    <a:schemeClr val="accent1"/>
                  </a:solidFill>
                  <a:ln>
                    <a:noFill/>
                  </a:ln>
                  <a:effectLst/>
                </c:spPr>
                <c:invertIfNegative val="0"/>
                <c:cat>
                  <c:numRef>
                    <c:extLst>
                      <c:ext uri="{02D57815-91ED-43cb-92C2-25804820EDAC}">
                        <c15:formulaRef>
                          <c15:sqref>World!$A$94:$A$598</c15:sqref>
                        </c15:formulaRef>
                      </c:ext>
                    </c:extLst>
                    <c:numCache>
                      <c:formatCode>dd/mm/yy;@</c:formatCode>
                      <c:ptCount val="505"/>
                      <c:pt idx="0">
                        <c:v>43922</c:v>
                      </c:pt>
                      <c:pt idx="1">
                        <c:v>43923</c:v>
                      </c:pt>
                      <c:pt idx="2">
                        <c:v>43924</c:v>
                      </c:pt>
                      <c:pt idx="3">
                        <c:v>43925</c:v>
                      </c:pt>
                      <c:pt idx="4">
                        <c:v>43926</c:v>
                      </c:pt>
                      <c:pt idx="5">
                        <c:v>43927</c:v>
                      </c:pt>
                      <c:pt idx="6">
                        <c:v>43928</c:v>
                      </c:pt>
                      <c:pt idx="7">
                        <c:v>43929</c:v>
                      </c:pt>
                      <c:pt idx="8">
                        <c:v>43930</c:v>
                      </c:pt>
                      <c:pt idx="9">
                        <c:v>43931</c:v>
                      </c:pt>
                      <c:pt idx="10">
                        <c:v>43932</c:v>
                      </c:pt>
                      <c:pt idx="11">
                        <c:v>43933</c:v>
                      </c:pt>
                      <c:pt idx="12">
                        <c:v>43934</c:v>
                      </c:pt>
                      <c:pt idx="13">
                        <c:v>43935</c:v>
                      </c:pt>
                      <c:pt idx="14">
                        <c:v>43936</c:v>
                      </c:pt>
                      <c:pt idx="15">
                        <c:v>43937</c:v>
                      </c:pt>
                      <c:pt idx="16">
                        <c:v>43938</c:v>
                      </c:pt>
                      <c:pt idx="17">
                        <c:v>43939</c:v>
                      </c:pt>
                      <c:pt idx="18">
                        <c:v>43940</c:v>
                      </c:pt>
                      <c:pt idx="19">
                        <c:v>43941</c:v>
                      </c:pt>
                      <c:pt idx="20">
                        <c:v>43942</c:v>
                      </c:pt>
                      <c:pt idx="21">
                        <c:v>43943</c:v>
                      </c:pt>
                      <c:pt idx="22">
                        <c:v>43944</c:v>
                      </c:pt>
                      <c:pt idx="23">
                        <c:v>43945</c:v>
                      </c:pt>
                      <c:pt idx="24">
                        <c:v>43946</c:v>
                      </c:pt>
                      <c:pt idx="25">
                        <c:v>43947</c:v>
                      </c:pt>
                      <c:pt idx="26">
                        <c:v>43948</c:v>
                      </c:pt>
                      <c:pt idx="27">
                        <c:v>43949</c:v>
                      </c:pt>
                      <c:pt idx="28">
                        <c:v>43950</c:v>
                      </c:pt>
                      <c:pt idx="29">
                        <c:v>43951</c:v>
                      </c:pt>
                      <c:pt idx="30">
                        <c:v>43952</c:v>
                      </c:pt>
                      <c:pt idx="31">
                        <c:v>43953</c:v>
                      </c:pt>
                      <c:pt idx="32">
                        <c:v>43954</c:v>
                      </c:pt>
                      <c:pt idx="33">
                        <c:v>43955</c:v>
                      </c:pt>
                      <c:pt idx="34">
                        <c:v>43956</c:v>
                      </c:pt>
                      <c:pt idx="35">
                        <c:v>43957</c:v>
                      </c:pt>
                      <c:pt idx="36">
                        <c:v>43958</c:v>
                      </c:pt>
                      <c:pt idx="37">
                        <c:v>43959</c:v>
                      </c:pt>
                      <c:pt idx="38">
                        <c:v>43960</c:v>
                      </c:pt>
                      <c:pt idx="39">
                        <c:v>43961</c:v>
                      </c:pt>
                      <c:pt idx="40">
                        <c:v>43962</c:v>
                      </c:pt>
                      <c:pt idx="41">
                        <c:v>43963</c:v>
                      </c:pt>
                      <c:pt idx="42">
                        <c:v>43964</c:v>
                      </c:pt>
                      <c:pt idx="43">
                        <c:v>43965</c:v>
                      </c:pt>
                      <c:pt idx="44">
                        <c:v>43966</c:v>
                      </c:pt>
                      <c:pt idx="45">
                        <c:v>43967</c:v>
                      </c:pt>
                      <c:pt idx="46">
                        <c:v>43968</c:v>
                      </c:pt>
                      <c:pt idx="47">
                        <c:v>43969</c:v>
                      </c:pt>
                      <c:pt idx="48">
                        <c:v>43970</c:v>
                      </c:pt>
                      <c:pt idx="49">
                        <c:v>43971</c:v>
                      </c:pt>
                      <c:pt idx="50">
                        <c:v>43972</c:v>
                      </c:pt>
                      <c:pt idx="51">
                        <c:v>43973</c:v>
                      </c:pt>
                      <c:pt idx="52">
                        <c:v>43974</c:v>
                      </c:pt>
                      <c:pt idx="53">
                        <c:v>43975</c:v>
                      </c:pt>
                      <c:pt idx="54">
                        <c:v>43976</c:v>
                      </c:pt>
                      <c:pt idx="55">
                        <c:v>43977</c:v>
                      </c:pt>
                      <c:pt idx="56">
                        <c:v>43978</c:v>
                      </c:pt>
                      <c:pt idx="57">
                        <c:v>43979</c:v>
                      </c:pt>
                      <c:pt idx="58">
                        <c:v>43980</c:v>
                      </c:pt>
                      <c:pt idx="59">
                        <c:v>43981</c:v>
                      </c:pt>
                      <c:pt idx="60">
                        <c:v>43982</c:v>
                      </c:pt>
                      <c:pt idx="61">
                        <c:v>43983</c:v>
                      </c:pt>
                      <c:pt idx="62">
                        <c:v>43984</c:v>
                      </c:pt>
                      <c:pt idx="63">
                        <c:v>43985</c:v>
                      </c:pt>
                      <c:pt idx="64">
                        <c:v>43986</c:v>
                      </c:pt>
                      <c:pt idx="65">
                        <c:v>43987</c:v>
                      </c:pt>
                      <c:pt idx="66">
                        <c:v>43988</c:v>
                      </c:pt>
                      <c:pt idx="67">
                        <c:v>43989</c:v>
                      </c:pt>
                      <c:pt idx="68">
                        <c:v>43990</c:v>
                      </c:pt>
                      <c:pt idx="69">
                        <c:v>43991</c:v>
                      </c:pt>
                      <c:pt idx="70">
                        <c:v>43992</c:v>
                      </c:pt>
                      <c:pt idx="71">
                        <c:v>43993</c:v>
                      </c:pt>
                      <c:pt idx="72">
                        <c:v>43994</c:v>
                      </c:pt>
                      <c:pt idx="73">
                        <c:v>43995</c:v>
                      </c:pt>
                      <c:pt idx="74">
                        <c:v>43996</c:v>
                      </c:pt>
                      <c:pt idx="75">
                        <c:v>43997</c:v>
                      </c:pt>
                      <c:pt idx="76">
                        <c:v>43998</c:v>
                      </c:pt>
                      <c:pt idx="77">
                        <c:v>43999</c:v>
                      </c:pt>
                      <c:pt idx="78">
                        <c:v>44000</c:v>
                      </c:pt>
                      <c:pt idx="79">
                        <c:v>44001</c:v>
                      </c:pt>
                      <c:pt idx="80">
                        <c:v>44002</c:v>
                      </c:pt>
                      <c:pt idx="81">
                        <c:v>44003</c:v>
                      </c:pt>
                      <c:pt idx="82">
                        <c:v>44004</c:v>
                      </c:pt>
                      <c:pt idx="83">
                        <c:v>44005</c:v>
                      </c:pt>
                      <c:pt idx="84">
                        <c:v>44006</c:v>
                      </c:pt>
                      <c:pt idx="85">
                        <c:v>44007</c:v>
                      </c:pt>
                      <c:pt idx="86">
                        <c:v>44008</c:v>
                      </c:pt>
                      <c:pt idx="87">
                        <c:v>44009</c:v>
                      </c:pt>
                      <c:pt idx="88">
                        <c:v>44010</c:v>
                      </c:pt>
                      <c:pt idx="89">
                        <c:v>44011</c:v>
                      </c:pt>
                      <c:pt idx="90">
                        <c:v>44012</c:v>
                      </c:pt>
                      <c:pt idx="91">
                        <c:v>44013</c:v>
                      </c:pt>
                      <c:pt idx="92">
                        <c:v>44014</c:v>
                      </c:pt>
                      <c:pt idx="93">
                        <c:v>44015</c:v>
                      </c:pt>
                      <c:pt idx="94">
                        <c:v>44016</c:v>
                      </c:pt>
                      <c:pt idx="95">
                        <c:v>44017</c:v>
                      </c:pt>
                      <c:pt idx="96">
                        <c:v>44018</c:v>
                      </c:pt>
                      <c:pt idx="97">
                        <c:v>44019</c:v>
                      </c:pt>
                      <c:pt idx="98">
                        <c:v>44020</c:v>
                      </c:pt>
                      <c:pt idx="99">
                        <c:v>44021</c:v>
                      </c:pt>
                      <c:pt idx="100">
                        <c:v>44022</c:v>
                      </c:pt>
                      <c:pt idx="101">
                        <c:v>44023</c:v>
                      </c:pt>
                      <c:pt idx="102">
                        <c:v>44024</c:v>
                      </c:pt>
                      <c:pt idx="103">
                        <c:v>44025</c:v>
                      </c:pt>
                      <c:pt idx="104">
                        <c:v>44026</c:v>
                      </c:pt>
                      <c:pt idx="105">
                        <c:v>44027</c:v>
                      </c:pt>
                      <c:pt idx="106">
                        <c:v>44028</c:v>
                      </c:pt>
                      <c:pt idx="107">
                        <c:v>44029</c:v>
                      </c:pt>
                      <c:pt idx="108">
                        <c:v>44030</c:v>
                      </c:pt>
                      <c:pt idx="109">
                        <c:v>44031</c:v>
                      </c:pt>
                      <c:pt idx="110">
                        <c:v>44032</c:v>
                      </c:pt>
                      <c:pt idx="111">
                        <c:v>44033</c:v>
                      </c:pt>
                      <c:pt idx="112">
                        <c:v>44034</c:v>
                      </c:pt>
                      <c:pt idx="113">
                        <c:v>44035</c:v>
                      </c:pt>
                      <c:pt idx="114">
                        <c:v>44036</c:v>
                      </c:pt>
                      <c:pt idx="115">
                        <c:v>44037</c:v>
                      </c:pt>
                      <c:pt idx="116">
                        <c:v>44038</c:v>
                      </c:pt>
                      <c:pt idx="117">
                        <c:v>44039</c:v>
                      </c:pt>
                      <c:pt idx="118">
                        <c:v>44040</c:v>
                      </c:pt>
                      <c:pt idx="119">
                        <c:v>44041</c:v>
                      </c:pt>
                      <c:pt idx="120">
                        <c:v>44042</c:v>
                      </c:pt>
                      <c:pt idx="121">
                        <c:v>44043</c:v>
                      </c:pt>
                      <c:pt idx="122">
                        <c:v>44044</c:v>
                      </c:pt>
                      <c:pt idx="123">
                        <c:v>44045</c:v>
                      </c:pt>
                      <c:pt idx="124">
                        <c:v>44046</c:v>
                      </c:pt>
                      <c:pt idx="125">
                        <c:v>44047</c:v>
                      </c:pt>
                      <c:pt idx="126">
                        <c:v>44048</c:v>
                      </c:pt>
                      <c:pt idx="127">
                        <c:v>44049</c:v>
                      </c:pt>
                      <c:pt idx="128">
                        <c:v>44050</c:v>
                      </c:pt>
                      <c:pt idx="129">
                        <c:v>44051</c:v>
                      </c:pt>
                      <c:pt idx="130">
                        <c:v>44052</c:v>
                      </c:pt>
                      <c:pt idx="131">
                        <c:v>44053</c:v>
                      </c:pt>
                      <c:pt idx="132">
                        <c:v>44054</c:v>
                      </c:pt>
                      <c:pt idx="133">
                        <c:v>44055</c:v>
                      </c:pt>
                      <c:pt idx="134">
                        <c:v>44056</c:v>
                      </c:pt>
                      <c:pt idx="135">
                        <c:v>44057</c:v>
                      </c:pt>
                      <c:pt idx="136">
                        <c:v>44058</c:v>
                      </c:pt>
                      <c:pt idx="137">
                        <c:v>44059</c:v>
                      </c:pt>
                      <c:pt idx="138">
                        <c:v>44060</c:v>
                      </c:pt>
                      <c:pt idx="139">
                        <c:v>44061</c:v>
                      </c:pt>
                      <c:pt idx="140">
                        <c:v>44062</c:v>
                      </c:pt>
                      <c:pt idx="141">
                        <c:v>44063</c:v>
                      </c:pt>
                      <c:pt idx="142">
                        <c:v>44064</c:v>
                      </c:pt>
                      <c:pt idx="143">
                        <c:v>44065</c:v>
                      </c:pt>
                      <c:pt idx="144">
                        <c:v>44066</c:v>
                      </c:pt>
                      <c:pt idx="145">
                        <c:v>44067</c:v>
                      </c:pt>
                      <c:pt idx="146">
                        <c:v>44068</c:v>
                      </c:pt>
                      <c:pt idx="147">
                        <c:v>44069</c:v>
                      </c:pt>
                      <c:pt idx="148">
                        <c:v>44070</c:v>
                      </c:pt>
                      <c:pt idx="149">
                        <c:v>44071</c:v>
                      </c:pt>
                      <c:pt idx="150">
                        <c:v>44072</c:v>
                      </c:pt>
                      <c:pt idx="151">
                        <c:v>44073</c:v>
                      </c:pt>
                      <c:pt idx="152">
                        <c:v>44074</c:v>
                      </c:pt>
                      <c:pt idx="153">
                        <c:v>44075</c:v>
                      </c:pt>
                      <c:pt idx="154">
                        <c:v>44076</c:v>
                      </c:pt>
                      <c:pt idx="155">
                        <c:v>44077</c:v>
                      </c:pt>
                      <c:pt idx="156">
                        <c:v>44078</c:v>
                      </c:pt>
                      <c:pt idx="157">
                        <c:v>44079</c:v>
                      </c:pt>
                      <c:pt idx="158">
                        <c:v>44080</c:v>
                      </c:pt>
                      <c:pt idx="159">
                        <c:v>44081</c:v>
                      </c:pt>
                      <c:pt idx="160">
                        <c:v>44082</c:v>
                      </c:pt>
                      <c:pt idx="161">
                        <c:v>44083</c:v>
                      </c:pt>
                      <c:pt idx="162">
                        <c:v>44084</c:v>
                      </c:pt>
                      <c:pt idx="163">
                        <c:v>44085</c:v>
                      </c:pt>
                      <c:pt idx="164">
                        <c:v>44086</c:v>
                      </c:pt>
                      <c:pt idx="165">
                        <c:v>44087</c:v>
                      </c:pt>
                      <c:pt idx="166">
                        <c:v>44088</c:v>
                      </c:pt>
                      <c:pt idx="167">
                        <c:v>44089</c:v>
                      </c:pt>
                      <c:pt idx="168">
                        <c:v>44090</c:v>
                      </c:pt>
                      <c:pt idx="169">
                        <c:v>44091</c:v>
                      </c:pt>
                      <c:pt idx="170">
                        <c:v>44092</c:v>
                      </c:pt>
                      <c:pt idx="171">
                        <c:v>44093</c:v>
                      </c:pt>
                      <c:pt idx="172">
                        <c:v>44094</c:v>
                      </c:pt>
                      <c:pt idx="173">
                        <c:v>44095</c:v>
                      </c:pt>
                      <c:pt idx="174">
                        <c:v>44096</c:v>
                      </c:pt>
                      <c:pt idx="175">
                        <c:v>44097</c:v>
                      </c:pt>
                      <c:pt idx="176">
                        <c:v>44098</c:v>
                      </c:pt>
                      <c:pt idx="177">
                        <c:v>44099</c:v>
                      </c:pt>
                      <c:pt idx="178">
                        <c:v>44100</c:v>
                      </c:pt>
                      <c:pt idx="179">
                        <c:v>44101</c:v>
                      </c:pt>
                      <c:pt idx="180">
                        <c:v>44102</c:v>
                      </c:pt>
                      <c:pt idx="181">
                        <c:v>44103</c:v>
                      </c:pt>
                      <c:pt idx="182">
                        <c:v>44104</c:v>
                      </c:pt>
                      <c:pt idx="183">
                        <c:v>44105</c:v>
                      </c:pt>
                      <c:pt idx="184">
                        <c:v>44106</c:v>
                      </c:pt>
                      <c:pt idx="185">
                        <c:v>44107</c:v>
                      </c:pt>
                      <c:pt idx="186">
                        <c:v>44108</c:v>
                      </c:pt>
                      <c:pt idx="187">
                        <c:v>44109</c:v>
                      </c:pt>
                      <c:pt idx="188">
                        <c:v>44110</c:v>
                      </c:pt>
                      <c:pt idx="189">
                        <c:v>44111</c:v>
                      </c:pt>
                      <c:pt idx="190">
                        <c:v>44112</c:v>
                      </c:pt>
                      <c:pt idx="191">
                        <c:v>44113</c:v>
                      </c:pt>
                      <c:pt idx="192">
                        <c:v>44114</c:v>
                      </c:pt>
                      <c:pt idx="193">
                        <c:v>44115</c:v>
                      </c:pt>
                      <c:pt idx="194">
                        <c:v>44116</c:v>
                      </c:pt>
                      <c:pt idx="195">
                        <c:v>44117</c:v>
                      </c:pt>
                      <c:pt idx="196">
                        <c:v>44118</c:v>
                      </c:pt>
                      <c:pt idx="197">
                        <c:v>44119</c:v>
                      </c:pt>
                      <c:pt idx="198">
                        <c:v>44120</c:v>
                      </c:pt>
                      <c:pt idx="199">
                        <c:v>44121</c:v>
                      </c:pt>
                      <c:pt idx="200">
                        <c:v>44122</c:v>
                      </c:pt>
                      <c:pt idx="201">
                        <c:v>44123</c:v>
                      </c:pt>
                      <c:pt idx="202">
                        <c:v>44124</c:v>
                      </c:pt>
                      <c:pt idx="203">
                        <c:v>44125</c:v>
                      </c:pt>
                      <c:pt idx="204">
                        <c:v>44126</c:v>
                      </c:pt>
                      <c:pt idx="205">
                        <c:v>44127</c:v>
                      </c:pt>
                      <c:pt idx="206">
                        <c:v>44128</c:v>
                      </c:pt>
                      <c:pt idx="207">
                        <c:v>44129</c:v>
                      </c:pt>
                      <c:pt idx="208">
                        <c:v>44130</c:v>
                      </c:pt>
                      <c:pt idx="209">
                        <c:v>44131</c:v>
                      </c:pt>
                      <c:pt idx="210">
                        <c:v>44132</c:v>
                      </c:pt>
                      <c:pt idx="211">
                        <c:v>44133</c:v>
                      </c:pt>
                      <c:pt idx="212">
                        <c:v>44134</c:v>
                      </c:pt>
                      <c:pt idx="213">
                        <c:v>44135</c:v>
                      </c:pt>
                      <c:pt idx="214">
                        <c:v>44136</c:v>
                      </c:pt>
                      <c:pt idx="215">
                        <c:v>44137</c:v>
                      </c:pt>
                      <c:pt idx="216">
                        <c:v>44138</c:v>
                      </c:pt>
                      <c:pt idx="217">
                        <c:v>44139</c:v>
                      </c:pt>
                      <c:pt idx="218">
                        <c:v>44140</c:v>
                      </c:pt>
                      <c:pt idx="219">
                        <c:v>44141</c:v>
                      </c:pt>
                      <c:pt idx="220">
                        <c:v>44142</c:v>
                      </c:pt>
                      <c:pt idx="221">
                        <c:v>44143</c:v>
                      </c:pt>
                      <c:pt idx="222">
                        <c:v>44144</c:v>
                      </c:pt>
                      <c:pt idx="223">
                        <c:v>44145</c:v>
                      </c:pt>
                      <c:pt idx="224">
                        <c:v>44146</c:v>
                      </c:pt>
                      <c:pt idx="225">
                        <c:v>44147</c:v>
                      </c:pt>
                      <c:pt idx="226">
                        <c:v>44148</c:v>
                      </c:pt>
                      <c:pt idx="227">
                        <c:v>44149</c:v>
                      </c:pt>
                      <c:pt idx="228">
                        <c:v>44150</c:v>
                      </c:pt>
                      <c:pt idx="229">
                        <c:v>44151</c:v>
                      </c:pt>
                      <c:pt idx="230">
                        <c:v>44152</c:v>
                      </c:pt>
                      <c:pt idx="231">
                        <c:v>44153</c:v>
                      </c:pt>
                      <c:pt idx="232">
                        <c:v>44154</c:v>
                      </c:pt>
                      <c:pt idx="233">
                        <c:v>44155</c:v>
                      </c:pt>
                      <c:pt idx="234">
                        <c:v>44156</c:v>
                      </c:pt>
                      <c:pt idx="235">
                        <c:v>44157</c:v>
                      </c:pt>
                      <c:pt idx="236">
                        <c:v>44158</c:v>
                      </c:pt>
                      <c:pt idx="237">
                        <c:v>44159</c:v>
                      </c:pt>
                      <c:pt idx="238">
                        <c:v>44160</c:v>
                      </c:pt>
                      <c:pt idx="239">
                        <c:v>44161</c:v>
                      </c:pt>
                      <c:pt idx="240">
                        <c:v>44162</c:v>
                      </c:pt>
                      <c:pt idx="241">
                        <c:v>44163</c:v>
                      </c:pt>
                      <c:pt idx="242">
                        <c:v>44164</c:v>
                      </c:pt>
                      <c:pt idx="243">
                        <c:v>44165</c:v>
                      </c:pt>
                      <c:pt idx="244">
                        <c:v>44166</c:v>
                      </c:pt>
                      <c:pt idx="245">
                        <c:v>44167</c:v>
                      </c:pt>
                      <c:pt idx="246">
                        <c:v>44168</c:v>
                      </c:pt>
                      <c:pt idx="247">
                        <c:v>44169</c:v>
                      </c:pt>
                      <c:pt idx="248">
                        <c:v>44170</c:v>
                      </c:pt>
                      <c:pt idx="249">
                        <c:v>44171</c:v>
                      </c:pt>
                      <c:pt idx="250">
                        <c:v>44172</c:v>
                      </c:pt>
                      <c:pt idx="251">
                        <c:v>44173</c:v>
                      </c:pt>
                      <c:pt idx="252">
                        <c:v>44174</c:v>
                      </c:pt>
                      <c:pt idx="253">
                        <c:v>44175</c:v>
                      </c:pt>
                      <c:pt idx="254">
                        <c:v>44176</c:v>
                      </c:pt>
                      <c:pt idx="255">
                        <c:v>44177</c:v>
                      </c:pt>
                      <c:pt idx="256">
                        <c:v>44178</c:v>
                      </c:pt>
                      <c:pt idx="257">
                        <c:v>44179</c:v>
                      </c:pt>
                      <c:pt idx="258">
                        <c:v>44180</c:v>
                      </c:pt>
                      <c:pt idx="259">
                        <c:v>44181</c:v>
                      </c:pt>
                      <c:pt idx="260">
                        <c:v>44182</c:v>
                      </c:pt>
                      <c:pt idx="261">
                        <c:v>44183</c:v>
                      </c:pt>
                      <c:pt idx="262">
                        <c:v>44184</c:v>
                      </c:pt>
                      <c:pt idx="263">
                        <c:v>44185</c:v>
                      </c:pt>
                      <c:pt idx="264">
                        <c:v>44186</c:v>
                      </c:pt>
                      <c:pt idx="265">
                        <c:v>44187</c:v>
                      </c:pt>
                      <c:pt idx="266">
                        <c:v>44188</c:v>
                      </c:pt>
                      <c:pt idx="267">
                        <c:v>44189</c:v>
                      </c:pt>
                      <c:pt idx="268">
                        <c:v>44190</c:v>
                      </c:pt>
                      <c:pt idx="269">
                        <c:v>44191</c:v>
                      </c:pt>
                      <c:pt idx="270">
                        <c:v>44192</c:v>
                      </c:pt>
                      <c:pt idx="271">
                        <c:v>44193</c:v>
                      </c:pt>
                      <c:pt idx="272">
                        <c:v>44194</c:v>
                      </c:pt>
                      <c:pt idx="273">
                        <c:v>44195</c:v>
                      </c:pt>
                      <c:pt idx="274">
                        <c:v>44196</c:v>
                      </c:pt>
                      <c:pt idx="275">
                        <c:v>44197</c:v>
                      </c:pt>
                      <c:pt idx="276">
                        <c:v>44198</c:v>
                      </c:pt>
                      <c:pt idx="277">
                        <c:v>44199</c:v>
                      </c:pt>
                      <c:pt idx="278">
                        <c:v>44200</c:v>
                      </c:pt>
                      <c:pt idx="279">
                        <c:v>44201</c:v>
                      </c:pt>
                      <c:pt idx="280">
                        <c:v>44202</c:v>
                      </c:pt>
                      <c:pt idx="281">
                        <c:v>44203</c:v>
                      </c:pt>
                      <c:pt idx="282">
                        <c:v>44204</c:v>
                      </c:pt>
                      <c:pt idx="283">
                        <c:v>44205</c:v>
                      </c:pt>
                      <c:pt idx="284">
                        <c:v>44206</c:v>
                      </c:pt>
                      <c:pt idx="285">
                        <c:v>44207</c:v>
                      </c:pt>
                      <c:pt idx="286">
                        <c:v>44208</c:v>
                      </c:pt>
                      <c:pt idx="287">
                        <c:v>44209</c:v>
                      </c:pt>
                      <c:pt idx="288">
                        <c:v>44210</c:v>
                      </c:pt>
                      <c:pt idx="289">
                        <c:v>44211</c:v>
                      </c:pt>
                      <c:pt idx="290">
                        <c:v>44212</c:v>
                      </c:pt>
                      <c:pt idx="291">
                        <c:v>44213</c:v>
                      </c:pt>
                      <c:pt idx="292">
                        <c:v>44214</c:v>
                      </c:pt>
                      <c:pt idx="293">
                        <c:v>44215</c:v>
                      </c:pt>
                      <c:pt idx="294">
                        <c:v>44216</c:v>
                      </c:pt>
                      <c:pt idx="295">
                        <c:v>44217</c:v>
                      </c:pt>
                      <c:pt idx="296">
                        <c:v>44218</c:v>
                      </c:pt>
                      <c:pt idx="297">
                        <c:v>44219</c:v>
                      </c:pt>
                      <c:pt idx="298">
                        <c:v>44220</c:v>
                      </c:pt>
                      <c:pt idx="299">
                        <c:v>44221</c:v>
                      </c:pt>
                      <c:pt idx="300">
                        <c:v>44222</c:v>
                      </c:pt>
                      <c:pt idx="301">
                        <c:v>44223</c:v>
                      </c:pt>
                      <c:pt idx="302">
                        <c:v>44224</c:v>
                      </c:pt>
                      <c:pt idx="303">
                        <c:v>44225</c:v>
                      </c:pt>
                      <c:pt idx="304">
                        <c:v>44226</c:v>
                      </c:pt>
                      <c:pt idx="305">
                        <c:v>44227</c:v>
                      </c:pt>
                      <c:pt idx="306">
                        <c:v>44228</c:v>
                      </c:pt>
                      <c:pt idx="307">
                        <c:v>44229</c:v>
                      </c:pt>
                      <c:pt idx="308">
                        <c:v>44230</c:v>
                      </c:pt>
                      <c:pt idx="309">
                        <c:v>44231</c:v>
                      </c:pt>
                      <c:pt idx="310">
                        <c:v>44232</c:v>
                      </c:pt>
                      <c:pt idx="311">
                        <c:v>44233</c:v>
                      </c:pt>
                      <c:pt idx="312">
                        <c:v>44234</c:v>
                      </c:pt>
                      <c:pt idx="313">
                        <c:v>44235</c:v>
                      </c:pt>
                      <c:pt idx="314">
                        <c:v>44236</c:v>
                      </c:pt>
                      <c:pt idx="315">
                        <c:v>44237</c:v>
                      </c:pt>
                      <c:pt idx="316">
                        <c:v>44238</c:v>
                      </c:pt>
                      <c:pt idx="317">
                        <c:v>44239</c:v>
                      </c:pt>
                      <c:pt idx="318">
                        <c:v>44240</c:v>
                      </c:pt>
                      <c:pt idx="319">
                        <c:v>44241</c:v>
                      </c:pt>
                      <c:pt idx="320">
                        <c:v>44242</c:v>
                      </c:pt>
                      <c:pt idx="321">
                        <c:v>44243</c:v>
                      </c:pt>
                      <c:pt idx="322">
                        <c:v>44244</c:v>
                      </c:pt>
                      <c:pt idx="323">
                        <c:v>44245</c:v>
                      </c:pt>
                      <c:pt idx="324">
                        <c:v>44246</c:v>
                      </c:pt>
                      <c:pt idx="325">
                        <c:v>44247</c:v>
                      </c:pt>
                      <c:pt idx="326">
                        <c:v>44248</c:v>
                      </c:pt>
                      <c:pt idx="327">
                        <c:v>44249</c:v>
                      </c:pt>
                      <c:pt idx="328">
                        <c:v>44250</c:v>
                      </c:pt>
                      <c:pt idx="329">
                        <c:v>44251</c:v>
                      </c:pt>
                      <c:pt idx="330">
                        <c:v>44252</c:v>
                      </c:pt>
                      <c:pt idx="331">
                        <c:v>44253</c:v>
                      </c:pt>
                      <c:pt idx="332">
                        <c:v>44254</c:v>
                      </c:pt>
                      <c:pt idx="333">
                        <c:v>44255</c:v>
                      </c:pt>
                      <c:pt idx="334">
                        <c:v>44256</c:v>
                      </c:pt>
                      <c:pt idx="335">
                        <c:v>44257</c:v>
                      </c:pt>
                      <c:pt idx="336">
                        <c:v>44258</c:v>
                      </c:pt>
                      <c:pt idx="337">
                        <c:v>44259</c:v>
                      </c:pt>
                      <c:pt idx="338">
                        <c:v>44260</c:v>
                      </c:pt>
                      <c:pt idx="339">
                        <c:v>44261</c:v>
                      </c:pt>
                      <c:pt idx="340">
                        <c:v>44262</c:v>
                      </c:pt>
                      <c:pt idx="341">
                        <c:v>44263</c:v>
                      </c:pt>
                      <c:pt idx="342">
                        <c:v>44264</c:v>
                      </c:pt>
                      <c:pt idx="343">
                        <c:v>44265</c:v>
                      </c:pt>
                      <c:pt idx="344">
                        <c:v>44266</c:v>
                      </c:pt>
                      <c:pt idx="345">
                        <c:v>44267</c:v>
                      </c:pt>
                      <c:pt idx="346">
                        <c:v>44268</c:v>
                      </c:pt>
                      <c:pt idx="347">
                        <c:v>44269</c:v>
                      </c:pt>
                      <c:pt idx="348">
                        <c:v>44270</c:v>
                      </c:pt>
                      <c:pt idx="349">
                        <c:v>44271</c:v>
                      </c:pt>
                      <c:pt idx="350">
                        <c:v>44272</c:v>
                      </c:pt>
                      <c:pt idx="351">
                        <c:v>44273</c:v>
                      </c:pt>
                      <c:pt idx="352">
                        <c:v>44274</c:v>
                      </c:pt>
                      <c:pt idx="353">
                        <c:v>44275</c:v>
                      </c:pt>
                      <c:pt idx="354">
                        <c:v>44276</c:v>
                      </c:pt>
                      <c:pt idx="355">
                        <c:v>44277</c:v>
                      </c:pt>
                      <c:pt idx="356">
                        <c:v>44278</c:v>
                      </c:pt>
                      <c:pt idx="357">
                        <c:v>44279</c:v>
                      </c:pt>
                      <c:pt idx="358">
                        <c:v>44280</c:v>
                      </c:pt>
                      <c:pt idx="359">
                        <c:v>44281</c:v>
                      </c:pt>
                      <c:pt idx="360">
                        <c:v>44282</c:v>
                      </c:pt>
                      <c:pt idx="361">
                        <c:v>44283</c:v>
                      </c:pt>
                      <c:pt idx="362">
                        <c:v>44284</c:v>
                      </c:pt>
                      <c:pt idx="363">
                        <c:v>44285</c:v>
                      </c:pt>
                      <c:pt idx="364">
                        <c:v>44286</c:v>
                      </c:pt>
                      <c:pt idx="365">
                        <c:v>44287</c:v>
                      </c:pt>
                      <c:pt idx="366">
                        <c:v>44288</c:v>
                      </c:pt>
                      <c:pt idx="367">
                        <c:v>44289</c:v>
                      </c:pt>
                      <c:pt idx="368">
                        <c:v>44290</c:v>
                      </c:pt>
                      <c:pt idx="369">
                        <c:v>44291</c:v>
                      </c:pt>
                      <c:pt idx="370">
                        <c:v>44292</c:v>
                      </c:pt>
                      <c:pt idx="371">
                        <c:v>44293</c:v>
                      </c:pt>
                      <c:pt idx="372">
                        <c:v>44294</c:v>
                      </c:pt>
                      <c:pt idx="373">
                        <c:v>44295</c:v>
                      </c:pt>
                      <c:pt idx="374">
                        <c:v>44296</c:v>
                      </c:pt>
                      <c:pt idx="375">
                        <c:v>44297</c:v>
                      </c:pt>
                      <c:pt idx="376">
                        <c:v>44298</c:v>
                      </c:pt>
                      <c:pt idx="377">
                        <c:v>44299</c:v>
                      </c:pt>
                      <c:pt idx="378">
                        <c:v>44300</c:v>
                      </c:pt>
                      <c:pt idx="379">
                        <c:v>44301</c:v>
                      </c:pt>
                      <c:pt idx="380">
                        <c:v>44302</c:v>
                      </c:pt>
                      <c:pt idx="381">
                        <c:v>44303</c:v>
                      </c:pt>
                      <c:pt idx="382">
                        <c:v>44304</c:v>
                      </c:pt>
                      <c:pt idx="383">
                        <c:v>44305</c:v>
                      </c:pt>
                      <c:pt idx="384">
                        <c:v>44306</c:v>
                      </c:pt>
                      <c:pt idx="385">
                        <c:v>44307</c:v>
                      </c:pt>
                      <c:pt idx="386">
                        <c:v>44308</c:v>
                      </c:pt>
                      <c:pt idx="387">
                        <c:v>44309</c:v>
                      </c:pt>
                      <c:pt idx="388">
                        <c:v>44310</c:v>
                      </c:pt>
                      <c:pt idx="389">
                        <c:v>44311</c:v>
                      </c:pt>
                      <c:pt idx="390">
                        <c:v>44312</c:v>
                      </c:pt>
                      <c:pt idx="391">
                        <c:v>44313</c:v>
                      </c:pt>
                      <c:pt idx="392">
                        <c:v>44314</c:v>
                      </c:pt>
                      <c:pt idx="393">
                        <c:v>44315</c:v>
                      </c:pt>
                      <c:pt idx="394">
                        <c:v>44316</c:v>
                      </c:pt>
                      <c:pt idx="395">
                        <c:v>44317</c:v>
                      </c:pt>
                      <c:pt idx="396">
                        <c:v>44318</c:v>
                      </c:pt>
                      <c:pt idx="397">
                        <c:v>44319</c:v>
                      </c:pt>
                      <c:pt idx="398">
                        <c:v>44320</c:v>
                      </c:pt>
                      <c:pt idx="399">
                        <c:v>44321</c:v>
                      </c:pt>
                      <c:pt idx="400">
                        <c:v>44322</c:v>
                      </c:pt>
                      <c:pt idx="401">
                        <c:v>44323</c:v>
                      </c:pt>
                      <c:pt idx="402">
                        <c:v>44324</c:v>
                      </c:pt>
                      <c:pt idx="403">
                        <c:v>44325</c:v>
                      </c:pt>
                      <c:pt idx="404">
                        <c:v>44326</c:v>
                      </c:pt>
                      <c:pt idx="405">
                        <c:v>44327</c:v>
                      </c:pt>
                      <c:pt idx="406">
                        <c:v>44328</c:v>
                      </c:pt>
                      <c:pt idx="407">
                        <c:v>44329</c:v>
                      </c:pt>
                      <c:pt idx="408">
                        <c:v>44330</c:v>
                      </c:pt>
                      <c:pt idx="409">
                        <c:v>44331</c:v>
                      </c:pt>
                      <c:pt idx="410">
                        <c:v>44332</c:v>
                      </c:pt>
                      <c:pt idx="411">
                        <c:v>44333</c:v>
                      </c:pt>
                      <c:pt idx="412">
                        <c:v>44334</c:v>
                      </c:pt>
                      <c:pt idx="413">
                        <c:v>44335</c:v>
                      </c:pt>
                      <c:pt idx="414">
                        <c:v>44336</c:v>
                      </c:pt>
                      <c:pt idx="415">
                        <c:v>44337</c:v>
                      </c:pt>
                      <c:pt idx="416">
                        <c:v>44338</c:v>
                      </c:pt>
                      <c:pt idx="417">
                        <c:v>44339</c:v>
                      </c:pt>
                      <c:pt idx="418">
                        <c:v>44340</c:v>
                      </c:pt>
                      <c:pt idx="419">
                        <c:v>44341</c:v>
                      </c:pt>
                      <c:pt idx="420">
                        <c:v>44342</c:v>
                      </c:pt>
                      <c:pt idx="421">
                        <c:v>44343</c:v>
                      </c:pt>
                      <c:pt idx="422">
                        <c:v>44344</c:v>
                      </c:pt>
                      <c:pt idx="423">
                        <c:v>44345</c:v>
                      </c:pt>
                      <c:pt idx="424">
                        <c:v>44346</c:v>
                      </c:pt>
                      <c:pt idx="425">
                        <c:v>44347</c:v>
                      </c:pt>
                      <c:pt idx="426">
                        <c:v>44348</c:v>
                      </c:pt>
                      <c:pt idx="427">
                        <c:v>44349</c:v>
                      </c:pt>
                      <c:pt idx="428">
                        <c:v>44350</c:v>
                      </c:pt>
                      <c:pt idx="429">
                        <c:v>44351</c:v>
                      </c:pt>
                      <c:pt idx="430">
                        <c:v>44352</c:v>
                      </c:pt>
                      <c:pt idx="431">
                        <c:v>44353</c:v>
                      </c:pt>
                      <c:pt idx="432">
                        <c:v>44354</c:v>
                      </c:pt>
                      <c:pt idx="433">
                        <c:v>44355</c:v>
                      </c:pt>
                      <c:pt idx="434">
                        <c:v>44356</c:v>
                      </c:pt>
                      <c:pt idx="435">
                        <c:v>44357</c:v>
                      </c:pt>
                      <c:pt idx="436">
                        <c:v>44358</c:v>
                      </c:pt>
                      <c:pt idx="437">
                        <c:v>44359</c:v>
                      </c:pt>
                      <c:pt idx="438">
                        <c:v>44360</c:v>
                      </c:pt>
                      <c:pt idx="439">
                        <c:v>44361</c:v>
                      </c:pt>
                      <c:pt idx="440">
                        <c:v>44362</c:v>
                      </c:pt>
                      <c:pt idx="441">
                        <c:v>44363</c:v>
                      </c:pt>
                      <c:pt idx="442">
                        <c:v>44364</c:v>
                      </c:pt>
                      <c:pt idx="443">
                        <c:v>44365</c:v>
                      </c:pt>
                      <c:pt idx="444">
                        <c:v>44366</c:v>
                      </c:pt>
                      <c:pt idx="445">
                        <c:v>44367</c:v>
                      </c:pt>
                      <c:pt idx="446">
                        <c:v>44368</c:v>
                      </c:pt>
                      <c:pt idx="447">
                        <c:v>44369</c:v>
                      </c:pt>
                      <c:pt idx="448">
                        <c:v>44370</c:v>
                      </c:pt>
                      <c:pt idx="449">
                        <c:v>44371</c:v>
                      </c:pt>
                      <c:pt idx="450">
                        <c:v>44372</c:v>
                      </c:pt>
                      <c:pt idx="451">
                        <c:v>44373</c:v>
                      </c:pt>
                      <c:pt idx="452">
                        <c:v>44374</c:v>
                      </c:pt>
                      <c:pt idx="453">
                        <c:v>44375</c:v>
                      </c:pt>
                      <c:pt idx="454">
                        <c:v>44376</c:v>
                      </c:pt>
                      <c:pt idx="455">
                        <c:v>44377</c:v>
                      </c:pt>
                      <c:pt idx="456">
                        <c:v>44378</c:v>
                      </c:pt>
                      <c:pt idx="457">
                        <c:v>44379</c:v>
                      </c:pt>
                      <c:pt idx="458">
                        <c:v>44380</c:v>
                      </c:pt>
                      <c:pt idx="459">
                        <c:v>44381</c:v>
                      </c:pt>
                      <c:pt idx="460">
                        <c:v>44382</c:v>
                      </c:pt>
                      <c:pt idx="461">
                        <c:v>44383</c:v>
                      </c:pt>
                      <c:pt idx="462">
                        <c:v>44384</c:v>
                      </c:pt>
                      <c:pt idx="463">
                        <c:v>44385</c:v>
                      </c:pt>
                      <c:pt idx="464">
                        <c:v>44386</c:v>
                      </c:pt>
                      <c:pt idx="465">
                        <c:v>44387</c:v>
                      </c:pt>
                      <c:pt idx="466">
                        <c:v>44388</c:v>
                      </c:pt>
                      <c:pt idx="467">
                        <c:v>44389</c:v>
                      </c:pt>
                      <c:pt idx="468">
                        <c:v>44390</c:v>
                      </c:pt>
                      <c:pt idx="469">
                        <c:v>44391</c:v>
                      </c:pt>
                      <c:pt idx="470">
                        <c:v>44392</c:v>
                      </c:pt>
                      <c:pt idx="471">
                        <c:v>44393</c:v>
                      </c:pt>
                      <c:pt idx="472">
                        <c:v>44394</c:v>
                      </c:pt>
                      <c:pt idx="473">
                        <c:v>44395</c:v>
                      </c:pt>
                      <c:pt idx="474">
                        <c:v>44396</c:v>
                      </c:pt>
                      <c:pt idx="475">
                        <c:v>44397</c:v>
                      </c:pt>
                      <c:pt idx="476">
                        <c:v>44398</c:v>
                      </c:pt>
                      <c:pt idx="477">
                        <c:v>44399</c:v>
                      </c:pt>
                      <c:pt idx="478">
                        <c:v>44400</c:v>
                      </c:pt>
                      <c:pt idx="479">
                        <c:v>44401</c:v>
                      </c:pt>
                      <c:pt idx="480">
                        <c:v>44402</c:v>
                      </c:pt>
                      <c:pt idx="481">
                        <c:v>44403</c:v>
                      </c:pt>
                      <c:pt idx="482">
                        <c:v>44404</c:v>
                      </c:pt>
                      <c:pt idx="483">
                        <c:v>44405</c:v>
                      </c:pt>
                      <c:pt idx="484">
                        <c:v>44406</c:v>
                      </c:pt>
                      <c:pt idx="485">
                        <c:v>44407</c:v>
                      </c:pt>
                      <c:pt idx="486">
                        <c:v>44408</c:v>
                      </c:pt>
                      <c:pt idx="487">
                        <c:v>44409</c:v>
                      </c:pt>
                      <c:pt idx="488">
                        <c:v>44410</c:v>
                      </c:pt>
                      <c:pt idx="489">
                        <c:v>44411</c:v>
                      </c:pt>
                      <c:pt idx="490">
                        <c:v>44412</c:v>
                      </c:pt>
                      <c:pt idx="491">
                        <c:v>44413</c:v>
                      </c:pt>
                      <c:pt idx="492">
                        <c:v>44414</c:v>
                      </c:pt>
                      <c:pt idx="493">
                        <c:v>44415</c:v>
                      </c:pt>
                      <c:pt idx="494">
                        <c:v>44416</c:v>
                      </c:pt>
                      <c:pt idx="495">
                        <c:v>44417</c:v>
                      </c:pt>
                      <c:pt idx="496">
                        <c:v>44418</c:v>
                      </c:pt>
                      <c:pt idx="497">
                        <c:v>44419</c:v>
                      </c:pt>
                      <c:pt idx="498">
                        <c:v>44420</c:v>
                      </c:pt>
                      <c:pt idx="499">
                        <c:v>44421</c:v>
                      </c:pt>
                      <c:pt idx="500">
                        <c:v>44422</c:v>
                      </c:pt>
                      <c:pt idx="501">
                        <c:v>44423</c:v>
                      </c:pt>
                      <c:pt idx="502">
                        <c:v>44424</c:v>
                      </c:pt>
                      <c:pt idx="503">
                        <c:v>44425</c:v>
                      </c:pt>
                      <c:pt idx="504">
                        <c:v>44426</c:v>
                      </c:pt>
                    </c:numCache>
                  </c:numRef>
                </c:cat>
                <c:val>
                  <c:numRef>
                    <c:extLst>
                      <c:ext uri="{02D57815-91ED-43cb-92C2-25804820EDAC}">
                        <c15:formulaRef>
                          <c15:sqref>'El Salvador'!$D$94:$D$371</c15:sqref>
                        </c15:formulaRef>
                      </c:ext>
                    </c:extLst>
                    <c:numCache>
                      <c:formatCode>General</c:formatCode>
                      <c:ptCount val="278"/>
                      <c:pt idx="0">
                        <c:v>0</c:v>
                      </c:pt>
                      <c:pt idx="1">
                        <c:v>9</c:v>
                      </c:pt>
                      <c:pt idx="2">
                        <c:v>5</c:v>
                      </c:pt>
                      <c:pt idx="3">
                        <c:v>10</c:v>
                      </c:pt>
                      <c:pt idx="4">
                        <c:v>6</c:v>
                      </c:pt>
                      <c:pt idx="5">
                        <c:v>7</c:v>
                      </c:pt>
                      <c:pt idx="6">
                        <c:v>9</c:v>
                      </c:pt>
                      <c:pt idx="7">
                        <c:v>15</c:v>
                      </c:pt>
                      <c:pt idx="8">
                        <c:v>10</c:v>
                      </c:pt>
                      <c:pt idx="9">
                        <c:v>14</c:v>
                      </c:pt>
                      <c:pt idx="10">
                        <c:v>1</c:v>
                      </c:pt>
                      <c:pt idx="11">
                        <c:v>7</c:v>
                      </c:pt>
                      <c:pt idx="12">
                        <c:v>12</c:v>
                      </c:pt>
                      <c:pt idx="13">
                        <c:v>12</c:v>
                      </c:pt>
                      <c:pt idx="14">
                        <c:v>10</c:v>
                      </c:pt>
                      <c:pt idx="15">
                        <c:v>5</c:v>
                      </c:pt>
                      <c:pt idx="16">
                        <c:v>13</c:v>
                      </c:pt>
                      <c:pt idx="17">
                        <c:v>13</c:v>
                      </c:pt>
                      <c:pt idx="18">
                        <c:v>11</c:v>
                      </c:pt>
                      <c:pt idx="19">
                        <c:v>17</c:v>
                      </c:pt>
                      <c:pt idx="20">
                        <c:v>7</c:v>
                      </c:pt>
                      <c:pt idx="21">
                        <c:v>12</c:v>
                      </c:pt>
                      <c:pt idx="22">
                        <c:v>13</c:v>
                      </c:pt>
                      <c:pt idx="23">
                        <c:v>24</c:v>
                      </c:pt>
                      <c:pt idx="24">
                        <c:v>0</c:v>
                      </c:pt>
                      <c:pt idx="25">
                        <c:v>24</c:v>
                      </c:pt>
                      <c:pt idx="26">
                        <c:v>25</c:v>
                      </c:pt>
                      <c:pt idx="27">
                        <c:v>22</c:v>
                      </c:pt>
                      <c:pt idx="28">
                        <c:v>32</c:v>
                      </c:pt>
                      <c:pt idx="29">
                        <c:v>18</c:v>
                      </c:pt>
                      <c:pt idx="30">
                        <c:v>29</c:v>
                      </c:pt>
                      <c:pt idx="31">
                        <c:v>22</c:v>
                      </c:pt>
                      <c:pt idx="32">
                        <c:v>44</c:v>
                      </c:pt>
                      <c:pt idx="33">
                        <c:v>65</c:v>
                      </c:pt>
                      <c:pt idx="34">
                        <c:v>32</c:v>
                      </c:pt>
                      <c:pt idx="35">
                        <c:v>46</c:v>
                      </c:pt>
                      <c:pt idx="36">
                        <c:v>62</c:v>
                      </c:pt>
                      <c:pt idx="37">
                        <c:v>47</c:v>
                      </c:pt>
                      <c:pt idx="38">
                        <c:v>42</c:v>
                      </c:pt>
                      <c:pt idx="39">
                        <c:v>105</c:v>
                      </c:pt>
                      <c:pt idx="40">
                        <c:v>69</c:v>
                      </c:pt>
                      <c:pt idx="41">
                        <c:v>40</c:v>
                      </c:pt>
                      <c:pt idx="42">
                        <c:v>39</c:v>
                      </c:pt>
                      <c:pt idx="43">
                        <c:v>75</c:v>
                      </c:pt>
                      <c:pt idx="44">
                        <c:v>98</c:v>
                      </c:pt>
                      <c:pt idx="45">
                        <c:v>55</c:v>
                      </c:pt>
                      <c:pt idx="46">
                        <c:v>73</c:v>
                      </c:pt>
                      <c:pt idx="47">
                        <c:v>75</c:v>
                      </c:pt>
                      <c:pt idx="48">
                        <c:v>85</c:v>
                      </c:pt>
                      <c:pt idx="49">
                        <c:v>73</c:v>
                      </c:pt>
                      <c:pt idx="50">
                        <c:v>69</c:v>
                      </c:pt>
                      <c:pt idx="51">
                        <c:v>85</c:v>
                      </c:pt>
                      <c:pt idx="52">
                        <c:v>94</c:v>
                      </c:pt>
                      <c:pt idx="53">
                        <c:v>96</c:v>
                      </c:pt>
                      <c:pt idx="54">
                        <c:v>68</c:v>
                      </c:pt>
                      <c:pt idx="55">
                        <c:v>59</c:v>
                      </c:pt>
                      <c:pt idx="56">
                        <c:v>67</c:v>
                      </c:pt>
                      <c:pt idx="57">
                        <c:v>85</c:v>
                      </c:pt>
                      <c:pt idx="58">
                        <c:v>84</c:v>
                      </c:pt>
                      <c:pt idx="59">
                        <c:v>117</c:v>
                      </c:pt>
                      <c:pt idx="60">
                        <c:v>122</c:v>
                      </c:pt>
                      <c:pt idx="61">
                        <c:v>65</c:v>
                      </c:pt>
                      <c:pt idx="62">
                        <c:v>71</c:v>
                      </c:pt>
                      <c:pt idx="63">
                        <c:v>52</c:v>
                      </c:pt>
                      <c:pt idx="64">
                        <c:v>76</c:v>
                      </c:pt>
                      <c:pt idx="65">
                        <c:v>68</c:v>
                      </c:pt>
                      <c:pt idx="66">
                        <c:v>85</c:v>
                      </c:pt>
                      <c:pt idx="67">
                        <c:v>81</c:v>
                      </c:pt>
                      <c:pt idx="68">
                        <c:v>89</c:v>
                      </c:pt>
                      <c:pt idx="69">
                        <c:v>87</c:v>
                      </c:pt>
                      <c:pt idx="70">
                        <c:v>83</c:v>
                      </c:pt>
                      <c:pt idx="71">
                        <c:v>99</c:v>
                      </c:pt>
                      <c:pt idx="72">
                        <c:v>108</c:v>
                      </c:pt>
                      <c:pt idx="73">
                        <c:v>122</c:v>
                      </c:pt>
                      <c:pt idx="74">
                        <c:v>117</c:v>
                      </c:pt>
                      <c:pt idx="75">
                        <c:v>106</c:v>
                      </c:pt>
                      <c:pt idx="76">
                        <c:v>115</c:v>
                      </c:pt>
                      <c:pt idx="77">
                        <c:v>125</c:v>
                      </c:pt>
                      <c:pt idx="78">
                        <c:v>134</c:v>
                      </c:pt>
                      <c:pt idx="79">
                        <c:v>129</c:v>
                      </c:pt>
                      <c:pt idx="80">
                        <c:v>146</c:v>
                      </c:pt>
                      <c:pt idx="81">
                        <c:v>151</c:v>
                      </c:pt>
                      <c:pt idx="82">
                        <c:v>182</c:v>
                      </c:pt>
                      <c:pt idx="83">
                        <c:v>165</c:v>
                      </c:pt>
                      <c:pt idx="84">
                        <c:v>177</c:v>
                      </c:pt>
                      <c:pt idx="85">
                        <c:v>186</c:v>
                      </c:pt>
                      <c:pt idx="86">
                        <c:v>181</c:v>
                      </c:pt>
                      <c:pt idx="87">
                        <c:v>210</c:v>
                      </c:pt>
                      <c:pt idx="88">
                        <c:v>207</c:v>
                      </c:pt>
                      <c:pt idx="89">
                        <c:v>239</c:v>
                      </c:pt>
                      <c:pt idx="90">
                        <c:v>265</c:v>
                      </c:pt>
                      <c:pt idx="91">
                        <c:v>298</c:v>
                      </c:pt>
                      <c:pt idx="92">
                        <c:v>264</c:v>
                      </c:pt>
                      <c:pt idx="93">
                        <c:v>267</c:v>
                      </c:pt>
                      <c:pt idx="94">
                        <c:v>240</c:v>
                      </c:pt>
                      <c:pt idx="95">
                        <c:v>270</c:v>
                      </c:pt>
                      <c:pt idx="96">
                        <c:v>250</c:v>
                      </c:pt>
                      <c:pt idx="97">
                        <c:v>280</c:v>
                      </c:pt>
                      <c:pt idx="98">
                        <c:v>259</c:v>
                      </c:pt>
                      <c:pt idx="99">
                        <c:v>278</c:v>
                      </c:pt>
                      <c:pt idx="100">
                        <c:v>298</c:v>
                      </c:pt>
                      <c:pt idx="101">
                        <c:v>249</c:v>
                      </c:pt>
                      <c:pt idx="102">
                        <c:v>283</c:v>
                      </c:pt>
                      <c:pt idx="103">
                        <c:v>304</c:v>
                      </c:pt>
                      <c:pt idx="104">
                        <c:v>325</c:v>
                      </c:pt>
                      <c:pt idx="105">
                        <c:v>342</c:v>
                      </c:pt>
                      <c:pt idx="106">
                        <c:v>312</c:v>
                      </c:pt>
                      <c:pt idx="107">
                        <c:v>250</c:v>
                      </c:pt>
                      <c:pt idx="108">
                        <c:v>301</c:v>
                      </c:pt>
                      <c:pt idx="109">
                        <c:v>338</c:v>
                      </c:pt>
                      <c:pt idx="110">
                        <c:v>361</c:v>
                      </c:pt>
                      <c:pt idx="111">
                        <c:v>375</c:v>
                      </c:pt>
                      <c:pt idx="112">
                        <c:v>393</c:v>
                      </c:pt>
                      <c:pt idx="113">
                        <c:v>402</c:v>
                      </c:pt>
                      <c:pt idx="114">
                        <c:v>415</c:v>
                      </c:pt>
                      <c:pt idx="115">
                        <c:v>429</c:v>
                      </c:pt>
                      <c:pt idx="116">
                        <c:v>409</c:v>
                      </c:pt>
                      <c:pt idx="117">
                        <c:v>405</c:v>
                      </c:pt>
                      <c:pt idx="118">
                        <c:v>411</c:v>
                      </c:pt>
                      <c:pt idx="119">
                        <c:v>395</c:v>
                      </c:pt>
                      <c:pt idx="120">
                        <c:v>389</c:v>
                      </c:pt>
                      <c:pt idx="121">
                        <c:v>402</c:v>
                      </c:pt>
                      <c:pt idx="122">
                        <c:v>418</c:v>
                      </c:pt>
                      <c:pt idx="123">
                        <c:v>398</c:v>
                      </c:pt>
                      <c:pt idx="124">
                        <c:v>395</c:v>
                      </c:pt>
                      <c:pt idx="125">
                        <c:v>419</c:v>
                      </c:pt>
                      <c:pt idx="126">
                        <c:v>439</c:v>
                      </c:pt>
                      <c:pt idx="127">
                        <c:v>425</c:v>
                      </c:pt>
                      <c:pt idx="128">
                        <c:v>418</c:v>
                      </c:pt>
                      <c:pt idx="129">
                        <c:v>434</c:v>
                      </c:pt>
                      <c:pt idx="130">
                        <c:v>445</c:v>
                      </c:pt>
                      <c:pt idx="131">
                        <c:v>449</c:v>
                      </c:pt>
                      <c:pt idx="132">
                        <c:v>397</c:v>
                      </c:pt>
                      <c:pt idx="133">
                        <c:v>375</c:v>
                      </c:pt>
                      <c:pt idx="134">
                        <c:v>349</c:v>
                      </c:pt>
                      <c:pt idx="135">
                        <c:v>321</c:v>
                      </c:pt>
                      <c:pt idx="136">
                        <c:v>305</c:v>
                      </c:pt>
                      <c:pt idx="137">
                        <c:v>293</c:v>
                      </c:pt>
                      <c:pt idx="138">
                        <c:v>281</c:v>
                      </c:pt>
                      <c:pt idx="139">
                        <c:v>269</c:v>
                      </c:pt>
                      <c:pt idx="140">
                        <c:v>255</c:v>
                      </c:pt>
                      <c:pt idx="141">
                        <c:v>247</c:v>
                      </c:pt>
                      <c:pt idx="142">
                        <c:v>236</c:v>
                      </c:pt>
                      <c:pt idx="143">
                        <c:v>220</c:v>
                      </c:pt>
                      <c:pt idx="144">
                        <c:v>202</c:v>
                      </c:pt>
                      <c:pt idx="145">
                        <c:v>189</c:v>
                      </c:pt>
                      <c:pt idx="146">
                        <c:v>175</c:v>
                      </c:pt>
                      <c:pt idx="147">
                        <c:v>154</c:v>
                      </c:pt>
                      <c:pt idx="148">
                        <c:v>144</c:v>
                      </c:pt>
                      <c:pt idx="149">
                        <c:v>131</c:v>
                      </c:pt>
                      <c:pt idx="150">
                        <c:v>122</c:v>
                      </c:pt>
                      <c:pt idx="151">
                        <c:v>98</c:v>
                      </c:pt>
                      <c:pt idx="152">
                        <c:v>94</c:v>
                      </c:pt>
                      <c:pt idx="153">
                        <c:v>91</c:v>
                      </c:pt>
                      <c:pt idx="154">
                        <c:v>84</c:v>
                      </c:pt>
                      <c:pt idx="155">
                        <c:v>96</c:v>
                      </c:pt>
                      <c:pt idx="156">
                        <c:v>99</c:v>
                      </c:pt>
                      <c:pt idx="157">
                        <c:v>107</c:v>
                      </c:pt>
                      <c:pt idx="158">
                        <c:v>102</c:v>
                      </c:pt>
                      <c:pt idx="159">
                        <c:v>105</c:v>
                      </c:pt>
                      <c:pt idx="160">
                        <c:v>98</c:v>
                      </c:pt>
                      <c:pt idx="161">
                        <c:v>91</c:v>
                      </c:pt>
                      <c:pt idx="162">
                        <c:v>86</c:v>
                      </c:pt>
                      <c:pt idx="163">
                        <c:v>85</c:v>
                      </c:pt>
                      <c:pt idx="164">
                        <c:v>78</c:v>
                      </c:pt>
                      <c:pt idx="165">
                        <c:v>77</c:v>
                      </c:pt>
                      <c:pt idx="166">
                        <c:v>81</c:v>
                      </c:pt>
                      <c:pt idx="167">
                        <c:v>79</c:v>
                      </c:pt>
                      <c:pt idx="168">
                        <c:v>75</c:v>
                      </c:pt>
                      <c:pt idx="169">
                        <c:v>86</c:v>
                      </c:pt>
                      <c:pt idx="170">
                        <c:v>97</c:v>
                      </c:pt>
                      <c:pt idx="171">
                        <c:v>82</c:v>
                      </c:pt>
                      <c:pt idx="172">
                        <c:v>125</c:v>
                      </c:pt>
                      <c:pt idx="173">
                        <c:v>245</c:v>
                      </c:pt>
                      <c:pt idx="174">
                        <c:v>156</c:v>
                      </c:pt>
                      <c:pt idx="175">
                        <c:v>0</c:v>
                      </c:pt>
                      <c:pt idx="176">
                        <c:v>247</c:v>
                      </c:pt>
                      <c:pt idx="177">
                        <c:v>214</c:v>
                      </c:pt>
                      <c:pt idx="178">
                        <c:v>0</c:v>
                      </c:pt>
                      <c:pt idx="179">
                        <c:v>215</c:v>
                      </c:pt>
                      <c:pt idx="180">
                        <c:v>179</c:v>
                      </c:pt>
                      <c:pt idx="181">
                        <c:v>172</c:v>
                      </c:pt>
                      <c:pt idx="182">
                        <c:v>96</c:v>
                      </c:pt>
                      <c:pt idx="183">
                        <c:v>98</c:v>
                      </c:pt>
                      <c:pt idx="184">
                        <c:v>0</c:v>
                      </c:pt>
                      <c:pt idx="185">
                        <c:v>183</c:v>
                      </c:pt>
                      <c:pt idx="186">
                        <c:v>92</c:v>
                      </c:pt>
                      <c:pt idx="187">
                        <c:v>89</c:v>
                      </c:pt>
                      <c:pt idx="188">
                        <c:v>95</c:v>
                      </c:pt>
                      <c:pt idx="189">
                        <c:v>103</c:v>
                      </c:pt>
                      <c:pt idx="190">
                        <c:v>105</c:v>
                      </c:pt>
                      <c:pt idx="191">
                        <c:v>109</c:v>
                      </c:pt>
                      <c:pt idx="192">
                        <c:v>0</c:v>
                      </c:pt>
                      <c:pt idx="193">
                        <c:v>245</c:v>
                      </c:pt>
                      <c:pt idx="194">
                        <c:v>0</c:v>
                      </c:pt>
                      <c:pt idx="195">
                        <c:v>284</c:v>
                      </c:pt>
                      <c:pt idx="196">
                        <c:v>286</c:v>
                      </c:pt>
                      <c:pt idx="197">
                        <c:v>295</c:v>
                      </c:pt>
                      <c:pt idx="198">
                        <c:v>204</c:v>
                      </c:pt>
                      <c:pt idx="199">
                        <c:v>191</c:v>
                      </c:pt>
                      <c:pt idx="200">
                        <c:v>210</c:v>
                      </c:pt>
                      <c:pt idx="201">
                        <c:v>0</c:v>
                      </c:pt>
                      <c:pt idx="202">
                        <c:v>309</c:v>
                      </c:pt>
                      <c:pt idx="203">
                        <c:v>145</c:v>
                      </c:pt>
                      <c:pt idx="204">
                        <c:v>142</c:v>
                      </c:pt>
                      <c:pt idx="205">
                        <c:v>159</c:v>
                      </c:pt>
                      <c:pt idx="206">
                        <c:v>164</c:v>
                      </c:pt>
                      <c:pt idx="207">
                        <c:v>0</c:v>
                      </c:pt>
                      <c:pt idx="208">
                        <c:v>340</c:v>
                      </c:pt>
                      <c:pt idx="209">
                        <c:v>0</c:v>
                      </c:pt>
                      <c:pt idx="210">
                        <c:v>0</c:v>
                      </c:pt>
                      <c:pt idx="211">
                        <c:v>520</c:v>
                      </c:pt>
                      <c:pt idx="212">
                        <c:v>0</c:v>
                      </c:pt>
                      <c:pt idx="213">
                        <c:v>0</c:v>
                      </c:pt>
                      <c:pt idx="214">
                        <c:v>570</c:v>
                      </c:pt>
                      <c:pt idx="215">
                        <c:v>0</c:v>
                      </c:pt>
                      <c:pt idx="216">
                        <c:v>0</c:v>
                      </c:pt>
                      <c:pt idx="217">
                        <c:v>0</c:v>
                      </c:pt>
                      <c:pt idx="218">
                        <c:v>767</c:v>
                      </c:pt>
                      <c:pt idx="219">
                        <c:v>184</c:v>
                      </c:pt>
                      <c:pt idx="220">
                        <c:v>179</c:v>
                      </c:pt>
                      <c:pt idx="221">
                        <c:v>0</c:v>
                      </c:pt>
                      <c:pt idx="222">
                        <c:v>0</c:v>
                      </c:pt>
                      <c:pt idx="223">
                        <c:v>0</c:v>
                      </c:pt>
                      <c:pt idx="224">
                        <c:v>0</c:v>
                      </c:pt>
                      <c:pt idx="225">
                        <c:v>885</c:v>
                      </c:pt>
                      <c:pt idx="226">
                        <c:v>165</c:v>
                      </c:pt>
                      <c:pt idx="227">
                        <c:v>163</c:v>
                      </c:pt>
                      <c:pt idx="228">
                        <c:v>0</c:v>
                      </c:pt>
                      <c:pt idx="229">
                        <c:v>311</c:v>
                      </c:pt>
                      <c:pt idx="230">
                        <c:v>0</c:v>
                      </c:pt>
                      <c:pt idx="231">
                        <c:v>296</c:v>
                      </c:pt>
                      <c:pt idx="232">
                        <c:v>144</c:v>
                      </c:pt>
                      <c:pt idx="233">
                        <c:v>141</c:v>
                      </c:pt>
                      <c:pt idx="234">
                        <c:v>0</c:v>
                      </c:pt>
                      <c:pt idx="235">
                        <c:v>312</c:v>
                      </c:pt>
                      <c:pt idx="236">
                        <c:v>0</c:v>
                      </c:pt>
                      <c:pt idx="237">
                        <c:v>322</c:v>
                      </c:pt>
                      <c:pt idx="238">
                        <c:v>0</c:v>
                      </c:pt>
                      <c:pt idx="239">
                        <c:v>0</c:v>
                      </c:pt>
                      <c:pt idx="240">
                        <c:v>521</c:v>
                      </c:pt>
                      <c:pt idx="241">
                        <c:v>0</c:v>
                      </c:pt>
                      <c:pt idx="242">
                        <c:v>0</c:v>
                      </c:pt>
                      <c:pt idx="243">
                        <c:v>0</c:v>
                      </c:pt>
                      <c:pt idx="244">
                        <c:v>725</c:v>
                      </c:pt>
                      <c:pt idx="245">
                        <c:v>0</c:v>
                      </c:pt>
                      <c:pt idx="246">
                        <c:v>0</c:v>
                      </c:pt>
                      <c:pt idx="247">
                        <c:v>588</c:v>
                      </c:pt>
                      <c:pt idx="248">
                        <c:v>0</c:v>
                      </c:pt>
                      <c:pt idx="249">
                        <c:v>413</c:v>
                      </c:pt>
                      <c:pt idx="250">
                        <c:v>214</c:v>
                      </c:pt>
                      <c:pt idx="251">
                        <c:v>206</c:v>
                      </c:pt>
                      <c:pt idx="252">
                        <c:v>190</c:v>
                      </c:pt>
                      <c:pt idx="253">
                        <c:v>0</c:v>
                      </c:pt>
                      <c:pt idx="254">
                        <c:v>0</c:v>
                      </c:pt>
                      <c:pt idx="255">
                        <c:v>653</c:v>
                      </c:pt>
                      <c:pt idx="256">
                        <c:v>0</c:v>
                      </c:pt>
                      <c:pt idx="257">
                        <c:v>486</c:v>
                      </c:pt>
                      <c:pt idx="258">
                        <c:v>252</c:v>
                      </c:pt>
                      <c:pt idx="259">
                        <c:v>265</c:v>
                      </c:pt>
                      <c:pt idx="260">
                        <c:v>0</c:v>
                      </c:pt>
                      <c:pt idx="261">
                        <c:v>0</c:v>
                      </c:pt>
                      <c:pt idx="262">
                        <c:v>798</c:v>
                      </c:pt>
                      <c:pt idx="263">
                        <c:v>282</c:v>
                      </c:pt>
                      <c:pt idx="264">
                        <c:v>295</c:v>
                      </c:pt>
                      <c:pt idx="265">
                        <c:v>0</c:v>
                      </c:pt>
                      <c:pt idx="266">
                        <c:v>0</c:v>
                      </c:pt>
                      <c:pt idx="267">
                        <c:v>847</c:v>
                      </c:pt>
                      <c:pt idx="268">
                        <c:v>0</c:v>
                      </c:pt>
                      <c:pt idx="269">
                        <c:v>0</c:v>
                      </c:pt>
                      <c:pt idx="270">
                        <c:v>0</c:v>
                      </c:pt>
                      <c:pt idx="271">
                        <c:v>796</c:v>
                      </c:pt>
                      <c:pt idx="272">
                        <c:v>0</c:v>
                      </c:pt>
                      <c:pt idx="273">
                        <c:v>545</c:v>
                      </c:pt>
                      <c:pt idx="274">
                        <c:v>0</c:v>
                      </c:pt>
                      <c:pt idx="275">
                        <c:v>0</c:v>
                      </c:pt>
                      <c:pt idx="276">
                        <c:v>0</c:v>
                      </c:pt>
                      <c:pt idx="277">
                        <c:v>843</c:v>
                      </c:pt>
                    </c:numCache>
                  </c:numRef>
                </c:val>
                <c:extLst>
                  <c:ext xmlns:c16="http://schemas.microsoft.com/office/drawing/2014/chart" uri="{C3380CC4-5D6E-409C-BE32-E72D297353CC}">
                    <c16:uniqueId val="{00000002-1D52-4AF4-98CA-071069331375}"/>
                  </c:ext>
                </c:extLst>
              </c15:ser>
            </c15:filteredBarSeries>
            <c15:filteredBarSeries>
              <c15:ser>
                <c:idx val="1"/>
                <c:order val="2"/>
                <c:tx>
                  <c:strRef>
                    <c:extLst xmlns:c15="http://schemas.microsoft.com/office/drawing/2012/chart">
                      <c:ext xmlns:c15="http://schemas.microsoft.com/office/drawing/2012/chart" uri="{02D57815-91ED-43cb-92C2-25804820EDAC}">
                        <c15:formulaRef>
                          <c15:sqref>Detalle!#REF!</c15:sqref>
                        </c15:formulaRef>
                      </c:ext>
                    </c:extLst>
                    <c:strCache>
                      <c:ptCount val="1"/>
                      <c:pt idx="0">
                        <c:v>#REF!</c:v>
                      </c:pt>
                    </c:strCache>
                  </c:strRef>
                </c:tx>
                <c:spPr>
                  <a:solidFill>
                    <a:schemeClr val="accent2"/>
                  </a:solidFill>
                  <a:ln>
                    <a:noFill/>
                  </a:ln>
                  <a:effectLst/>
                </c:spPr>
                <c:invertIfNegative val="0"/>
                <c:cat>
                  <c:numRef>
                    <c:extLst xmlns:c15="http://schemas.microsoft.com/office/drawing/2012/chart">
                      <c:ext xmlns:c15="http://schemas.microsoft.com/office/drawing/2012/chart" uri="{02D57815-91ED-43cb-92C2-25804820EDAC}">
                        <c15:formulaRef>
                          <c15:sqref>World!$A$94:$A$598</c15:sqref>
                        </c15:formulaRef>
                      </c:ext>
                    </c:extLst>
                    <c:numCache>
                      <c:formatCode>dd/mm/yy;@</c:formatCode>
                      <c:ptCount val="505"/>
                      <c:pt idx="0">
                        <c:v>43922</c:v>
                      </c:pt>
                      <c:pt idx="1">
                        <c:v>43923</c:v>
                      </c:pt>
                      <c:pt idx="2">
                        <c:v>43924</c:v>
                      </c:pt>
                      <c:pt idx="3">
                        <c:v>43925</c:v>
                      </c:pt>
                      <c:pt idx="4">
                        <c:v>43926</c:v>
                      </c:pt>
                      <c:pt idx="5">
                        <c:v>43927</c:v>
                      </c:pt>
                      <c:pt idx="6">
                        <c:v>43928</c:v>
                      </c:pt>
                      <c:pt idx="7">
                        <c:v>43929</c:v>
                      </c:pt>
                      <c:pt idx="8">
                        <c:v>43930</c:v>
                      </c:pt>
                      <c:pt idx="9">
                        <c:v>43931</c:v>
                      </c:pt>
                      <c:pt idx="10">
                        <c:v>43932</c:v>
                      </c:pt>
                      <c:pt idx="11">
                        <c:v>43933</c:v>
                      </c:pt>
                      <c:pt idx="12">
                        <c:v>43934</c:v>
                      </c:pt>
                      <c:pt idx="13">
                        <c:v>43935</c:v>
                      </c:pt>
                      <c:pt idx="14">
                        <c:v>43936</c:v>
                      </c:pt>
                      <c:pt idx="15">
                        <c:v>43937</c:v>
                      </c:pt>
                      <c:pt idx="16">
                        <c:v>43938</c:v>
                      </c:pt>
                      <c:pt idx="17">
                        <c:v>43939</c:v>
                      </c:pt>
                      <c:pt idx="18">
                        <c:v>43940</c:v>
                      </c:pt>
                      <c:pt idx="19">
                        <c:v>43941</c:v>
                      </c:pt>
                      <c:pt idx="20">
                        <c:v>43942</c:v>
                      </c:pt>
                      <c:pt idx="21">
                        <c:v>43943</c:v>
                      </c:pt>
                      <c:pt idx="22">
                        <c:v>43944</c:v>
                      </c:pt>
                      <c:pt idx="23">
                        <c:v>43945</c:v>
                      </c:pt>
                      <c:pt idx="24">
                        <c:v>43946</c:v>
                      </c:pt>
                      <c:pt idx="25">
                        <c:v>43947</c:v>
                      </c:pt>
                      <c:pt idx="26">
                        <c:v>43948</c:v>
                      </c:pt>
                      <c:pt idx="27">
                        <c:v>43949</c:v>
                      </c:pt>
                      <c:pt idx="28">
                        <c:v>43950</c:v>
                      </c:pt>
                      <c:pt idx="29">
                        <c:v>43951</c:v>
                      </c:pt>
                      <c:pt idx="30">
                        <c:v>43952</c:v>
                      </c:pt>
                      <c:pt idx="31">
                        <c:v>43953</c:v>
                      </c:pt>
                      <c:pt idx="32">
                        <c:v>43954</c:v>
                      </c:pt>
                      <c:pt idx="33">
                        <c:v>43955</c:v>
                      </c:pt>
                      <c:pt idx="34">
                        <c:v>43956</c:v>
                      </c:pt>
                      <c:pt idx="35">
                        <c:v>43957</c:v>
                      </c:pt>
                      <c:pt idx="36">
                        <c:v>43958</c:v>
                      </c:pt>
                      <c:pt idx="37">
                        <c:v>43959</c:v>
                      </c:pt>
                      <c:pt idx="38">
                        <c:v>43960</c:v>
                      </c:pt>
                      <c:pt idx="39">
                        <c:v>43961</c:v>
                      </c:pt>
                      <c:pt idx="40">
                        <c:v>43962</c:v>
                      </c:pt>
                      <c:pt idx="41">
                        <c:v>43963</c:v>
                      </c:pt>
                      <c:pt idx="42">
                        <c:v>43964</c:v>
                      </c:pt>
                      <c:pt idx="43">
                        <c:v>43965</c:v>
                      </c:pt>
                      <c:pt idx="44">
                        <c:v>43966</c:v>
                      </c:pt>
                      <c:pt idx="45">
                        <c:v>43967</c:v>
                      </c:pt>
                      <c:pt idx="46">
                        <c:v>43968</c:v>
                      </c:pt>
                      <c:pt idx="47">
                        <c:v>43969</c:v>
                      </c:pt>
                      <c:pt idx="48">
                        <c:v>43970</c:v>
                      </c:pt>
                      <c:pt idx="49">
                        <c:v>43971</c:v>
                      </c:pt>
                      <c:pt idx="50">
                        <c:v>43972</c:v>
                      </c:pt>
                      <c:pt idx="51">
                        <c:v>43973</c:v>
                      </c:pt>
                      <c:pt idx="52">
                        <c:v>43974</c:v>
                      </c:pt>
                      <c:pt idx="53">
                        <c:v>43975</c:v>
                      </c:pt>
                      <c:pt idx="54">
                        <c:v>43976</c:v>
                      </c:pt>
                      <c:pt idx="55">
                        <c:v>43977</c:v>
                      </c:pt>
                      <c:pt idx="56">
                        <c:v>43978</c:v>
                      </c:pt>
                      <c:pt idx="57">
                        <c:v>43979</c:v>
                      </c:pt>
                      <c:pt idx="58">
                        <c:v>43980</c:v>
                      </c:pt>
                      <c:pt idx="59">
                        <c:v>43981</c:v>
                      </c:pt>
                      <c:pt idx="60">
                        <c:v>43982</c:v>
                      </c:pt>
                      <c:pt idx="61">
                        <c:v>43983</c:v>
                      </c:pt>
                      <c:pt idx="62">
                        <c:v>43984</c:v>
                      </c:pt>
                      <c:pt idx="63">
                        <c:v>43985</c:v>
                      </c:pt>
                      <c:pt idx="64">
                        <c:v>43986</c:v>
                      </c:pt>
                      <c:pt idx="65">
                        <c:v>43987</c:v>
                      </c:pt>
                      <c:pt idx="66">
                        <c:v>43988</c:v>
                      </c:pt>
                      <c:pt idx="67">
                        <c:v>43989</c:v>
                      </c:pt>
                      <c:pt idx="68">
                        <c:v>43990</c:v>
                      </c:pt>
                      <c:pt idx="69">
                        <c:v>43991</c:v>
                      </c:pt>
                      <c:pt idx="70">
                        <c:v>43992</c:v>
                      </c:pt>
                      <c:pt idx="71">
                        <c:v>43993</c:v>
                      </c:pt>
                      <c:pt idx="72">
                        <c:v>43994</c:v>
                      </c:pt>
                      <c:pt idx="73">
                        <c:v>43995</c:v>
                      </c:pt>
                      <c:pt idx="74">
                        <c:v>43996</c:v>
                      </c:pt>
                      <c:pt idx="75">
                        <c:v>43997</c:v>
                      </c:pt>
                      <c:pt idx="76">
                        <c:v>43998</c:v>
                      </c:pt>
                      <c:pt idx="77">
                        <c:v>43999</c:v>
                      </c:pt>
                      <c:pt idx="78">
                        <c:v>44000</c:v>
                      </c:pt>
                      <c:pt idx="79">
                        <c:v>44001</c:v>
                      </c:pt>
                      <c:pt idx="80">
                        <c:v>44002</c:v>
                      </c:pt>
                      <c:pt idx="81">
                        <c:v>44003</c:v>
                      </c:pt>
                      <c:pt idx="82">
                        <c:v>44004</c:v>
                      </c:pt>
                      <c:pt idx="83">
                        <c:v>44005</c:v>
                      </c:pt>
                      <c:pt idx="84">
                        <c:v>44006</c:v>
                      </c:pt>
                      <c:pt idx="85">
                        <c:v>44007</c:v>
                      </c:pt>
                      <c:pt idx="86">
                        <c:v>44008</c:v>
                      </c:pt>
                      <c:pt idx="87">
                        <c:v>44009</c:v>
                      </c:pt>
                      <c:pt idx="88">
                        <c:v>44010</c:v>
                      </c:pt>
                      <c:pt idx="89">
                        <c:v>44011</c:v>
                      </c:pt>
                      <c:pt idx="90">
                        <c:v>44012</c:v>
                      </c:pt>
                      <c:pt idx="91">
                        <c:v>44013</c:v>
                      </c:pt>
                      <c:pt idx="92">
                        <c:v>44014</c:v>
                      </c:pt>
                      <c:pt idx="93">
                        <c:v>44015</c:v>
                      </c:pt>
                      <c:pt idx="94">
                        <c:v>44016</c:v>
                      </c:pt>
                      <c:pt idx="95">
                        <c:v>44017</c:v>
                      </c:pt>
                      <c:pt idx="96">
                        <c:v>44018</c:v>
                      </c:pt>
                      <c:pt idx="97">
                        <c:v>44019</c:v>
                      </c:pt>
                      <c:pt idx="98">
                        <c:v>44020</c:v>
                      </c:pt>
                      <c:pt idx="99">
                        <c:v>44021</c:v>
                      </c:pt>
                      <c:pt idx="100">
                        <c:v>44022</c:v>
                      </c:pt>
                      <c:pt idx="101">
                        <c:v>44023</c:v>
                      </c:pt>
                      <c:pt idx="102">
                        <c:v>44024</c:v>
                      </c:pt>
                      <c:pt idx="103">
                        <c:v>44025</c:v>
                      </c:pt>
                      <c:pt idx="104">
                        <c:v>44026</c:v>
                      </c:pt>
                      <c:pt idx="105">
                        <c:v>44027</c:v>
                      </c:pt>
                      <c:pt idx="106">
                        <c:v>44028</c:v>
                      </c:pt>
                      <c:pt idx="107">
                        <c:v>44029</c:v>
                      </c:pt>
                      <c:pt idx="108">
                        <c:v>44030</c:v>
                      </c:pt>
                      <c:pt idx="109">
                        <c:v>44031</c:v>
                      </c:pt>
                      <c:pt idx="110">
                        <c:v>44032</c:v>
                      </c:pt>
                      <c:pt idx="111">
                        <c:v>44033</c:v>
                      </c:pt>
                      <c:pt idx="112">
                        <c:v>44034</c:v>
                      </c:pt>
                      <c:pt idx="113">
                        <c:v>44035</c:v>
                      </c:pt>
                      <c:pt idx="114">
                        <c:v>44036</c:v>
                      </c:pt>
                      <c:pt idx="115">
                        <c:v>44037</c:v>
                      </c:pt>
                      <c:pt idx="116">
                        <c:v>44038</c:v>
                      </c:pt>
                      <c:pt idx="117">
                        <c:v>44039</c:v>
                      </c:pt>
                      <c:pt idx="118">
                        <c:v>44040</c:v>
                      </c:pt>
                      <c:pt idx="119">
                        <c:v>44041</c:v>
                      </c:pt>
                      <c:pt idx="120">
                        <c:v>44042</c:v>
                      </c:pt>
                      <c:pt idx="121">
                        <c:v>44043</c:v>
                      </c:pt>
                      <c:pt idx="122">
                        <c:v>44044</c:v>
                      </c:pt>
                      <c:pt idx="123">
                        <c:v>44045</c:v>
                      </c:pt>
                      <c:pt idx="124">
                        <c:v>44046</c:v>
                      </c:pt>
                      <c:pt idx="125">
                        <c:v>44047</c:v>
                      </c:pt>
                      <c:pt idx="126">
                        <c:v>44048</c:v>
                      </c:pt>
                      <c:pt idx="127">
                        <c:v>44049</c:v>
                      </c:pt>
                      <c:pt idx="128">
                        <c:v>44050</c:v>
                      </c:pt>
                      <c:pt idx="129">
                        <c:v>44051</c:v>
                      </c:pt>
                      <c:pt idx="130">
                        <c:v>44052</c:v>
                      </c:pt>
                      <c:pt idx="131">
                        <c:v>44053</c:v>
                      </c:pt>
                      <c:pt idx="132">
                        <c:v>44054</c:v>
                      </c:pt>
                      <c:pt idx="133">
                        <c:v>44055</c:v>
                      </c:pt>
                      <c:pt idx="134">
                        <c:v>44056</c:v>
                      </c:pt>
                      <c:pt idx="135">
                        <c:v>44057</c:v>
                      </c:pt>
                      <c:pt idx="136">
                        <c:v>44058</c:v>
                      </c:pt>
                      <c:pt idx="137">
                        <c:v>44059</c:v>
                      </c:pt>
                      <c:pt idx="138">
                        <c:v>44060</c:v>
                      </c:pt>
                      <c:pt idx="139">
                        <c:v>44061</c:v>
                      </c:pt>
                      <c:pt idx="140">
                        <c:v>44062</c:v>
                      </c:pt>
                      <c:pt idx="141">
                        <c:v>44063</c:v>
                      </c:pt>
                      <c:pt idx="142">
                        <c:v>44064</c:v>
                      </c:pt>
                      <c:pt idx="143">
                        <c:v>44065</c:v>
                      </c:pt>
                      <c:pt idx="144">
                        <c:v>44066</c:v>
                      </c:pt>
                      <c:pt idx="145">
                        <c:v>44067</c:v>
                      </c:pt>
                      <c:pt idx="146">
                        <c:v>44068</c:v>
                      </c:pt>
                      <c:pt idx="147">
                        <c:v>44069</c:v>
                      </c:pt>
                      <c:pt idx="148">
                        <c:v>44070</c:v>
                      </c:pt>
                      <c:pt idx="149">
                        <c:v>44071</c:v>
                      </c:pt>
                      <c:pt idx="150">
                        <c:v>44072</c:v>
                      </c:pt>
                      <c:pt idx="151">
                        <c:v>44073</c:v>
                      </c:pt>
                      <c:pt idx="152">
                        <c:v>44074</c:v>
                      </c:pt>
                      <c:pt idx="153">
                        <c:v>44075</c:v>
                      </c:pt>
                      <c:pt idx="154">
                        <c:v>44076</c:v>
                      </c:pt>
                      <c:pt idx="155">
                        <c:v>44077</c:v>
                      </c:pt>
                      <c:pt idx="156">
                        <c:v>44078</c:v>
                      </c:pt>
                      <c:pt idx="157">
                        <c:v>44079</c:v>
                      </c:pt>
                      <c:pt idx="158">
                        <c:v>44080</c:v>
                      </c:pt>
                      <c:pt idx="159">
                        <c:v>44081</c:v>
                      </c:pt>
                      <c:pt idx="160">
                        <c:v>44082</c:v>
                      </c:pt>
                      <c:pt idx="161">
                        <c:v>44083</c:v>
                      </c:pt>
                      <c:pt idx="162">
                        <c:v>44084</c:v>
                      </c:pt>
                      <c:pt idx="163">
                        <c:v>44085</c:v>
                      </c:pt>
                      <c:pt idx="164">
                        <c:v>44086</c:v>
                      </c:pt>
                      <c:pt idx="165">
                        <c:v>44087</c:v>
                      </c:pt>
                      <c:pt idx="166">
                        <c:v>44088</c:v>
                      </c:pt>
                      <c:pt idx="167">
                        <c:v>44089</c:v>
                      </c:pt>
                      <c:pt idx="168">
                        <c:v>44090</c:v>
                      </c:pt>
                      <c:pt idx="169">
                        <c:v>44091</c:v>
                      </c:pt>
                      <c:pt idx="170">
                        <c:v>44092</c:v>
                      </c:pt>
                      <c:pt idx="171">
                        <c:v>44093</c:v>
                      </c:pt>
                      <c:pt idx="172">
                        <c:v>44094</c:v>
                      </c:pt>
                      <c:pt idx="173">
                        <c:v>44095</c:v>
                      </c:pt>
                      <c:pt idx="174">
                        <c:v>44096</c:v>
                      </c:pt>
                      <c:pt idx="175">
                        <c:v>44097</c:v>
                      </c:pt>
                      <c:pt idx="176">
                        <c:v>44098</c:v>
                      </c:pt>
                      <c:pt idx="177">
                        <c:v>44099</c:v>
                      </c:pt>
                      <c:pt idx="178">
                        <c:v>44100</c:v>
                      </c:pt>
                      <c:pt idx="179">
                        <c:v>44101</c:v>
                      </c:pt>
                      <c:pt idx="180">
                        <c:v>44102</c:v>
                      </c:pt>
                      <c:pt idx="181">
                        <c:v>44103</c:v>
                      </c:pt>
                      <c:pt idx="182">
                        <c:v>44104</c:v>
                      </c:pt>
                      <c:pt idx="183">
                        <c:v>44105</c:v>
                      </c:pt>
                      <c:pt idx="184">
                        <c:v>44106</c:v>
                      </c:pt>
                      <c:pt idx="185">
                        <c:v>44107</c:v>
                      </c:pt>
                      <c:pt idx="186">
                        <c:v>44108</c:v>
                      </c:pt>
                      <c:pt idx="187">
                        <c:v>44109</c:v>
                      </c:pt>
                      <c:pt idx="188">
                        <c:v>44110</c:v>
                      </c:pt>
                      <c:pt idx="189">
                        <c:v>44111</c:v>
                      </c:pt>
                      <c:pt idx="190">
                        <c:v>44112</c:v>
                      </c:pt>
                      <c:pt idx="191">
                        <c:v>44113</c:v>
                      </c:pt>
                      <c:pt idx="192">
                        <c:v>44114</c:v>
                      </c:pt>
                      <c:pt idx="193">
                        <c:v>44115</c:v>
                      </c:pt>
                      <c:pt idx="194">
                        <c:v>44116</c:v>
                      </c:pt>
                      <c:pt idx="195">
                        <c:v>44117</c:v>
                      </c:pt>
                      <c:pt idx="196">
                        <c:v>44118</c:v>
                      </c:pt>
                      <c:pt idx="197">
                        <c:v>44119</c:v>
                      </c:pt>
                      <c:pt idx="198">
                        <c:v>44120</c:v>
                      </c:pt>
                      <c:pt idx="199">
                        <c:v>44121</c:v>
                      </c:pt>
                      <c:pt idx="200">
                        <c:v>44122</c:v>
                      </c:pt>
                      <c:pt idx="201">
                        <c:v>44123</c:v>
                      </c:pt>
                      <c:pt idx="202">
                        <c:v>44124</c:v>
                      </c:pt>
                      <c:pt idx="203">
                        <c:v>44125</c:v>
                      </c:pt>
                      <c:pt idx="204">
                        <c:v>44126</c:v>
                      </c:pt>
                      <c:pt idx="205">
                        <c:v>44127</c:v>
                      </c:pt>
                      <c:pt idx="206">
                        <c:v>44128</c:v>
                      </c:pt>
                      <c:pt idx="207">
                        <c:v>44129</c:v>
                      </c:pt>
                      <c:pt idx="208">
                        <c:v>44130</c:v>
                      </c:pt>
                      <c:pt idx="209">
                        <c:v>44131</c:v>
                      </c:pt>
                      <c:pt idx="210">
                        <c:v>44132</c:v>
                      </c:pt>
                      <c:pt idx="211">
                        <c:v>44133</c:v>
                      </c:pt>
                      <c:pt idx="212">
                        <c:v>44134</c:v>
                      </c:pt>
                      <c:pt idx="213">
                        <c:v>44135</c:v>
                      </c:pt>
                      <c:pt idx="214">
                        <c:v>44136</c:v>
                      </c:pt>
                      <c:pt idx="215">
                        <c:v>44137</c:v>
                      </c:pt>
                      <c:pt idx="216">
                        <c:v>44138</c:v>
                      </c:pt>
                      <c:pt idx="217">
                        <c:v>44139</c:v>
                      </c:pt>
                      <c:pt idx="218">
                        <c:v>44140</c:v>
                      </c:pt>
                      <c:pt idx="219">
                        <c:v>44141</c:v>
                      </c:pt>
                      <c:pt idx="220">
                        <c:v>44142</c:v>
                      </c:pt>
                      <c:pt idx="221">
                        <c:v>44143</c:v>
                      </c:pt>
                      <c:pt idx="222">
                        <c:v>44144</c:v>
                      </c:pt>
                      <c:pt idx="223">
                        <c:v>44145</c:v>
                      </c:pt>
                      <c:pt idx="224">
                        <c:v>44146</c:v>
                      </c:pt>
                      <c:pt idx="225">
                        <c:v>44147</c:v>
                      </c:pt>
                      <c:pt idx="226">
                        <c:v>44148</c:v>
                      </c:pt>
                      <c:pt idx="227">
                        <c:v>44149</c:v>
                      </c:pt>
                      <c:pt idx="228">
                        <c:v>44150</c:v>
                      </c:pt>
                      <c:pt idx="229">
                        <c:v>44151</c:v>
                      </c:pt>
                      <c:pt idx="230">
                        <c:v>44152</c:v>
                      </c:pt>
                      <c:pt idx="231">
                        <c:v>44153</c:v>
                      </c:pt>
                      <c:pt idx="232">
                        <c:v>44154</c:v>
                      </c:pt>
                      <c:pt idx="233">
                        <c:v>44155</c:v>
                      </c:pt>
                      <c:pt idx="234">
                        <c:v>44156</c:v>
                      </c:pt>
                      <c:pt idx="235">
                        <c:v>44157</c:v>
                      </c:pt>
                      <c:pt idx="236">
                        <c:v>44158</c:v>
                      </c:pt>
                      <c:pt idx="237">
                        <c:v>44159</c:v>
                      </c:pt>
                      <c:pt idx="238">
                        <c:v>44160</c:v>
                      </c:pt>
                      <c:pt idx="239">
                        <c:v>44161</c:v>
                      </c:pt>
                      <c:pt idx="240">
                        <c:v>44162</c:v>
                      </c:pt>
                      <c:pt idx="241">
                        <c:v>44163</c:v>
                      </c:pt>
                      <c:pt idx="242">
                        <c:v>44164</c:v>
                      </c:pt>
                      <c:pt idx="243">
                        <c:v>44165</c:v>
                      </c:pt>
                      <c:pt idx="244">
                        <c:v>44166</c:v>
                      </c:pt>
                      <c:pt idx="245">
                        <c:v>44167</c:v>
                      </c:pt>
                      <c:pt idx="246">
                        <c:v>44168</c:v>
                      </c:pt>
                      <c:pt idx="247">
                        <c:v>44169</c:v>
                      </c:pt>
                      <c:pt idx="248">
                        <c:v>44170</c:v>
                      </c:pt>
                      <c:pt idx="249">
                        <c:v>44171</c:v>
                      </c:pt>
                      <c:pt idx="250">
                        <c:v>44172</c:v>
                      </c:pt>
                      <c:pt idx="251">
                        <c:v>44173</c:v>
                      </c:pt>
                      <c:pt idx="252">
                        <c:v>44174</c:v>
                      </c:pt>
                      <c:pt idx="253">
                        <c:v>44175</c:v>
                      </c:pt>
                      <c:pt idx="254">
                        <c:v>44176</c:v>
                      </c:pt>
                      <c:pt idx="255">
                        <c:v>44177</c:v>
                      </c:pt>
                      <c:pt idx="256">
                        <c:v>44178</c:v>
                      </c:pt>
                      <c:pt idx="257">
                        <c:v>44179</c:v>
                      </c:pt>
                      <c:pt idx="258">
                        <c:v>44180</c:v>
                      </c:pt>
                      <c:pt idx="259">
                        <c:v>44181</c:v>
                      </c:pt>
                      <c:pt idx="260">
                        <c:v>44182</c:v>
                      </c:pt>
                      <c:pt idx="261">
                        <c:v>44183</c:v>
                      </c:pt>
                      <c:pt idx="262">
                        <c:v>44184</c:v>
                      </c:pt>
                      <c:pt idx="263">
                        <c:v>44185</c:v>
                      </c:pt>
                      <c:pt idx="264">
                        <c:v>44186</c:v>
                      </c:pt>
                      <c:pt idx="265">
                        <c:v>44187</c:v>
                      </c:pt>
                      <c:pt idx="266">
                        <c:v>44188</c:v>
                      </c:pt>
                      <c:pt idx="267">
                        <c:v>44189</c:v>
                      </c:pt>
                      <c:pt idx="268">
                        <c:v>44190</c:v>
                      </c:pt>
                      <c:pt idx="269">
                        <c:v>44191</c:v>
                      </c:pt>
                      <c:pt idx="270">
                        <c:v>44192</c:v>
                      </c:pt>
                      <c:pt idx="271">
                        <c:v>44193</c:v>
                      </c:pt>
                      <c:pt idx="272">
                        <c:v>44194</c:v>
                      </c:pt>
                      <c:pt idx="273">
                        <c:v>44195</c:v>
                      </c:pt>
                      <c:pt idx="274">
                        <c:v>44196</c:v>
                      </c:pt>
                      <c:pt idx="275">
                        <c:v>44197</c:v>
                      </c:pt>
                      <c:pt idx="276">
                        <c:v>44198</c:v>
                      </c:pt>
                      <c:pt idx="277">
                        <c:v>44199</c:v>
                      </c:pt>
                      <c:pt idx="278">
                        <c:v>44200</c:v>
                      </c:pt>
                      <c:pt idx="279">
                        <c:v>44201</c:v>
                      </c:pt>
                      <c:pt idx="280">
                        <c:v>44202</c:v>
                      </c:pt>
                      <c:pt idx="281">
                        <c:v>44203</c:v>
                      </c:pt>
                      <c:pt idx="282">
                        <c:v>44204</c:v>
                      </c:pt>
                      <c:pt idx="283">
                        <c:v>44205</c:v>
                      </c:pt>
                      <c:pt idx="284">
                        <c:v>44206</c:v>
                      </c:pt>
                      <c:pt idx="285">
                        <c:v>44207</c:v>
                      </c:pt>
                      <c:pt idx="286">
                        <c:v>44208</c:v>
                      </c:pt>
                      <c:pt idx="287">
                        <c:v>44209</c:v>
                      </c:pt>
                      <c:pt idx="288">
                        <c:v>44210</c:v>
                      </c:pt>
                      <c:pt idx="289">
                        <c:v>44211</c:v>
                      </c:pt>
                      <c:pt idx="290">
                        <c:v>44212</c:v>
                      </c:pt>
                      <c:pt idx="291">
                        <c:v>44213</c:v>
                      </c:pt>
                      <c:pt idx="292">
                        <c:v>44214</c:v>
                      </c:pt>
                      <c:pt idx="293">
                        <c:v>44215</c:v>
                      </c:pt>
                      <c:pt idx="294">
                        <c:v>44216</c:v>
                      </c:pt>
                      <c:pt idx="295">
                        <c:v>44217</c:v>
                      </c:pt>
                      <c:pt idx="296">
                        <c:v>44218</c:v>
                      </c:pt>
                      <c:pt idx="297">
                        <c:v>44219</c:v>
                      </c:pt>
                      <c:pt idx="298">
                        <c:v>44220</c:v>
                      </c:pt>
                      <c:pt idx="299">
                        <c:v>44221</c:v>
                      </c:pt>
                      <c:pt idx="300">
                        <c:v>44222</c:v>
                      </c:pt>
                      <c:pt idx="301">
                        <c:v>44223</c:v>
                      </c:pt>
                      <c:pt idx="302">
                        <c:v>44224</c:v>
                      </c:pt>
                      <c:pt idx="303">
                        <c:v>44225</c:v>
                      </c:pt>
                      <c:pt idx="304">
                        <c:v>44226</c:v>
                      </c:pt>
                      <c:pt idx="305">
                        <c:v>44227</c:v>
                      </c:pt>
                      <c:pt idx="306">
                        <c:v>44228</c:v>
                      </c:pt>
                      <c:pt idx="307">
                        <c:v>44229</c:v>
                      </c:pt>
                      <c:pt idx="308">
                        <c:v>44230</c:v>
                      </c:pt>
                      <c:pt idx="309">
                        <c:v>44231</c:v>
                      </c:pt>
                      <c:pt idx="310">
                        <c:v>44232</c:v>
                      </c:pt>
                      <c:pt idx="311">
                        <c:v>44233</c:v>
                      </c:pt>
                      <c:pt idx="312">
                        <c:v>44234</c:v>
                      </c:pt>
                      <c:pt idx="313">
                        <c:v>44235</c:v>
                      </c:pt>
                      <c:pt idx="314">
                        <c:v>44236</c:v>
                      </c:pt>
                      <c:pt idx="315">
                        <c:v>44237</c:v>
                      </c:pt>
                      <c:pt idx="316">
                        <c:v>44238</c:v>
                      </c:pt>
                      <c:pt idx="317">
                        <c:v>44239</c:v>
                      </c:pt>
                      <c:pt idx="318">
                        <c:v>44240</c:v>
                      </c:pt>
                      <c:pt idx="319">
                        <c:v>44241</c:v>
                      </c:pt>
                      <c:pt idx="320">
                        <c:v>44242</c:v>
                      </c:pt>
                      <c:pt idx="321">
                        <c:v>44243</c:v>
                      </c:pt>
                      <c:pt idx="322">
                        <c:v>44244</c:v>
                      </c:pt>
                      <c:pt idx="323">
                        <c:v>44245</c:v>
                      </c:pt>
                      <c:pt idx="324">
                        <c:v>44246</c:v>
                      </c:pt>
                      <c:pt idx="325">
                        <c:v>44247</c:v>
                      </c:pt>
                      <c:pt idx="326">
                        <c:v>44248</c:v>
                      </c:pt>
                      <c:pt idx="327">
                        <c:v>44249</c:v>
                      </c:pt>
                      <c:pt idx="328">
                        <c:v>44250</c:v>
                      </c:pt>
                      <c:pt idx="329">
                        <c:v>44251</c:v>
                      </c:pt>
                      <c:pt idx="330">
                        <c:v>44252</c:v>
                      </c:pt>
                      <c:pt idx="331">
                        <c:v>44253</c:v>
                      </c:pt>
                      <c:pt idx="332">
                        <c:v>44254</c:v>
                      </c:pt>
                      <c:pt idx="333">
                        <c:v>44255</c:v>
                      </c:pt>
                      <c:pt idx="334">
                        <c:v>44256</c:v>
                      </c:pt>
                      <c:pt idx="335">
                        <c:v>44257</c:v>
                      </c:pt>
                      <c:pt idx="336">
                        <c:v>44258</c:v>
                      </c:pt>
                      <c:pt idx="337">
                        <c:v>44259</c:v>
                      </c:pt>
                      <c:pt idx="338">
                        <c:v>44260</c:v>
                      </c:pt>
                      <c:pt idx="339">
                        <c:v>44261</c:v>
                      </c:pt>
                      <c:pt idx="340">
                        <c:v>44262</c:v>
                      </c:pt>
                      <c:pt idx="341">
                        <c:v>44263</c:v>
                      </c:pt>
                      <c:pt idx="342">
                        <c:v>44264</c:v>
                      </c:pt>
                      <c:pt idx="343">
                        <c:v>44265</c:v>
                      </c:pt>
                      <c:pt idx="344">
                        <c:v>44266</c:v>
                      </c:pt>
                      <c:pt idx="345">
                        <c:v>44267</c:v>
                      </c:pt>
                      <c:pt idx="346">
                        <c:v>44268</c:v>
                      </c:pt>
                      <c:pt idx="347">
                        <c:v>44269</c:v>
                      </c:pt>
                      <c:pt idx="348">
                        <c:v>44270</c:v>
                      </c:pt>
                      <c:pt idx="349">
                        <c:v>44271</c:v>
                      </c:pt>
                      <c:pt idx="350">
                        <c:v>44272</c:v>
                      </c:pt>
                      <c:pt idx="351">
                        <c:v>44273</c:v>
                      </c:pt>
                      <c:pt idx="352">
                        <c:v>44274</c:v>
                      </c:pt>
                      <c:pt idx="353">
                        <c:v>44275</c:v>
                      </c:pt>
                      <c:pt idx="354">
                        <c:v>44276</c:v>
                      </c:pt>
                      <c:pt idx="355">
                        <c:v>44277</c:v>
                      </c:pt>
                      <c:pt idx="356">
                        <c:v>44278</c:v>
                      </c:pt>
                      <c:pt idx="357">
                        <c:v>44279</c:v>
                      </c:pt>
                      <c:pt idx="358">
                        <c:v>44280</c:v>
                      </c:pt>
                      <c:pt idx="359">
                        <c:v>44281</c:v>
                      </c:pt>
                      <c:pt idx="360">
                        <c:v>44282</c:v>
                      </c:pt>
                      <c:pt idx="361">
                        <c:v>44283</c:v>
                      </c:pt>
                      <c:pt idx="362">
                        <c:v>44284</c:v>
                      </c:pt>
                      <c:pt idx="363">
                        <c:v>44285</c:v>
                      </c:pt>
                      <c:pt idx="364">
                        <c:v>44286</c:v>
                      </c:pt>
                      <c:pt idx="365">
                        <c:v>44287</c:v>
                      </c:pt>
                      <c:pt idx="366">
                        <c:v>44288</c:v>
                      </c:pt>
                      <c:pt idx="367">
                        <c:v>44289</c:v>
                      </c:pt>
                      <c:pt idx="368">
                        <c:v>44290</c:v>
                      </c:pt>
                      <c:pt idx="369">
                        <c:v>44291</c:v>
                      </c:pt>
                      <c:pt idx="370">
                        <c:v>44292</c:v>
                      </c:pt>
                      <c:pt idx="371">
                        <c:v>44293</c:v>
                      </c:pt>
                      <c:pt idx="372">
                        <c:v>44294</c:v>
                      </c:pt>
                      <c:pt idx="373">
                        <c:v>44295</c:v>
                      </c:pt>
                      <c:pt idx="374">
                        <c:v>44296</c:v>
                      </c:pt>
                      <c:pt idx="375">
                        <c:v>44297</c:v>
                      </c:pt>
                      <c:pt idx="376">
                        <c:v>44298</c:v>
                      </c:pt>
                      <c:pt idx="377">
                        <c:v>44299</c:v>
                      </c:pt>
                      <c:pt idx="378">
                        <c:v>44300</c:v>
                      </c:pt>
                      <c:pt idx="379">
                        <c:v>44301</c:v>
                      </c:pt>
                      <c:pt idx="380">
                        <c:v>44302</c:v>
                      </c:pt>
                      <c:pt idx="381">
                        <c:v>44303</c:v>
                      </c:pt>
                      <c:pt idx="382">
                        <c:v>44304</c:v>
                      </c:pt>
                      <c:pt idx="383">
                        <c:v>44305</c:v>
                      </c:pt>
                      <c:pt idx="384">
                        <c:v>44306</c:v>
                      </c:pt>
                      <c:pt idx="385">
                        <c:v>44307</c:v>
                      </c:pt>
                      <c:pt idx="386">
                        <c:v>44308</c:v>
                      </c:pt>
                      <c:pt idx="387">
                        <c:v>44309</c:v>
                      </c:pt>
                      <c:pt idx="388">
                        <c:v>44310</c:v>
                      </c:pt>
                      <c:pt idx="389">
                        <c:v>44311</c:v>
                      </c:pt>
                      <c:pt idx="390">
                        <c:v>44312</c:v>
                      </c:pt>
                      <c:pt idx="391">
                        <c:v>44313</c:v>
                      </c:pt>
                      <c:pt idx="392">
                        <c:v>44314</c:v>
                      </c:pt>
                      <c:pt idx="393">
                        <c:v>44315</c:v>
                      </c:pt>
                      <c:pt idx="394">
                        <c:v>44316</c:v>
                      </c:pt>
                      <c:pt idx="395">
                        <c:v>44317</c:v>
                      </c:pt>
                      <c:pt idx="396">
                        <c:v>44318</c:v>
                      </c:pt>
                      <c:pt idx="397">
                        <c:v>44319</c:v>
                      </c:pt>
                      <c:pt idx="398">
                        <c:v>44320</c:v>
                      </c:pt>
                      <c:pt idx="399">
                        <c:v>44321</c:v>
                      </c:pt>
                      <c:pt idx="400">
                        <c:v>44322</c:v>
                      </c:pt>
                      <c:pt idx="401">
                        <c:v>44323</c:v>
                      </c:pt>
                      <c:pt idx="402">
                        <c:v>44324</c:v>
                      </c:pt>
                      <c:pt idx="403">
                        <c:v>44325</c:v>
                      </c:pt>
                      <c:pt idx="404">
                        <c:v>44326</c:v>
                      </c:pt>
                      <c:pt idx="405">
                        <c:v>44327</c:v>
                      </c:pt>
                      <c:pt idx="406">
                        <c:v>44328</c:v>
                      </c:pt>
                      <c:pt idx="407">
                        <c:v>44329</c:v>
                      </c:pt>
                      <c:pt idx="408">
                        <c:v>44330</c:v>
                      </c:pt>
                      <c:pt idx="409">
                        <c:v>44331</c:v>
                      </c:pt>
                      <c:pt idx="410">
                        <c:v>44332</c:v>
                      </c:pt>
                      <c:pt idx="411">
                        <c:v>44333</c:v>
                      </c:pt>
                      <c:pt idx="412">
                        <c:v>44334</c:v>
                      </c:pt>
                      <c:pt idx="413">
                        <c:v>44335</c:v>
                      </c:pt>
                      <c:pt idx="414">
                        <c:v>44336</c:v>
                      </c:pt>
                      <c:pt idx="415">
                        <c:v>44337</c:v>
                      </c:pt>
                      <c:pt idx="416">
                        <c:v>44338</c:v>
                      </c:pt>
                      <c:pt idx="417">
                        <c:v>44339</c:v>
                      </c:pt>
                      <c:pt idx="418">
                        <c:v>44340</c:v>
                      </c:pt>
                      <c:pt idx="419">
                        <c:v>44341</c:v>
                      </c:pt>
                      <c:pt idx="420">
                        <c:v>44342</c:v>
                      </c:pt>
                      <c:pt idx="421">
                        <c:v>44343</c:v>
                      </c:pt>
                      <c:pt idx="422">
                        <c:v>44344</c:v>
                      </c:pt>
                      <c:pt idx="423">
                        <c:v>44345</c:v>
                      </c:pt>
                      <c:pt idx="424">
                        <c:v>44346</c:v>
                      </c:pt>
                      <c:pt idx="425">
                        <c:v>44347</c:v>
                      </c:pt>
                      <c:pt idx="426">
                        <c:v>44348</c:v>
                      </c:pt>
                      <c:pt idx="427">
                        <c:v>44349</c:v>
                      </c:pt>
                      <c:pt idx="428">
                        <c:v>44350</c:v>
                      </c:pt>
                      <c:pt idx="429">
                        <c:v>44351</c:v>
                      </c:pt>
                      <c:pt idx="430">
                        <c:v>44352</c:v>
                      </c:pt>
                      <c:pt idx="431">
                        <c:v>44353</c:v>
                      </c:pt>
                      <c:pt idx="432">
                        <c:v>44354</c:v>
                      </c:pt>
                      <c:pt idx="433">
                        <c:v>44355</c:v>
                      </c:pt>
                      <c:pt idx="434">
                        <c:v>44356</c:v>
                      </c:pt>
                      <c:pt idx="435">
                        <c:v>44357</c:v>
                      </c:pt>
                      <c:pt idx="436">
                        <c:v>44358</c:v>
                      </c:pt>
                      <c:pt idx="437">
                        <c:v>44359</c:v>
                      </c:pt>
                      <c:pt idx="438">
                        <c:v>44360</c:v>
                      </c:pt>
                      <c:pt idx="439">
                        <c:v>44361</c:v>
                      </c:pt>
                      <c:pt idx="440">
                        <c:v>44362</c:v>
                      </c:pt>
                      <c:pt idx="441">
                        <c:v>44363</c:v>
                      </c:pt>
                      <c:pt idx="442">
                        <c:v>44364</c:v>
                      </c:pt>
                      <c:pt idx="443">
                        <c:v>44365</c:v>
                      </c:pt>
                      <c:pt idx="444">
                        <c:v>44366</c:v>
                      </c:pt>
                      <c:pt idx="445">
                        <c:v>44367</c:v>
                      </c:pt>
                      <c:pt idx="446">
                        <c:v>44368</c:v>
                      </c:pt>
                      <c:pt idx="447">
                        <c:v>44369</c:v>
                      </c:pt>
                      <c:pt idx="448">
                        <c:v>44370</c:v>
                      </c:pt>
                      <c:pt idx="449">
                        <c:v>44371</c:v>
                      </c:pt>
                      <c:pt idx="450">
                        <c:v>44372</c:v>
                      </c:pt>
                      <c:pt idx="451">
                        <c:v>44373</c:v>
                      </c:pt>
                      <c:pt idx="452">
                        <c:v>44374</c:v>
                      </c:pt>
                      <c:pt idx="453">
                        <c:v>44375</c:v>
                      </c:pt>
                      <c:pt idx="454">
                        <c:v>44376</c:v>
                      </c:pt>
                      <c:pt idx="455">
                        <c:v>44377</c:v>
                      </c:pt>
                      <c:pt idx="456">
                        <c:v>44378</c:v>
                      </c:pt>
                      <c:pt idx="457">
                        <c:v>44379</c:v>
                      </c:pt>
                      <c:pt idx="458">
                        <c:v>44380</c:v>
                      </c:pt>
                      <c:pt idx="459">
                        <c:v>44381</c:v>
                      </c:pt>
                      <c:pt idx="460">
                        <c:v>44382</c:v>
                      </c:pt>
                      <c:pt idx="461">
                        <c:v>44383</c:v>
                      </c:pt>
                      <c:pt idx="462">
                        <c:v>44384</c:v>
                      </c:pt>
                      <c:pt idx="463">
                        <c:v>44385</c:v>
                      </c:pt>
                      <c:pt idx="464">
                        <c:v>44386</c:v>
                      </c:pt>
                      <c:pt idx="465">
                        <c:v>44387</c:v>
                      </c:pt>
                      <c:pt idx="466">
                        <c:v>44388</c:v>
                      </c:pt>
                      <c:pt idx="467">
                        <c:v>44389</c:v>
                      </c:pt>
                      <c:pt idx="468">
                        <c:v>44390</c:v>
                      </c:pt>
                      <c:pt idx="469">
                        <c:v>44391</c:v>
                      </c:pt>
                      <c:pt idx="470">
                        <c:v>44392</c:v>
                      </c:pt>
                      <c:pt idx="471">
                        <c:v>44393</c:v>
                      </c:pt>
                      <c:pt idx="472">
                        <c:v>44394</c:v>
                      </c:pt>
                      <c:pt idx="473">
                        <c:v>44395</c:v>
                      </c:pt>
                      <c:pt idx="474">
                        <c:v>44396</c:v>
                      </c:pt>
                      <c:pt idx="475">
                        <c:v>44397</c:v>
                      </c:pt>
                      <c:pt idx="476">
                        <c:v>44398</c:v>
                      </c:pt>
                      <c:pt idx="477">
                        <c:v>44399</c:v>
                      </c:pt>
                      <c:pt idx="478">
                        <c:v>44400</c:v>
                      </c:pt>
                      <c:pt idx="479">
                        <c:v>44401</c:v>
                      </c:pt>
                      <c:pt idx="480">
                        <c:v>44402</c:v>
                      </c:pt>
                      <c:pt idx="481">
                        <c:v>44403</c:v>
                      </c:pt>
                      <c:pt idx="482">
                        <c:v>44404</c:v>
                      </c:pt>
                      <c:pt idx="483">
                        <c:v>44405</c:v>
                      </c:pt>
                      <c:pt idx="484">
                        <c:v>44406</c:v>
                      </c:pt>
                      <c:pt idx="485">
                        <c:v>44407</c:v>
                      </c:pt>
                      <c:pt idx="486">
                        <c:v>44408</c:v>
                      </c:pt>
                      <c:pt idx="487">
                        <c:v>44409</c:v>
                      </c:pt>
                      <c:pt idx="488">
                        <c:v>44410</c:v>
                      </c:pt>
                      <c:pt idx="489">
                        <c:v>44411</c:v>
                      </c:pt>
                      <c:pt idx="490">
                        <c:v>44412</c:v>
                      </c:pt>
                      <c:pt idx="491">
                        <c:v>44413</c:v>
                      </c:pt>
                      <c:pt idx="492">
                        <c:v>44414</c:v>
                      </c:pt>
                      <c:pt idx="493">
                        <c:v>44415</c:v>
                      </c:pt>
                      <c:pt idx="494">
                        <c:v>44416</c:v>
                      </c:pt>
                      <c:pt idx="495">
                        <c:v>44417</c:v>
                      </c:pt>
                      <c:pt idx="496">
                        <c:v>44418</c:v>
                      </c:pt>
                      <c:pt idx="497">
                        <c:v>44419</c:v>
                      </c:pt>
                      <c:pt idx="498">
                        <c:v>44420</c:v>
                      </c:pt>
                      <c:pt idx="499">
                        <c:v>44421</c:v>
                      </c:pt>
                      <c:pt idx="500">
                        <c:v>44422</c:v>
                      </c:pt>
                      <c:pt idx="501">
                        <c:v>44423</c:v>
                      </c:pt>
                      <c:pt idx="502">
                        <c:v>44424</c:v>
                      </c:pt>
                      <c:pt idx="503">
                        <c:v>44425</c:v>
                      </c:pt>
                      <c:pt idx="504">
                        <c:v>44426</c:v>
                      </c:pt>
                    </c:numCache>
                  </c:numRef>
                </c:cat>
                <c:val>
                  <c:numRef>
                    <c:extLst xmlns:c15="http://schemas.microsoft.com/office/drawing/2012/chart">
                      <c:ext xmlns:c15="http://schemas.microsoft.com/office/drawing/2012/chart" uri="{02D57815-91ED-43cb-92C2-25804820EDAC}">
                        <c15:formulaRef>
                          <c15:sqref>Honduras!$D$94:$D$371</c15:sqref>
                        </c15:formulaRef>
                      </c:ext>
                    </c:extLst>
                    <c:numCache>
                      <c:formatCode>General</c:formatCode>
                      <c:ptCount val="278"/>
                      <c:pt idx="0">
                        <c:v>31</c:v>
                      </c:pt>
                      <c:pt idx="1">
                        <c:v>47</c:v>
                      </c:pt>
                      <c:pt idx="2">
                        <c:v>3</c:v>
                      </c:pt>
                      <c:pt idx="3">
                        <c:v>42</c:v>
                      </c:pt>
                      <c:pt idx="4">
                        <c:v>4</c:v>
                      </c:pt>
                      <c:pt idx="5">
                        <c:v>30</c:v>
                      </c:pt>
                      <c:pt idx="6">
                        <c:v>7</c:v>
                      </c:pt>
                      <c:pt idx="7">
                        <c:v>7</c:v>
                      </c:pt>
                      <c:pt idx="8">
                        <c:v>31</c:v>
                      </c:pt>
                      <c:pt idx="9">
                        <c:v>39</c:v>
                      </c:pt>
                      <c:pt idx="10">
                        <c:v>10</c:v>
                      </c:pt>
                      <c:pt idx="11">
                        <c:v>1</c:v>
                      </c:pt>
                      <c:pt idx="12">
                        <c:v>4</c:v>
                      </c:pt>
                      <c:pt idx="13">
                        <c:v>10</c:v>
                      </c:pt>
                      <c:pt idx="14">
                        <c:v>12</c:v>
                      </c:pt>
                      <c:pt idx="15">
                        <c:v>7</c:v>
                      </c:pt>
                      <c:pt idx="16">
                        <c:v>16</c:v>
                      </c:pt>
                      <c:pt idx="17">
                        <c:v>15</c:v>
                      </c:pt>
                      <c:pt idx="18">
                        <c:v>15</c:v>
                      </c:pt>
                      <c:pt idx="19">
                        <c:v>5</c:v>
                      </c:pt>
                      <c:pt idx="20">
                        <c:v>17</c:v>
                      </c:pt>
                      <c:pt idx="21">
                        <c:v>16</c:v>
                      </c:pt>
                      <c:pt idx="22">
                        <c:v>9</c:v>
                      </c:pt>
                      <c:pt idx="23">
                        <c:v>72</c:v>
                      </c:pt>
                      <c:pt idx="24">
                        <c:v>36</c:v>
                      </c:pt>
                      <c:pt idx="25">
                        <c:v>0</c:v>
                      </c:pt>
                      <c:pt idx="26">
                        <c:v>34</c:v>
                      </c:pt>
                      <c:pt idx="27">
                        <c:v>41</c:v>
                      </c:pt>
                      <c:pt idx="28">
                        <c:v>36</c:v>
                      </c:pt>
                      <c:pt idx="29">
                        <c:v>33</c:v>
                      </c:pt>
                      <c:pt idx="30">
                        <c:v>33</c:v>
                      </c:pt>
                      <c:pt idx="31">
                        <c:v>206</c:v>
                      </c:pt>
                      <c:pt idx="32">
                        <c:v>45</c:v>
                      </c:pt>
                      <c:pt idx="33">
                        <c:v>123</c:v>
                      </c:pt>
                      <c:pt idx="34">
                        <c:v>92</c:v>
                      </c:pt>
                      <c:pt idx="35">
                        <c:v>191</c:v>
                      </c:pt>
                      <c:pt idx="36">
                        <c:v>224</c:v>
                      </c:pt>
                      <c:pt idx="37">
                        <c:v>86</c:v>
                      </c:pt>
                      <c:pt idx="38">
                        <c:v>59</c:v>
                      </c:pt>
                      <c:pt idx="39">
                        <c:v>142</c:v>
                      </c:pt>
                      <c:pt idx="40">
                        <c:v>128</c:v>
                      </c:pt>
                      <c:pt idx="41">
                        <c:v>-20</c:v>
                      </c:pt>
                      <c:pt idx="42">
                        <c:v>175</c:v>
                      </c:pt>
                      <c:pt idx="43">
                        <c:v>63</c:v>
                      </c:pt>
                      <c:pt idx="44">
                        <c:v>142</c:v>
                      </c:pt>
                      <c:pt idx="45">
                        <c:v>105</c:v>
                      </c:pt>
                      <c:pt idx="46">
                        <c:v>81</c:v>
                      </c:pt>
                      <c:pt idx="47">
                        <c:v>152</c:v>
                      </c:pt>
                      <c:pt idx="48">
                        <c:v>157</c:v>
                      </c:pt>
                      <c:pt idx="49">
                        <c:v>0</c:v>
                      </c:pt>
                      <c:pt idx="50">
                        <c:v>249</c:v>
                      </c:pt>
                      <c:pt idx="51">
                        <c:v>273</c:v>
                      </c:pt>
                      <c:pt idx="52">
                        <c:v>0</c:v>
                      </c:pt>
                      <c:pt idx="53">
                        <c:v>473</c:v>
                      </c:pt>
                      <c:pt idx="54">
                        <c:v>239</c:v>
                      </c:pt>
                      <c:pt idx="55">
                        <c:v>212</c:v>
                      </c:pt>
                      <c:pt idx="56">
                        <c:v>239</c:v>
                      </c:pt>
                      <c:pt idx="57">
                        <c:v>112</c:v>
                      </c:pt>
                      <c:pt idx="58">
                        <c:v>0</c:v>
                      </c:pt>
                      <c:pt idx="59">
                        <c:v>342</c:v>
                      </c:pt>
                      <c:pt idx="60">
                        <c:v>108</c:v>
                      </c:pt>
                      <c:pt idx="61">
                        <c:v>160</c:v>
                      </c:pt>
                      <c:pt idx="62">
                        <c:v>165</c:v>
                      </c:pt>
                      <c:pt idx="63">
                        <c:v>163</c:v>
                      </c:pt>
                      <c:pt idx="64">
                        <c:v>190</c:v>
                      </c:pt>
                      <c:pt idx="65">
                        <c:v>91</c:v>
                      </c:pt>
                      <c:pt idx="66">
                        <c:v>184</c:v>
                      </c:pt>
                      <c:pt idx="67">
                        <c:v>172</c:v>
                      </c:pt>
                      <c:pt idx="68">
                        <c:v>123</c:v>
                      </c:pt>
                      <c:pt idx="69">
                        <c:v>485</c:v>
                      </c:pt>
                      <c:pt idx="70">
                        <c:v>425</c:v>
                      </c:pt>
                      <c:pt idx="71">
                        <c:v>309</c:v>
                      </c:pt>
                      <c:pt idx="72">
                        <c:v>463</c:v>
                      </c:pt>
                      <c:pt idx="73">
                        <c:v>323</c:v>
                      </c:pt>
                      <c:pt idx="74">
                        <c:v>403</c:v>
                      </c:pt>
                      <c:pt idx="75">
                        <c:v>320</c:v>
                      </c:pt>
                      <c:pt idx="76">
                        <c:v>478</c:v>
                      </c:pt>
                      <c:pt idx="77">
                        <c:v>643</c:v>
                      </c:pt>
                      <c:pt idx="78">
                        <c:v>440</c:v>
                      </c:pt>
                      <c:pt idx="79">
                        <c:v>519</c:v>
                      </c:pt>
                      <c:pt idx="80">
                        <c:v>1048</c:v>
                      </c:pt>
                      <c:pt idx="81">
                        <c:v>463</c:v>
                      </c:pt>
                      <c:pt idx="82">
                        <c:v>587</c:v>
                      </c:pt>
                      <c:pt idx="83">
                        <c:v>587</c:v>
                      </c:pt>
                      <c:pt idx="84">
                        <c:v>628</c:v>
                      </c:pt>
                      <c:pt idx="85">
                        <c:v>795</c:v>
                      </c:pt>
                      <c:pt idx="86">
                        <c:v>628</c:v>
                      </c:pt>
                      <c:pt idx="87">
                        <c:v>1013</c:v>
                      </c:pt>
                      <c:pt idx="88">
                        <c:v>1075</c:v>
                      </c:pt>
                      <c:pt idx="89">
                        <c:v>736</c:v>
                      </c:pt>
                      <c:pt idx="90">
                        <c:v>740</c:v>
                      </c:pt>
                      <c:pt idx="91">
                        <c:v>704</c:v>
                      </c:pt>
                      <c:pt idx="92">
                        <c:v>858</c:v>
                      </c:pt>
                      <c:pt idx="93">
                        <c:v>996</c:v>
                      </c:pt>
                      <c:pt idx="94">
                        <c:v>805</c:v>
                      </c:pt>
                      <c:pt idx="95">
                        <c:v>1022</c:v>
                      </c:pt>
                      <c:pt idx="96">
                        <c:v>722</c:v>
                      </c:pt>
                      <c:pt idx="97">
                        <c:v>763</c:v>
                      </c:pt>
                      <c:pt idx="98">
                        <c:v>550</c:v>
                      </c:pt>
                      <c:pt idx="99">
                        <c:v>406</c:v>
                      </c:pt>
                      <c:pt idx="100">
                        <c:v>669</c:v>
                      </c:pt>
                      <c:pt idx="101">
                        <c:v>530</c:v>
                      </c:pt>
                      <c:pt idx="102">
                        <c:v>507</c:v>
                      </c:pt>
                      <c:pt idx="103">
                        <c:v>489</c:v>
                      </c:pt>
                      <c:pt idx="104">
                        <c:v>527</c:v>
                      </c:pt>
                      <c:pt idx="105">
                        <c:v>930</c:v>
                      </c:pt>
                      <c:pt idx="106">
                        <c:v>831</c:v>
                      </c:pt>
                      <c:pt idx="107">
                        <c:v>878</c:v>
                      </c:pt>
                      <c:pt idx="108">
                        <c:v>1048</c:v>
                      </c:pt>
                      <c:pt idx="109">
                        <c:v>1042</c:v>
                      </c:pt>
                      <c:pt idx="110">
                        <c:v>776</c:v>
                      </c:pt>
                      <c:pt idx="111">
                        <c:v>734</c:v>
                      </c:pt>
                      <c:pt idx="112">
                        <c:v>757</c:v>
                      </c:pt>
                      <c:pt idx="113">
                        <c:v>800</c:v>
                      </c:pt>
                      <c:pt idx="114">
                        <c:v>657</c:v>
                      </c:pt>
                      <c:pt idx="115">
                        <c:v>879</c:v>
                      </c:pt>
                      <c:pt idx="116">
                        <c:v>838</c:v>
                      </c:pt>
                      <c:pt idx="117">
                        <c:v>465</c:v>
                      </c:pt>
                      <c:pt idx="118">
                        <c:v>719</c:v>
                      </c:pt>
                      <c:pt idx="119">
                        <c:v>484</c:v>
                      </c:pt>
                      <c:pt idx="120">
                        <c:v>482</c:v>
                      </c:pt>
                      <c:pt idx="121">
                        <c:v>588</c:v>
                      </c:pt>
                      <c:pt idx="122">
                        <c:v>671</c:v>
                      </c:pt>
                      <c:pt idx="123">
                        <c:v>512</c:v>
                      </c:pt>
                      <c:pt idx="124">
                        <c:v>597</c:v>
                      </c:pt>
                      <c:pt idx="125">
                        <c:v>505</c:v>
                      </c:pt>
                      <c:pt idx="126">
                        <c:v>799</c:v>
                      </c:pt>
                      <c:pt idx="127">
                        <c:v>657</c:v>
                      </c:pt>
                      <c:pt idx="128">
                        <c:v>610</c:v>
                      </c:pt>
                      <c:pt idx="129">
                        <c:v>608</c:v>
                      </c:pt>
                      <c:pt idx="130">
                        <c:v>481</c:v>
                      </c:pt>
                      <c:pt idx="131">
                        <c:v>418</c:v>
                      </c:pt>
                      <c:pt idx="132">
                        <c:v>531</c:v>
                      </c:pt>
                      <c:pt idx="133">
                        <c:v>254</c:v>
                      </c:pt>
                      <c:pt idx="134">
                        <c:v>385</c:v>
                      </c:pt>
                      <c:pt idx="135">
                        <c:v>425</c:v>
                      </c:pt>
                      <c:pt idx="136">
                        <c:v>512</c:v>
                      </c:pt>
                      <c:pt idx="137">
                        <c:v>523</c:v>
                      </c:pt>
                      <c:pt idx="138">
                        <c:v>493</c:v>
                      </c:pt>
                      <c:pt idx="139">
                        <c:v>675</c:v>
                      </c:pt>
                      <c:pt idx="140">
                        <c:v>628</c:v>
                      </c:pt>
                      <c:pt idx="141">
                        <c:v>521</c:v>
                      </c:pt>
                      <c:pt idx="142">
                        <c:v>562</c:v>
                      </c:pt>
                      <c:pt idx="143">
                        <c:v>602</c:v>
                      </c:pt>
                      <c:pt idx="144">
                        <c:v>528</c:v>
                      </c:pt>
                      <c:pt idx="145">
                        <c:v>968</c:v>
                      </c:pt>
                      <c:pt idx="146">
                        <c:v>398</c:v>
                      </c:pt>
                      <c:pt idx="147">
                        <c:v>772</c:v>
                      </c:pt>
                      <c:pt idx="148">
                        <c:v>1020</c:v>
                      </c:pt>
                      <c:pt idx="149">
                        <c:v>1141</c:v>
                      </c:pt>
                      <c:pt idx="150">
                        <c:v>835</c:v>
                      </c:pt>
                      <c:pt idx="151">
                        <c:v>529</c:v>
                      </c:pt>
                      <c:pt idx="152">
                        <c:v>840</c:v>
                      </c:pt>
                      <c:pt idx="153">
                        <c:v>755</c:v>
                      </c:pt>
                      <c:pt idx="154">
                        <c:v>757</c:v>
                      </c:pt>
                      <c:pt idx="155">
                        <c:v>632</c:v>
                      </c:pt>
                      <c:pt idx="156">
                        <c:v>640</c:v>
                      </c:pt>
                      <c:pt idx="157">
                        <c:v>554</c:v>
                      </c:pt>
                      <c:pt idx="158">
                        <c:v>412</c:v>
                      </c:pt>
                      <c:pt idx="159">
                        <c:v>50</c:v>
                      </c:pt>
                      <c:pt idx="160">
                        <c:v>404</c:v>
                      </c:pt>
                      <c:pt idx="161">
                        <c:v>379</c:v>
                      </c:pt>
                      <c:pt idx="162">
                        <c:v>205</c:v>
                      </c:pt>
                      <c:pt idx="163">
                        <c:v>247</c:v>
                      </c:pt>
                      <c:pt idx="164">
                        <c:v>1087</c:v>
                      </c:pt>
                      <c:pt idx="165">
                        <c:v>653</c:v>
                      </c:pt>
                      <c:pt idx="166">
                        <c:v>831</c:v>
                      </c:pt>
                      <c:pt idx="167">
                        <c:v>0</c:v>
                      </c:pt>
                      <c:pt idx="168">
                        <c:v>1040</c:v>
                      </c:pt>
                      <c:pt idx="169">
                        <c:v>460</c:v>
                      </c:pt>
                      <c:pt idx="170">
                        <c:v>491</c:v>
                      </c:pt>
                      <c:pt idx="171">
                        <c:v>532</c:v>
                      </c:pt>
                      <c:pt idx="172">
                        <c:v>473</c:v>
                      </c:pt>
                      <c:pt idx="173">
                        <c:v>459</c:v>
                      </c:pt>
                      <c:pt idx="174">
                        <c:v>231</c:v>
                      </c:pt>
                      <c:pt idx="175">
                        <c:v>369</c:v>
                      </c:pt>
                      <c:pt idx="176">
                        <c:v>518</c:v>
                      </c:pt>
                      <c:pt idx="177">
                        <c:v>647</c:v>
                      </c:pt>
                      <c:pt idx="178">
                        <c:v>708</c:v>
                      </c:pt>
                      <c:pt idx="179">
                        <c:v>0</c:v>
                      </c:pt>
                      <c:pt idx="180">
                        <c:v>989</c:v>
                      </c:pt>
                      <c:pt idx="181">
                        <c:v>561</c:v>
                      </c:pt>
                      <c:pt idx="182">
                        <c:v>802</c:v>
                      </c:pt>
                      <c:pt idx="183">
                        <c:v>698</c:v>
                      </c:pt>
                      <c:pt idx="184">
                        <c:v>671</c:v>
                      </c:pt>
                      <c:pt idx="185">
                        <c:v>519</c:v>
                      </c:pt>
                      <c:pt idx="186">
                        <c:v>841</c:v>
                      </c:pt>
                      <c:pt idx="187">
                        <c:v>391</c:v>
                      </c:pt>
                      <c:pt idx="188">
                        <c:v>642</c:v>
                      </c:pt>
                      <c:pt idx="189">
                        <c:v>354</c:v>
                      </c:pt>
                      <c:pt idx="190">
                        <c:v>656</c:v>
                      </c:pt>
                      <c:pt idx="191">
                        <c:v>880</c:v>
                      </c:pt>
                      <c:pt idx="192">
                        <c:v>594</c:v>
                      </c:pt>
                      <c:pt idx="193">
                        <c:v>935</c:v>
                      </c:pt>
                      <c:pt idx="194">
                        <c:v>332</c:v>
                      </c:pt>
                      <c:pt idx="195">
                        <c:v>439</c:v>
                      </c:pt>
                      <c:pt idx="196">
                        <c:v>606</c:v>
                      </c:pt>
                      <c:pt idx="197">
                        <c:v>631</c:v>
                      </c:pt>
                      <c:pt idx="198">
                        <c:v>602</c:v>
                      </c:pt>
                      <c:pt idx="199">
                        <c:v>903</c:v>
                      </c:pt>
                      <c:pt idx="200">
                        <c:v>831</c:v>
                      </c:pt>
                      <c:pt idx="201">
                        <c:v>956</c:v>
                      </c:pt>
                      <c:pt idx="202">
                        <c:v>851</c:v>
                      </c:pt>
                      <c:pt idx="203">
                        <c:v>846</c:v>
                      </c:pt>
                      <c:pt idx="204">
                        <c:v>431</c:v>
                      </c:pt>
                      <c:pt idx="205">
                        <c:v>0</c:v>
                      </c:pt>
                      <c:pt idx="206">
                        <c:v>1215</c:v>
                      </c:pt>
                      <c:pt idx="207">
                        <c:v>490</c:v>
                      </c:pt>
                      <c:pt idx="208">
                        <c:v>752</c:v>
                      </c:pt>
                      <c:pt idx="209">
                        <c:v>657</c:v>
                      </c:pt>
                      <c:pt idx="210">
                        <c:v>576</c:v>
                      </c:pt>
                      <c:pt idx="211">
                        <c:v>951</c:v>
                      </c:pt>
                      <c:pt idx="212">
                        <c:v>738</c:v>
                      </c:pt>
                      <c:pt idx="213">
                        <c:v>0</c:v>
                      </c:pt>
                      <c:pt idx="214">
                        <c:v>1324</c:v>
                      </c:pt>
                      <c:pt idx="215">
                        <c:v>193</c:v>
                      </c:pt>
                      <c:pt idx="216">
                        <c:v>283</c:v>
                      </c:pt>
                      <c:pt idx="217">
                        <c:v>436</c:v>
                      </c:pt>
                      <c:pt idx="218">
                        <c:v>223</c:v>
                      </c:pt>
                      <c:pt idx="219">
                        <c:v>229</c:v>
                      </c:pt>
                      <c:pt idx="220">
                        <c:v>465</c:v>
                      </c:pt>
                      <c:pt idx="221">
                        <c:v>0</c:v>
                      </c:pt>
                      <c:pt idx="222">
                        <c:v>532</c:v>
                      </c:pt>
                      <c:pt idx="223">
                        <c:v>231</c:v>
                      </c:pt>
                      <c:pt idx="224">
                        <c:v>365</c:v>
                      </c:pt>
                      <c:pt idx="225">
                        <c:v>299</c:v>
                      </c:pt>
                      <c:pt idx="226">
                        <c:v>611</c:v>
                      </c:pt>
                      <c:pt idx="227">
                        <c:v>476</c:v>
                      </c:pt>
                      <c:pt idx="228">
                        <c:v>547</c:v>
                      </c:pt>
                      <c:pt idx="229">
                        <c:v>137</c:v>
                      </c:pt>
                      <c:pt idx="230">
                        <c:v>249</c:v>
                      </c:pt>
                      <c:pt idx="231">
                        <c:v>0</c:v>
                      </c:pt>
                      <c:pt idx="232">
                        <c:v>0</c:v>
                      </c:pt>
                      <c:pt idx="233">
                        <c:v>63</c:v>
                      </c:pt>
                      <c:pt idx="234">
                        <c:v>884</c:v>
                      </c:pt>
                      <c:pt idx="235">
                        <c:v>0</c:v>
                      </c:pt>
                      <c:pt idx="236">
                        <c:v>776</c:v>
                      </c:pt>
                      <c:pt idx="237">
                        <c:v>0</c:v>
                      </c:pt>
                      <c:pt idx="238">
                        <c:v>905</c:v>
                      </c:pt>
                      <c:pt idx="239">
                        <c:v>565</c:v>
                      </c:pt>
                      <c:pt idx="240">
                        <c:v>453</c:v>
                      </c:pt>
                      <c:pt idx="241">
                        <c:v>379</c:v>
                      </c:pt>
                      <c:pt idx="242">
                        <c:v>375</c:v>
                      </c:pt>
                      <c:pt idx="243">
                        <c:v>365</c:v>
                      </c:pt>
                      <c:pt idx="244">
                        <c:v>0</c:v>
                      </c:pt>
                      <c:pt idx="245">
                        <c:v>891</c:v>
                      </c:pt>
                      <c:pt idx="246">
                        <c:v>616</c:v>
                      </c:pt>
                      <c:pt idx="247">
                        <c:v>0</c:v>
                      </c:pt>
                      <c:pt idx="248">
                        <c:v>200</c:v>
                      </c:pt>
                      <c:pt idx="249">
                        <c:v>1063</c:v>
                      </c:pt>
                      <c:pt idx="250">
                        <c:v>0</c:v>
                      </c:pt>
                      <c:pt idx="251">
                        <c:v>684</c:v>
                      </c:pt>
                      <c:pt idx="252">
                        <c:v>1085</c:v>
                      </c:pt>
                      <c:pt idx="253">
                        <c:v>415</c:v>
                      </c:pt>
                      <c:pt idx="254">
                        <c:v>501</c:v>
                      </c:pt>
                      <c:pt idx="255">
                        <c:v>335</c:v>
                      </c:pt>
                      <c:pt idx="256">
                        <c:v>316</c:v>
                      </c:pt>
                      <c:pt idx="257">
                        <c:v>283</c:v>
                      </c:pt>
                      <c:pt idx="258">
                        <c:v>301</c:v>
                      </c:pt>
                      <c:pt idx="259">
                        <c:v>374</c:v>
                      </c:pt>
                      <c:pt idx="260">
                        <c:v>157</c:v>
                      </c:pt>
                      <c:pt idx="261">
                        <c:v>738</c:v>
                      </c:pt>
                      <c:pt idx="262">
                        <c:v>0</c:v>
                      </c:pt>
                      <c:pt idx="263">
                        <c:v>810</c:v>
                      </c:pt>
                      <c:pt idx="264">
                        <c:v>168</c:v>
                      </c:pt>
                      <c:pt idx="265">
                        <c:v>398</c:v>
                      </c:pt>
                      <c:pt idx="266">
                        <c:v>448</c:v>
                      </c:pt>
                      <c:pt idx="267">
                        <c:v>0</c:v>
                      </c:pt>
                      <c:pt idx="268">
                        <c:v>623</c:v>
                      </c:pt>
                      <c:pt idx="269">
                        <c:v>438</c:v>
                      </c:pt>
                      <c:pt idx="270">
                        <c:v>0</c:v>
                      </c:pt>
                      <c:pt idx="271">
                        <c:v>616</c:v>
                      </c:pt>
                      <c:pt idx="272">
                        <c:v>1199</c:v>
                      </c:pt>
                      <c:pt idx="273">
                        <c:v>0</c:v>
                      </c:pt>
                      <c:pt idx="274">
                        <c:v>915</c:v>
                      </c:pt>
                      <c:pt idx="275">
                        <c:v>1147</c:v>
                      </c:pt>
                      <c:pt idx="276">
                        <c:v>170</c:v>
                      </c:pt>
                      <c:pt idx="277">
                        <c:v>225</c:v>
                      </c:pt>
                    </c:numCache>
                  </c:numRef>
                </c:val>
                <c:extLst xmlns:c15="http://schemas.microsoft.com/office/drawing/2012/chart">
                  <c:ext xmlns:c16="http://schemas.microsoft.com/office/drawing/2014/chart" uri="{C3380CC4-5D6E-409C-BE32-E72D297353CC}">
                    <c16:uniqueId val="{00000003-1D52-4AF4-98CA-071069331375}"/>
                  </c:ext>
                </c:extLst>
              </c15:ser>
            </c15:filteredBarSeries>
            <c15:filteredBarSeries>
              <c15:ser>
                <c:idx val="2"/>
                <c:order val="3"/>
                <c:tx>
                  <c:strRef>
                    <c:extLst xmlns:c15="http://schemas.microsoft.com/office/drawing/2012/chart">
                      <c:ext xmlns:c15="http://schemas.microsoft.com/office/drawing/2012/chart" uri="{02D57815-91ED-43cb-92C2-25804820EDAC}">
                        <c15:formulaRef>
                          <c15:sqref>Detalle!#REF!</c15:sqref>
                        </c15:formulaRef>
                      </c:ext>
                    </c:extLst>
                    <c:strCache>
                      <c:ptCount val="1"/>
                      <c:pt idx="0">
                        <c:v>#REF!</c:v>
                      </c:pt>
                    </c:strCache>
                  </c:strRef>
                </c:tx>
                <c:spPr>
                  <a:solidFill>
                    <a:schemeClr val="accent3"/>
                  </a:solidFill>
                  <a:ln>
                    <a:noFill/>
                  </a:ln>
                  <a:effectLst/>
                </c:spPr>
                <c:invertIfNegative val="0"/>
                <c:cat>
                  <c:numRef>
                    <c:extLst xmlns:c15="http://schemas.microsoft.com/office/drawing/2012/chart">
                      <c:ext xmlns:c15="http://schemas.microsoft.com/office/drawing/2012/chart" uri="{02D57815-91ED-43cb-92C2-25804820EDAC}">
                        <c15:formulaRef>
                          <c15:sqref>World!$A$94:$A$598</c15:sqref>
                        </c15:formulaRef>
                      </c:ext>
                    </c:extLst>
                    <c:numCache>
                      <c:formatCode>dd/mm/yy;@</c:formatCode>
                      <c:ptCount val="505"/>
                      <c:pt idx="0">
                        <c:v>43922</c:v>
                      </c:pt>
                      <c:pt idx="1">
                        <c:v>43923</c:v>
                      </c:pt>
                      <c:pt idx="2">
                        <c:v>43924</c:v>
                      </c:pt>
                      <c:pt idx="3">
                        <c:v>43925</c:v>
                      </c:pt>
                      <c:pt idx="4">
                        <c:v>43926</c:v>
                      </c:pt>
                      <c:pt idx="5">
                        <c:v>43927</c:v>
                      </c:pt>
                      <c:pt idx="6">
                        <c:v>43928</c:v>
                      </c:pt>
                      <c:pt idx="7">
                        <c:v>43929</c:v>
                      </c:pt>
                      <c:pt idx="8">
                        <c:v>43930</c:v>
                      </c:pt>
                      <c:pt idx="9">
                        <c:v>43931</c:v>
                      </c:pt>
                      <c:pt idx="10">
                        <c:v>43932</c:v>
                      </c:pt>
                      <c:pt idx="11">
                        <c:v>43933</c:v>
                      </c:pt>
                      <c:pt idx="12">
                        <c:v>43934</c:v>
                      </c:pt>
                      <c:pt idx="13">
                        <c:v>43935</c:v>
                      </c:pt>
                      <c:pt idx="14">
                        <c:v>43936</c:v>
                      </c:pt>
                      <c:pt idx="15">
                        <c:v>43937</c:v>
                      </c:pt>
                      <c:pt idx="16">
                        <c:v>43938</c:v>
                      </c:pt>
                      <c:pt idx="17">
                        <c:v>43939</c:v>
                      </c:pt>
                      <c:pt idx="18">
                        <c:v>43940</c:v>
                      </c:pt>
                      <c:pt idx="19">
                        <c:v>43941</c:v>
                      </c:pt>
                      <c:pt idx="20">
                        <c:v>43942</c:v>
                      </c:pt>
                      <c:pt idx="21">
                        <c:v>43943</c:v>
                      </c:pt>
                      <c:pt idx="22">
                        <c:v>43944</c:v>
                      </c:pt>
                      <c:pt idx="23">
                        <c:v>43945</c:v>
                      </c:pt>
                      <c:pt idx="24">
                        <c:v>43946</c:v>
                      </c:pt>
                      <c:pt idx="25">
                        <c:v>43947</c:v>
                      </c:pt>
                      <c:pt idx="26">
                        <c:v>43948</c:v>
                      </c:pt>
                      <c:pt idx="27">
                        <c:v>43949</c:v>
                      </c:pt>
                      <c:pt idx="28">
                        <c:v>43950</c:v>
                      </c:pt>
                      <c:pt idx="29">
                        <c:v>43951</c:v>
                      </c:pt>
                      <c:pt idx="30">
                        <c:v>43952</c:v>
                      </c:pt>
                      <c:pt idx="31">
                        <c:v>43953</c:v>
                      </c:pt>
                      <c:pt idx="32">
                        <c:v>43954</c:v>
                      </c:pt>
                      <c:pt idx="33">
                        <c:v>43955</c:v>
                      </c:pt>
                      <c:pt idx="34">
                        <c:v>43956</c:v>
                      </c:pt>
                      <c:pt idx="35">
                        <c:v>43957</c:v>
                      </c:pt>
                      <c:pt idx="36">
                        <c:v>43958</c:v>
                      </c:pt>
                      <c:pt idx="37">
                        <c:v>43959</c:v>
                      </c:pt>
                      <c:pt idx="38">
                        <c:v>43960</c:v>
                      </c:pt>
                      <c:pt idx="39">
                        <c:v>43961</c:v>
                      </c:pt>
                      <c:pt idx="40">
                        <c:v>43962</c:v>
                      </c:pt>
                      <c:pt idx="41">
                        <c:v>43963</c:v>
                      </c:pt>
                      <c:pt idx="42">
                        <c:v>43964</c:v>
                      </c:pt>
                      <c:pt idx="43">
                        <c:v>43965</c:v>
                      </c:pt>
                      <c:pt idx="44">
                        <c:v>43966</c:v>
                      </c:pt>
                      <c:pt idx="45">
                        <c:v>43967</c:v>
                      </c:pt>
                      <c:pt idx="46">
                        <c:v>43968</c:v>
                      </c:pt>
                      <c:pt idx="47">
                        <c:v>43969</c:v>
                      </c:pt>
                      <c:pt idx="48">
                        <c:v>43970</c:v>
                      </c:pt>
                      <c:pt idx="49">
                        <c:v>43971</c:v>
                      </c:pt>
                      <c:pt idx="50">
                        <c:v>43972</c:v>
                      </c:pt>
                      <c:pt idx="51">
                        <c:v>43973</c:v>
                      </c:pt>
                      <c:pt idx="52">
                        <c:v>43974</c:v>
                      </c:pt>
                      <c:pt idx="53">
                        <c:v>43975</c:v>
                      </c:pt>
                      <c:pt idx="54">
                        <c:v>43976</c:v>
                      </c:pt>
                      <c:pt idx="55">
                        <c:v>43977</c:v>
                      </c:pt>
                      <c:pt idx="56">
                        <c:v>43978</c:v>
                      </c:pt>
                      <c:pt idx="57">
                        <c:v>43979</c:v>
                      </c:pt>
                      <c:pt idx="58">
                        <c:v>43980</c:v>
                      </c:pt>
                      <c:pt idx="59">
                        <c:v>43981</c:v>
                      </c:pt>
                      <c:pt idx="60">
                        <c:v>43982</c:v>
                      </c:pt>
                      <c:pt idx="61">
                        <c:v>43983</c:v>
                      </c:pt>
                      <c:pt idx="62">
                        <c:v>43984</c:v>
                      </c:pt>
                      <c:pt idx="63">
                        <c:v>43985</c:v>
                      </c:pt>
                      <c:pt idx="64">
                        <c:v>43986</c:v>
                      </c:pt>
                      <c:pt idx="65">
                        <c:v>43987</c:v>
                      </c:pt>
                      <c:pt idx="66">
                        <c:v>43988</c:v>
                      </c:pt>
                      <c:pt idx="67">
                        <c:v>43989</c:v>
                      </c:pt>
                      <c:pt idx="68">
                        <c:v>43990</c:v>
                      </c:pt>
                      <c:pt idx="69">
                        <c:v>43991</c:v>
                      </c:pt>
                      <c:pt idx="70">
                        <c:v>43992</c:v>
                      </c:pt>
                      <c:pt idx="71">
                        <c:v>43993</c:v>
                      </c:pt>
                      <c:pt idx="72">
                        <c:v>43994</c:v>
                      </c:pt>
                      <c:pt idx="73">
                        <c:v>43995</c:v>
                      </c:pt>
                      <c:pt idx="74">
                        <c:v>43996</c:v>
                      </c:pt>
                      <c:pt idx="75">
                        <c:v>43997</c:v>
                      </c:pt>
                      <c:pt idx="76">
                        <c:v>43998</c:v>
                      </c:pt>
                      <c:pt idx="77">
                        <c:v>43999</c:v>
                      </c:pt>
                      <c:pt idx="78">
                        <c:v>44000</c:v>
                      </c:pt>
                      <c:pt idx="79">
                        <c:v>44001</c:v>
                      </c:pt>
                      <c:pt idx="80">
                        <c:v>44002</c:v>
                      </c:pt>
                      <c:pt idx="81">
                        <c:v>44003</c:v>
                      </c:pt>
                      <c:pt idx="82">
                        <c:v>44004</c:v>
                      </c:pt>
                      <c:pt idx="83">
                        <c:v>44005</c:v>
                      </c:pt>
                      <c:pt idx="84">
                        <c:v>44006</c:v>
                      </c:pt>
                      <c:pt idx="85">
                        <c:v>44007</c:v>
                      </c:pt>
                      <c:pt idx="86">
                        <c:v>44008</c:v>
                      </c:pt>
                      <c:pt idx="87">
                        <c:v>44009</c:v>
                      </c:pt>
                      <c:pt idx="88">
                        <c:v>44010</c:v>
                      </c:pt>
                      <c:pt idx="89">
                        <c:v>44011</c:v>
                      </c:pt>
                      <c:pt idx="90">
                        <c:v>44012</c:v>
                      </c:pt>
                      <c:pt idx="91">
                        <c:v>44013</c:v>
                      </c:pt>
                      <c:pt idx="92">
                        <c:v>44014</c:v>
                      </c:pt>
                      <c:pt idx="93">
                        <c:v>44015</c:v>
                      </c:pt>
                      <c:pt idx="94">
                        <c:v>44016</c:v>
                      </c:pt>
                      <c:pt idx="95">
                        <c:v>44017</c:v>
                      </c:pt>
                      <c:pt idx="96">
                        <c:v>44018</c:v>
                      </c:pt>
                      <c:pt idx="97">
                        <c:v>44019</c:v>
                      </c:pt>
                      <c:pt idx="98">
                        <c:v>44020</c:v>
                      </c:pt>
                      <c:pt idx="99">
                        <c:v>44021</c:v>
                      </c:pt>
                      <c:pt idx="100">
                        <c:v>44022</c:v>
                      </c:pt>
                      <c:pt idx="101">
                        <c:v>44023</c:v>
                      </c:pt>
                      <c:pt idx="102">
                        <c:v>44024</c:v>
                      </c:pt>
                      <c:pt idx="103">
                        <c:v>44025</c:v>
                      </c:pt>
                      <c:pt idx="104">
                        <c:v>44026</c:v>
                      </c:pt>
                      <c:pt idx="105">
                        <c:v>44027</c:v>
                      </c:pt>
                      <c:pt idx="106">
                        <c:v>44028</c:v>
                      </c:pt>
                      <c:pt idx="107">
                        <c:v>44029</c:v>
                      </c:pt>
                      <c:pt idx="108">
                        <c:v>44030</c:v>
                      </c:pt>
                      <c:pt idx="109">
                        <c:v>44031</c:v>
                      </c:pt>
                      <c:pt idx="110">
                        <c:v>44032</c:v>
                      </c:pt>
                      <c:pt idx="111">
                        <c:v>44033</c:v>
                      </c:pt>
                      <c:pt idx="112">
                        <c:v>44034</c:v>
                      </c:pt>
                      <c:pt idx="113">
                        <c:v>44035</c:v>
                      </c:pt>
                      <c:pt idx="114">
                        <c:v>44036</c:v>
                      </c:pt>
                      <c:pt idx="115">
                        <c:v>44037</c:v>
                      </c:pt>
                      <c:pt idx="116">
                        <c:v>44038</c:v>
                      </c:pt>
                      <c:pt idx="117">
                        <c:v>44039</c:v>
                      </c:pt>
                      <c:pt idx="118">
                        <c:v>44040</c:v>
                      </c:pt>
                      <c:pt idx="119">
                        <c:v>44041</c:v>
                      </c:pt>
                      <c:pt idx="120">
                        <c:v>44042</c:v>
                      </c:pt>
                      <c:pt idx="121">
                        <c:v>44043</c:v>
                      </c:pt>
                      <c:pt idx="122">
                        <c:v>44044</c:v>
                      </c:pt>
                      <c:pt idx="123">
                        <c:v>44045</c:v>
                      </c:pt>
                      <c:pt idx="124">
                        <c:v>44046</c:v>
                      </c:pt>
                      <c:pt idx="125">
                        <c:v>44047</c:v>
                      </c:pt>
                      <c:pt idx="126">
                        <c:v>44048</c:v>
                      </c:pt>
                      <c:pt idx="127">
                        <c:v>44049</c:v>
                      </c:pt>
                      <c:pt idx="128">
                        <c:v>44050</c:v>
                      </c:pt>
                      <c:pt idx="129">
                        <c:v>44051</c:v>
                      </c:pt>
                      <c:pt idx="130">
                        <c:v>44052</c:v>
                      </c:pt>
                      <c:pt idx="131">
                        <c:v>44053</c:v>
                      </c:pt>
                      <c:pt idx="132">
                        <c:v>44054</c:v>
                      </c:pt>
                      <c:pt idx="133">
                        <c:v>44055</c:v>
                      </c:pt>
                      <c:pt idx="134">
                        <c:v>44056</c:v>
                      </c:pt>
                      <c:pt idx="135">
                        <c:v>44057</c:v>
                      </c:pt>
                      <c:pt idx="136">
                        <c:v>44058</c:v>
                      </c:pt>
                      <c:pt idx="137">
                        <c:v>44059</c:v>
                      </c:pt>
                      <c:pt idx="138">
                        <c:v>44060</c:v>
                      </c:pt>
                      <c:pt idx="139">
                        <c:v>44061</c:v>
                      </c:pt>
                      <c:pt idx="140">
                        <c:v>44062</c:v>
                      </c:pt>
                      <c:pt idx="141">
                        <c:v>44063</c:v>
                      </c:pt>
                      <c:pt idx="142">
                        <c:v>44064</c:v>
                      </c:pt>
                      <c:pt idx="143">
                        <c:v>44065</c:v>
                      </c:pt>
                      <c:pt idx="144">
                        <c:v>44066</c:v>
                      </c:pt>
                      <c:pt idx="145">
                        <c:v>44067</c:v>
                      </c:pt>
                      <c:pt idx="146">
                        <c:v>44068</c:v>
                      </c:pt>
                      <c:pt idx="147">
                        <c:v>44069</c:v>
                      </c:pt>
                      <c:pt idx="148">
                        <c:v>44070</c:v>
                      </c:pt>
                      <c:pt idx="149">
                        <c:v>44071</c:v>
                      </c:pt>
                      <c:pt idx="150">
                        <c:v>44072</c:v>
                      </c:pt>
                      <c:pt idx="151">
                        <c:v>44073</c:v>
                      </c:pt>
                      <c:pt idx="152">
                        <c:v>44074</c:v>
                      </c:pt>
                      <c:pt idx="153">
                        <c:v>44075</c:v>
                      </c:pt>
                      <c:pt idx="154">
                        <c:v>44076</c:v>
                      </c:pt>
                      <c:pt idx="155">
                        <c:v>44077</c:v>
                      </c:pt>
                      <c:pt idx="156">
                        <c:v>44078</c:v>
                      </c:pt>
                      <c:pt idx="157">
                        <c:v>44079</c:v>
                      </c:pt>
                      <c:pt idx="158">
                        <c:v>44080</c:v>
                      </c:pt>
                      <c:pt idx="159">
                        <c:v>44081</c:v>
                      </c:pt>
                      <c:pt idx="160">
                        <c:v>44082</c:v>
                      </c:pt>
                      <c:pt idx="161">
                        <c:v>44083</c:v>
                      </c:pt>
                      <c:pt idx="162">
                        <c:v>44084</c:v>
                      </c:pt>
                      <c:pt idx="163">
                        <c:v>44085</c:v>
                      </c:pt>
                      <c:pt idx="164">
                        <c:v>44086</c:v>
                      </c:pt>
                      <c:pt idx="165">
                        <c:v>44087</c:v>
                      </c:pt>
                      <c:pt idx="166">
                        <c:v>44088</c:v>
                      </c:pt>
                      <c:pt idx="167">
                        <c:v>44089</c:v>
                      </c:pt>
                      <c:pt idx="168">
                        <c:v>44090</c:v>
                      </c:pt>
                      <c:pt idx="169">
                        <c:v>44091</c:v>
                      </c:pt>
                      <c:pt idx="170">
                        <c:v>44092</c:v>
                      </c:pt>
                      <c:pt idx="171">
                        <c:v>44093</c:v>
                      </c:pt>
                      <c:pt idx="172">
                        <c:v>44094</c:v>
                      </c:pt>
                      <c:pt idx="173">
                        <c:v>44095</c:v>
                      </c:pt>
                      <c:pt idx="174">
                        <c:v>44096</c:v>
                      </c:pt>
                      <c:pt idx="175">
                        <c:v>44097</c:v>
                      </c:pt>
                      <c:pt idx="176">
                        <c:v>44098</c:v>
                      </c:pt>
                      <c:pt idx="177">
                        <c:v>44099</c:v>
                      </c:pt>
                      <c:pt idx="178">
                        <c:v>44100</c:v>
                      </c:pt>
                      <c:pt idx="179">
                        <c:v>44101</c:v>
                      </c:pt>
                      <c:pt idx="180">
                        <c:v>44102</c:v>
                      </c:pt>
                      <c:pt idx="181">
                        <c:v>44103</c:v>
                      </c:pt>
                      <c:pt idx="182">
                        <c:v>44104</c:v>
                      </c:pt>
                      <c:pt idx="183">
                        <c:v>44105</c:v>
                      </c:pt>
                      <c:pt idx="184">
                        <c:v>44106</c:v>
                      </c:pt>
                      <c:pt idx="185">
                        <c:v>44107</c:v>
                      </c:pt>
                      <c:pt idx="186">
                        <c:v>44108</c:v>
                      </c:pt>
                      <c:pt idx="187">
                        <c:v>44109</c:v>
                      </c:pt>
                      <c:pt idx="188">
                        <c:v>44110</c:v>
                      </c:pt>
                      <c:pt idx="189">
                        <c:v>44111</c:v>
                      </c:pt>
                      <c:pt idx="190">
                        <c:v>44112</c:v>
                      </c:pt>
                      <c:pt idx="191">
                        <c:v>44113</c:v>
                      </c:pt>
                      <c:pt idx="192">
                        <c:v>44114</c:v>
                      </c:pt>
                      <c:pt idx="193">
                        <c:v>44115</c:v>
                      </c:pt>
                      <c:pt idx="194">
                        <c:v>44116</c:v>
                      </c:pt>
                      <c:pt idx="195">
                        <c:v>44117</c:v>
                      </c:pt>
                      <c:pt idx="196">
                        <c:v>44118</c:v>
                      </c:pt>
                      <c:pt idx="197">
                        <c:v>44119</c:v>
                      </c:pt>
                      <c:pt idx="198">
                        <c:v>44120</c:v>
                      </c:pt>
                      <c:pt idx="199">
                        <c:v>44121</c:v>
                      </c:pt>
                      <c:pt idx="200">
                        <c:v>44122</c:v>
                      </c:pt>
                      <c:pt idx="201">
                        <c:v>44123</c:v>
                      </c:pt>
                      <c:pt idx="202">
                        <c:v>44124</c:v>
                      </c:pt>
                      <c:pt idx="203">
                        <c:v>44125</c:v>
                      </c:pt>
                      <c:pt idx="204">
                        <c:v>44126</c:v>
                      </c:pt>
                      <c:pt idx="205">
                        <c:v>44127</c:v>
                      </c:pt>
                      <c:pt idx="206">
                        <c:v>44128</c:v>
                      </c:pt>
                      <c:pt idx="207">
                        <c:v>44129</c:v>
                      </c:pt>
                      <c:pt idx="208">
                        <c:v>44130</c:v>
                      </c:pt>
                      <c:pt idx="209">
                        <c:v>44131</c:v>
                      </c:pt>
                      <c:pt idx="210">
                        <c:v>44132</c:v>
                      </c:pt>
                      <c:pt idx="211">
                        <c:v>44133</c:v>
                      </c:pt>
                      <c:pt idx="212">
                        <c:v>44134</c:v>
                      </c:pt>
                      <c:pt idx="213">
                        <c:v>44135</c:v>
                      </c:pt>
                      <c:pt idx="214">
                        <c:v>44136</c:v>
                      </c:pt>
                      <c:pt idx="215">
                        <c:v>44137</c:v>
                      </c:pt>
                      <c:pt idx="216">
                        <c:v>44138</c:v>
                      </c:pt>
                      <c:pt idx="217">
                        <c:v>44139</c:v>
                      </c:pt>
                      <c:pt idx="218">
                        <c:v>44140</c:v>
                      </c:pt>
                      <c:pt idx="219">
                        <c:v>44141</c:v>
                      </c:pt>
                      <c:pt idx="220">
                        <c:v>44142</c:v>
                      </c:pt>
                      <c:pt idx="221">
                        <c:v>44143</c:v>
                      </c:pt>
                      <c:pt idx="222">
                        <c:v>44144</c:v>
                      </c:pt>
                      <c:pt idx="223">
                        <c:v>44145</c:v>
                      </c:pt>
                      <c:pt idx="224">
                        <c:v>44146</c:v>
                      </c:pt>
                      <c:pt idx="225">
                        <c:v>44147</c:v>
                      </c:pt>
                      <c:pt idx="226">
                        <c:v>44148</c:v>
                      </c:pt>
                      <c:pt idx="227">
                        <c:v>44149</c:v>
                      </c:pt>
                      <c:pt idx="228">
                        <c:v>44150</c:v>
                      </c:pt>
                      <c:pt idx="229">
                        <c:v>44151</c:v>
                      </c:pt>
                      <c:pt idx="230">
                        <c:v>44152</c:v>
                      </c:pt>
                      <c:pt idx="231">
                        <c:v>44153</c:v>
                      </c:pt>
                      <c:pt idx="232">
                        <c:v>44154</c:v>
                      </c:pt>
                      <c:pt idx="233">
                        <c:v>44155</c:v>
                      </c:pt>
                      <c:pt idx="234">
                        <c:v>44156</c:v>
                      </c:pt>
                      <c:pt idx="235">
                        <c:v>44157</c:v>
                      </c:pt>
                      <c:pt idx="236">
                        <c:v>44158</c:v>
                      </c:pt>
                      <c:pt idx="237">
                        <c:v>44159</c:v>
                      </c:pt>
                      <c:pt idx="238">
                        <c:v>44160</c:v>
                      </c:pt>
                      <c:pt idx="239">
                        <c:v>44161</c:v>
                      </c:pt>
                      <c:pt idx="240">
                        <c:v>44162</c:v>
                      </c:pt>
                      <c:pt idx="241">
                        <c:v>44163</c:v>
                      </c:pt>
                      <c:pt idx="242">
                        <c:v>44164</c:v>
                      </c:pt>
                      <c:pt idx="243">
                        <c:v>44165</c:v>
                      </c:pt>
                      <c:pt idx="244">
                        <c:v>44166</c:v>
                      </c:pt>
                      <c:pt idx="245">
                        <c:v>44167</c:v>
                      </c:pt>
                      <c:pt idx="246">
                        <c:v>44168</c:v>
                      </c:pt>
                      <c:pt idx="247">
                        <c:v>44169</c:v>
                      </c:pt>
                      <c:pt idx="248">
                        <c:v>44170</c:v>
                      </c:pt>
                      <c:pt idx="249">
                        <c:v>44171</c:v>
                      </c:pt>
                      <c:pt idx="250">
                        <c:v>44172</c:v>
                      </c:pt>
                      <c:pt idx="251">
                        <c:v>44173</c:v>
                      </c:pt>
                      <c:pt idx="252">
                        <c:v>44174</c:v>
                      </c:pt>
                      <c:pt idx="253">
                        <c:v>44175</c:v>
                      </c:pt>
                      <c:pt idx="254">
                        <c:v>44176</c:v>
                      </c:pt>
                      <c:pt idx="255">
                        <c:v>44177</c:v>
                      </c:pt>
                      <c:pt idx="256">
                        <c:v>44178</c:v>
                      </c:pt>
                      <c:pt idx="257">
                        <c:v>44179</c:v>
                      </c:pt>
                      <c:pt idx="258">
                        <c:v>44180</c:v>
                      </c:pt>
                      <c:pt idx="259">
                        <c:v>44181</c:v>
                      </c:pt>
                      <c:pt idx="260">
                        <c:v>44182</c:v>
                      </c:pt>
                      <c:pt idx="261">
                        <c:v>44183</c:v>
                      </c:pt>
                      <c:pt idx="262">
                        <c:v>44184</c:v>
                      </c:pt>
                      <c:pt idx="263">
                        <c:v>44185</c:v>
                      </c:pt>
                      <c:pt idx="264">
                        <c:v>44186</c:v>
                      </c:pt>
                      <c:pt idx="265">
                        <c:v>44187</c:v>
                      </c:pt>
                      <c:pt idx="266">
                        <c:v>44188</c:v>
                      </c:pt>
                      <c:pt idx="267">
                        <c:v>44189</c:v>
                      </c:pt>
                      <c:pt idx="268">
                        <c:v>44190</c:v>
                      </c:pt>
                      <c:pt idx="269">
                        <c:v>44191</c:v>
                      </c:pt>
                      <c:pt idx="270">
                        <c:v>44192</c:v>
                      </c:pt>
                      <c:pt idx="271">
                        <c:v>44193</c:v>
                      </c:pt>
                      <c:pt idx="272">
                        <c:v>44194</c:v>
                      </c:pt>
                      <c:pt idx="273">
                        <c:v>44195</c:v>
                      </c:pt>
                      <c:pt idx="274">
                        <c:v>44196</c:v>
                      </c:pt>
                      <c:pt idx="275">
                        <c:v>44197</c:v>
                      </c:pt>
                      <c:pt idx="276">
                        <c:v>44198</c:v>
                      </c:pt>
                      <c:pt idx="277">
                        <c:v>44199</c:v>
                      </c:pt>
                      <c:pt idx="278">
                        <c:v>44200</c:v>
                      </c:pt>
                      <c:pt idx="279">
                        <c:v>44201</c:v>
                      </c:pt>
                      <c:pt idx="280">
                        <c:v>44202</c:v>
                      </c:pt>
                      <c:pt idx="281">
                        <c:v>44203</c:v>
                      </c:pt>
                      <c:pt idx="282">
                        <c:v>44204</c:v>
                      </c:pt>
                      <c:pt idx="283">
                        <c:v>44205</c:v>
                      </c:pt>
                      <c:pt idx="284">
                        <c:v>44206</c:v>
                      </c:pt>
                      <c:pt idx="285">
                        <c:v>44207</c:v>
                      </c:pt>
                      <c:pt idx="286">
                        <c:v>44208</c:v>
                      </c:pt>
                      <c:pt idx="287">
                        <c:v>44209</c:v>
                      </c:pt>
                      <c:pt idx="288">
                        <c:v>44210</c:v>
                      </c:pt>
                      <c:pt idx="289">
                        <c:v>44211</c:v>
                      </c:pt>
                      <c:pt idx="290">
                        <c:v>44212</c:v>
                      </c:pt>
                      <c:pt idx="291">
                        <c:v>44213</c:v>
                      </c:pt>
                      <c:pt idx="292">
                        <c:v>44214</c:v>
                      </c:pt>
                      <c:pt idx="293">
                        <c:v>44215</c:v>
                      </c:pt>
                      <c:pt idx="294">
                        <c:v>44216</c:v>
                      </c:pt>
                      <c:pt idx="295">
                        <c:v>44217</c:v>
                      </c:pt>
                      <c:pt idx="296">
                        <c:v>44218</c:v>
                      </c:pt>
                      <c:pt idx="297">
                        <c:v>44219</c:v>
                      </c:pt>
                      <c:pt idx="298">
                        <c:v>44220</c:v>
                      </c:pt>
                      <c:pt idx="299">
                        <c:v>44221</c:v>
                      </c:pt>
                      <c:pt idx="300">
                        <c:v>44222</c:v>
                      </c:pt>
                      <c:pt idx="301">
                        <c:v>44223</c:v>
                      </c:pt>
                      <c:pt idx="302">
                        <c:v>44224</c:v>
                      </c:pt>
                      <c:pt idx="303">
                        <c:v>44225</c:v>
                      </c:pt>
                      <c:pt idx="304">
                        <c:v>44226</c:v>
                      </c:pt>
                      <c:pt idx="305">
                        <c:v>44227</c:v>
                      </c:pt>
                      <c:pt idx="306">
                        <c:v>44228</c:v>
                      </c:pt>
                      <c:pt idx="307">
                        <c:v>44229</c:v>
                      </c:pt>
                      <c:pt idx="308">
                        <c:v>44230</c:v>
                      </c:pt>
                      <c:pt idx="309">
                        <c:v>44231</c:v>
                      </c:pt>
                      <c:pt idx="310">
                        <c:v>44232</c:v>
                      </c:pt>
                      <c:pt idx="311">
                        <c:v>44233</c:v>
                      </c:pt>
                      <c:pt idx="312">
                        <c:v>44234</c:v>
                      </c:pt>
                      <c:pt idx="313">
                        <c:v>44235</c:v>
                      </c:pt>
                      <c:pt idx="314">
                        <c:v>44236</c:v>
                      </c:pt>
                      <c:pt idx="315">
                        <c:v>44237</c:v>
                      </c:pt>
                      <c:pt idx="316">
                        <c:v>44238</c:v>
                      </c:pt>
                      <c:pt idx="317">
                        <c:v>44239</c:v>
                      </c:pt>
                      <c:pt idx="318">
                        <c:v>44240</c:v>
                      </c:pt>
                      <c:pt idx="319">
                        <c:v>44241</c:v>
                      </c:pt>
                      <c:pt idx="320">
                        <c:v>44242</c:v>
                      </c:pt>
                      <c:pt idx="321">
                        <c:v>44243</c:v>
                      </c:pt>
                      <c:pt idx="322">
                        <c:v>44244</c:v>
                      </c:pt>
                      <c:pt idx="323">
                        <c:v>44245</c:v>
                      </c:pt>
                      <c:pt idx="324">
                        <c:v>44246</c:v>
                      </c:pt>
                      <c:pt idx="325">
                        <c:v>44247</c:v>
                      </c:pt>
                      <c:pt idx="326">
                        <c:v>44248</c:v>
                      </c:pt>
                      <c:pt idx="327">
                        <c:v>44249</c:v>
                      </c:pt>
                      <c:pt idx="328">
                        <c:v>44250</c:v>
                      </c:pt>
                      <c:pt idx="329">
                        <c:v>44251</c:v>
                      </c:pt>
                      <c:pt idx="330">
                        <c:v>44252</c:v>
                      </c:pt>
                      <c:pt idx="331">
                        <c:v>44253</c:v>
                      </c:pt>
                      <c:pt idx="332">
                        <c:v>44254</c:v>
                      </c:pt>
                      <c:pt idx="333">
                        <c:v>44255</c:v>
                      </c:pt>
                      <c:pt idx="334">
                        <c:v>44256</c:v>
                      </c:pt>
                      <c:pt idx="335">
                        <c:v>44257</c:v>
                      </c:pt>
                      <c:pt idx="336">
                        <c:v>44258</c:v>
                      </c:pt>
                      <c:pt idx="337">
                        <c:v>44259</c:v>
                      </c:pt>
                      <c:pt idx="338">
                        <c:v>44260</c:v>
                      </c:pt>
                      <c:pt idx="339">
                        <c:v>44261</c:v>
                      </c:pt>
                      <c:pt idx="340">
                        <c:v>44262</c:v>
                      </c:pt>
                      <c:pt idx="341">
                        <c:v>44263</c:v>
                      </c:pt>
                      <c:pt idx="342">
                        <c:v>44264</c:v>
                      </c:pt>
                      <c:pt idx="343">
                        <c:v>44265</c:v>
                      </c:pt>
                      <c:pt idx="344">
                        <c:v>44266</c:v>
                      </c:pt>
                      <c:pt idx="345">
                        <c:v>44267</c:v>
                      </c:pt>
                      <c:pt idx="346">
                        <c:v>44268</c:v>
                      </c:pt>
                      <c:pt idx="347">
                        <c:v>44269</c:v>
                      </c:pt>
                      <c:pt idx="348">
                        <c:v>44270</c:v>
                      </c:pt>
                      <c:pt idx="349">
                        <c:v>44271</c:v>
                      </c:pt>
                      <c:pt idx="350">
                        <c:v>44272</c:v>
                      </c:pt>
                      <c:pt idx="351">
                        <c:v>44273</c:v>
                      </c:pt>
                      <c:pt idx="352">
                        <c:v>44274</c:v>
                      </c:pt>
                      <c:pt idx="353">
                        <c:v>44275</c:v>
                      </c:pt>
                      <c:pt idx="354">
                        <c:v>44276</c:v>
                      </c:pt>
                      <c:pt idx="355">
                        <c:v>44277</c:v>
                      </c:pt>
                      <c:pt idx="356">
                        <c:v>44278</c:v>
                      </c:pt>
                      <c:pt idx="357">
                        <c:v>44279</c:v>
                      </c:pt>
                      <c:pt idx="358">
                        <c:v>44280</c:v>
                      </c:pt>
                      <c:pt idx="359">
                        <c:v>44281</c:v>
                      </c:pt>
                      <c:pt idx="360">
                        <c:v>44282</c:v>
                      </c:pt>
                      <c:pt idx="361">
                        <c:v>44283</c:v>
                      </c:pt>
                      <c:pt idx="362">
                        <c:v>44284</c:v>
                      </c:pt>
                      <c:pt idx="363">
                        <c:v>44285</c:v>
                      </c:pt>
                      <c:pt idx="364">
                        <c:v>44286</c:v>
                      </c:pt>
                      <c:pt idx="365">
                        <c:v>44287</c:v>
                      </c:pt>
                      <c:pt idx="366">
                        <c:v>44288</c:v>
                      </c:pt>
                      <c:pt idx="367">
                        <c:v>44289</c:v>
                      </c:pt>
                      <c:pt idx="368">
                        <c:v>44290</c:v>
                      </c:pt>
                      <c:pt idx="369">
                        <c:v>44291</c:v>
                      </c:pt>
                      <c:pt idx="370">
                        <c:v>44292</c:v>
                      </c:pt>
                      <c:pt idx="371">
                        <c:v>44293</c:v>
                      </c:pt>
                      <c:pt idx="372">
                        <c:v>44294</c:v>
                      </c:pt>
                      <c:pt idx="373">
                        <c:v>44295</c:v>
                      </c:pt>
                      <c:pt idx="374">
                        <c:v>44296</c:v>
                      </c:pt>
                      <c:pt idx="375">
                        <c:v>44297</c:v>
                      </c:pt>
                      <c:pt idx="376">
                        <c:v>44298</c:v>
                      </c:pt>
                      <c:pt idx="377">
                        <c:v>44299</c:v>
                      </c:pt>
                      <c:pt idx="378">
                        <c:v>44300</c:v>
                      </c:pt>
                      <c:pt idx="379">
                        <c:v>44301</c:v>
                      </c:pt>
                      <c:pt idx="380">
                        <c:v>44302</c:v>
                      </c:pt>
                      <c:pt idx="381">
                        <c:v>44303</c:v>
                      </c:pt>
                      <c:pt idx="382">
                        <c:v>44304</c:v>
                      </c:pt>
                      <c:pt idx="383">
                        <c:v>44305</c:v>
                      </c:pt>
                      <c:pt idx="384">
                        <c:v>44306</c:v>
                      </c:pt>
                      <c:pt idx="385">
                        <c:v>44307</c:v>
                      </c:pt>
                      <c:pt idx="386">
                        <c:v>44308</c:v>
                      </c:pt>
                      <c:pt idx="387">
                        <c:v>44309</c:v>
                      </c:pt>
                      <c:pt idx="388">
                        <c:v>44310</c:v>
                      </c:pt>
                      <c:pt idx="389">
                        <c:v>44311</c:v>
                      </c:pt>
                      <c:pt idx="390">
                        <c:v>44312</c:v>
                      </c:pt>
                      <c:pt idx="391">
                        <c:v>44313</c:v>
                      </c:pt>
                      <c:pt idx="392">
                        <c:v>44314</c:v>
                      </c:pt>
                      <c:pt idx="393">
                        <c:v>44315</c:v>
                      </c:pt>
                      <c:pt idx="394">
                        <c:v>44316</c:v>
                      </c:pt>
                      <c:pt idx="395">
                        <c:v>44317</c:v>
                      </c:pt>
                      <c:pt idx="396">
                        <c:v>44318</c:v>
                      </c:pt>
                      <c:pt idx="397">
                        <c:v>44319</c:v>
                      </c:pt>
                      <c:pt idx="398">
                        <c:v>44320</c:v>
                      </c:pt>
                      <c:pt idx="399">
                        <c:v>44321</c:v>
                      </c:pt>
                      <c:pt idx="400">
                        <c:v>44322</c:v>
                      </c:pt>
                      <c:pt idx="401">
                        <c:v>44323</c:v>
                      </c:pt>
                      <c:pt idx="402">
                        <c:v>44324</c:v>
                      </c:pt>
                      <c:pt idx="403">
                        <c:v>44325</c:v>
                      </c:pt>
                      <c:pt idx="404">
                        <c:v>44326</c:v>
                      </c:pt>
                      <c:pt idx="405">
                        <c:v>44327</c:v>
                      </c:pt>
                      <c:pt idx="406">
                        <c:v>44328</c:v>
                      </c:pt>
                      <c:pt idx="407">
                        <c:v>44329</c:v>
                      </c:pt>
                      <c:pt idx="408">
                        <c:v>44330</c:v>
                      </c:pt>
                      <c:pt idx="409">
                        <c:v>44331</c:v>
                      </c:pt>
                      <c:pt idx="410">
                        <c:v>44332</c:v>
                      </c:pt>
                      <c:pt idx="411">
                        <c:v>44333</c:v>
                      </c:pt>
                      <c:pt idx="412">
                        <c:v>44334</c:v>
                      </c:pt>
                      <c:pt idx="413">
                        <c:v>44335</c:v>
                      </c:pt>
                      <c:pt idx="414">
                        <c:v>44336</c:v>
                      </c:pt>
                      <c:pt idx="415">
                        <c:v>44337</c:v>
                      </c:pt>
                      <c:pt idx="416">
                        <c:v>44338</c:v>
                      </c:pt>
                      <c:pt idx="417">
                        <c:v>44339</c:v>
                      </c:pt>
                      <c:pt idx="418">
                        <c:v>44340</c:v>
                      </c:pt>
                      <c:pt idx="419">
                        <c:v>44341</c:v>
                      </c:pt>
                      <c:pt idx="420">
                        <c:v>44342</c:v>
                      </c:pt>
                      <c:pt idx="421">
                        <c:v>44343</c:v>
                      </c:pt>
                      <c:pt idx="422">
                        <c:v>44344</c:v>
                      </c:pt>
                      <c:pt idx="423">
                        <c:v>44345</c:v>
                      </c:pt>
                      <c:pt idx="424">
                        <c:v>44346</c:v>
                      </c:pt>
                      <c:pt idx="425">
                        <c:v>44347</c:v>
                      </c:pt>
                      <c:pt idx="426">
                        <c:v>44348</c:v>
                      </c:pt>
                      <c:pt idx="427">
                        <c:v>44349</c:v>
                      </c:pt>
                      <c:pt idx="428">
                        <c:v>44350</c:v>
                      </c:pt>
                      <c:pt idx="429">
                        <c:v>44351</c:v>
                      </c:pt>
                      <c:pt idx="430">
                        <c:v>44352</c:v>
                      </c:pt>
                      <c:pt idx="431">
                        <c:v>44353</c:v>
                      </c:pt>
                      <c:pt idx="432">
                        <c:v>44354</c:v>
                      </c:pt>
                      <c:pt idx="433">
                        <c:v>44355</c:v>
                      </c:pt>
                      <c:pt idx="434">
                        <c:v>44356</c:v>
                      </c:pt>
                      <c:pt idx="435">
                        <c:v>44357</c:v>
                      </c:pt>
                      <c:pt idx="436">
                        <c:v>44358</c:v>
                      </c:pt>
                      <c:pt idx="437">
                        <c:v>44359</c:v>
                      </c:pt>
                      <c:pt idx="438">
                        <c:v>44360</c:v>
                      </c:pt>
                      <c:pt idx="439">
                        <c:v>44361</c:v>
                      </c:pt>
                      <c:pt idx="440">
                        <c:v>44362</c:v>
                      </c:pt>
                      <c:pt idx="441">
                        <c:v>44363</c:v>
                      </c:pt>
                      <c:pt idx="442">
                        <c:v>44364</c:v>
                      </c:pt>
                      <c:pt idx="443">
                        <c:v>44365</c:v>
                      </c:pt>
                      <c:pt idx="444">
                        <c:v>44366</c:v>
                      </c:pt>
                      <c:pt idx="445">
                        <c:v>44367</c:v>
                      </c:pt>
                      <c:pt idx="446">
                        <c:v>44368</c:v>
                      </c:pt>
                      <c:pt idx="447">
                        <c:v>44369</c:v>
                      </c:pt>
                      <c:pt idx="448">
                        <c:v>44370</c:v>
                      </c:pt>
                      <c:pt idx="449">
                        <c:v>44371</c:v>
                      </c:pt>
                      <c:pt idx="450">
                        <c:v>44372</c:v>
                      </c:pt>
                      <c:pt idx="451">
                        <c:v>44373</c:v>
                      </c:pt>
                      <c:pt idx="452">
                        <c:v>44374</c:v>
                      </c:pt>
                      <c:pt idx="453">
                        <c:v>44375</c:v>
                      </c:pt>
                      <c:pt idx="454">
                        <c:v>44376</c:v>
                      </c:pt>
                      <c:pt idx="455">
                        <c:v>44377</c:v>
                      </c:pt>
                      <c:pt idx="456">
                        <c:v>44378</c:v>
                      </c:pt>
                      <c:pt idx="457">
                        <c:v>44379</c:v>
                      </c:pt>
                      <c:pt idx="458">
                        <c:v>44380</c:v>
                      </c:pt>
                      <c:pt idx="459">
                        <c:v>44381</c:v>
                      </c:pt>
                      <c:pt idx="460">
                        <c:v>44382</c:v>
                      </c:pt>
                      <c:pt idx="461">
                        <c:v>44383</c:v>
                      </c:pt>
                      <c:pt idx="462">
                        <c:v>44384</c:v>
                      </c:pt>
                      <c:pt idx="463">
                        <c:v>44385</c:v>
                      </c:pt>
                      <c:pt idx="464">
                        <c:v>44386</c:v>
                      </c:pt>
                      <c:pt idx="465">
                        <c:v>44387</c:v>
                      </c:pt>
                      <c:pt idx="466">
                        <c:v>44388</c:v>
                      </c:pt>
                      <c:pt idx="467">
                        <c:v>44389</c:v>
                      </c:pt>
                      <c:pt idx="468">
                        <c:v>44390</c:v>
                      </c:pt>
                      <c:pt idx="469">
                        <c:v>44391</c:v>
                      </c:pt>
                      <c:pt idx="470">
                        <c:v>44392</c:v>
                      </c:pt>
                      <c:pt idx="471">
                        <c:v>44393</c:v>
                      </c:pt>
                      <c:pt idx="472">
                        <c:v>44394</c:v>
                      </c:pt>
                      <c:pt idx="473">
                        <c:v>44395</c:v>
                      </c:pt>
                      <c:pt idx="474">
                        <c:v>44396</c:v>
                      </c:pt>
                      <c:pt idx="475">
                        <c:v>44397</c:v>
                      </c:pt>
                      <c:pt idx="476">
                        <c:v>44398</c:v>
                      </c:pt>
                      <c:pt idx="477">
                        <c:v>44399</c:v>
                      </c:pt>
                      <c:pt idx="478">
                        <c:v>44400</c:v>
                      </c:pt>
                      <c:pt idx="479">
                        <c:v>44401</c:v>
                      </c:pt>
                      <c:pt idx="480">
                        <c:v>44402</c:v>
                      </c:pt>
                      <c:pt idx="481">
                        <c:v>44403</c:v>
                      </c:pt>
                      <c:pt idx="482">
                        <c:v>44404</c:v>
                      </c:pt>
                      <c:pt idx="483">
                        <c:v>44405</c:v>
                      </c:pt>
                      <c:pt idx="484">
                        <c:v>44406</c:v>
                      </c:pt>
                      <c:pt idx="485">
                        <c:v>44407</c:v>
                      </c:pt>
                      <c:pt idx="486">
                        <c:v>44408</c:v>
                      </c:pt>
                      <c:pt idx="487">
                        <c:v>44409</c:v>
                      </c:pt>
                      <c:pt idx="488">
                        <c:v>44410</c:v>
                      </c:pt>
                      <c:pt idx="489">
                        <c:v>44411</c:v>
                      </c:pt>
                      <c:pt idx="490">
                        <c:v>44412</c:v>
                      </c:pt>
                      <c:pt idx="491">
                        <c:v>44413</c:v>
                      </c:pt>
                      <c:pt idx="492">
                        <c:v>44414</c:v>
                      </c:pt>
                      <c:pt idx="493">
                        <c:v>44415</c:v>
                      </c:pt>
                      <c:pt idx="494">
                        <c:v>44416</c:v>
                      </c:pt>
                      <c:pt idx="495">
                        <c:v>44417</c:v>
                      </c:pt>
                      <c:pt idx="496">
                        <c:v>44418</c:v>
                      </c:pt>
                      <c:pt idx="497">
                        <c:v>44419</c:v>
                      </c:pt>
                      <c:pt idx="498">
                        <c:v>44420</c:v>
                      </c:pt>
                      <c:pt idx="499">
                        <c:v>44421</c:v>
                      </c:pt>
                      <c:pt idx="500">
                        <c:v>44422</c:v>
                      </c:pt>
                      <c:pt idx="501">
                        <c:v>44423</c:v>
                      </c:pt>
                      <c:pt idx="502">
                        <c:v>44424</c:v>
                      </c:pt>
                      <c:pt idx="503">
                        <c:v>44425</c:v>
                      </c:pt>
                      <c:pt idx="504">
                        <c:v>44426</c:v>
                      </c:pt>
                    </c:numCache>
                  </c:numRef>
                </c:cat>
                <c:val>
                  <c:numRef>
                    <c:extLst xmlns:c15="http://schemas.microsoft.com/office/drawing/2012/chart">
                      <c:ext xmlns:c15="http://schemas.microsoft.com/office/drawing/2012/chart" uri="{02D57815-91ED-43cb-92C2-25804820EDAC}">
                        <c15:formulaRef>
                          <c15:sqref>Nicaragua!$D$94:$D$371</c15:sqref>
                        </c15:formulaRef>
                      </c:ext>
                    </c:extLst>
                    <c:numCache>
                      <c:formatCode>General</c:formatCode>
                      <c:ptCount val="278"/>
                      <c:pt idx="0">
                        <c:v>0</c:v>
                      </c:pt>
                      <c:pt idx="1">
                        <c:v>0</c:v>
                      </c:pt>
                      <c:pt idx="2">
                        <c:v>0</c:v>
                      </c:pt>
                      <c:pt idx="3">
                        <c:v>0</c:v>
                      </c:pt>
                      <c:pt idx="4">
                        <c:v>1</c:v>
                      </c:pt>
                      <c:pt idx="5">
                        <c:v>0</c:v>
                      </c:pt>
                      <c:pt idx="6">
                        <c:v>0</c:v>
                      </c:pt>
                      <c:pt idx="7">
                        <c:v>0</c:v>
                      </c:pt>
                      <c:pt idx="8">
                        <c:v>1</c:v>
                      </c:pt>
                      <c:pt idx="9">
                        <c:v>0</c:v>
                      </c:pt>
                      <c:pt idx="10">
                        <c:v>1</c:v>
                      </c:pt>
                      <c:pt idx="11">
                        <c:v>1</c:v>
                      </c:pt>
                      <c:pt idx="12">
                        <c:v>0</c:v>
                      </c:pt>
                      <c:pt idx="13">
                        <c:v>0</c:v>
                      </c:pt>
                      <c:pt idx="14">
                        <c:v>0</c:v>
                      </c:pt>
                      <c:pt idx="15">
                        <c:v>0</c:v>
                      </c:pt>
                      <c:pt idx="16">
                        <c:v>0</c:v>
                      </c:pt>
                      <c:pt idx="17">
                        <c:v>0</c:v>
                      </c:pt>
                      <c:pt idx="18">
                        <c:v>1</c:v>
                      </c:pt>
                      <c:pt idx="19">
                        <c:v>0</c:v>
                      </c:pt>
                      <c:pt idx="20">
                        <c:v>0</c:v>
                      </c:pt>
                      <c:pt idx="21">
                        <c:v>0</c:v>
                      </c:pt>
                      <c:pt idx="22">
                        <c:v>1</c:v>
                      </c:pt>
                      <c:pt idx="23">
                        <c:v>0</c:v>
                      </c:pt>
                      <c:pt idx="24">
                        <c:v>1</c:v>
                      </c:pt>
                      <c:pt idx="25">
                        <c:v>1</c:v>
                      </c:pt>
                      <c:pt idx="26">
                        <c:v>0</c:v>
                      </c:pt>
                      <c:pt idx="27">
                        <c:v>0</c:v>
                      </c:pt>
                      <c:pt idx="28">
                        <c:v>0</c:v>
                      </c:pt>
                      <c:pt idx="29">
                        <c:v>1</c:v>
                      </c:pt>
                      <c:pt idx="30">
                        <c:v>0</c:v>
                      </c:pt>
                      <c:pt idx="31">
                        <c:v>0</c:v>
                      </c:pt>
                      <c:pt idx="32">
                        <c:v>1</c:v>
                      </c:pt>
                      <c:pt idx="33">
                        <c:v>0</c:v>
                      </c:pt>
                      <c:pt idx="34">
                        <c:v>1</c:v>
                      </c:pt>
                      <c:pt idx="35">
                        <c:v>0</c:v>
                      </c:pt>
                      <c:pt idx="36">
                        <c:v>0</c:v>
                      </c:pt>
                      <c:pt idx="37">
                        <c:v>0</c:v>
                      </c:pt>
                      <c:pt idx="38">
                        <c:v>0</c:v>
                      </c:pt>
                      <c:pt idx="39">
                        <c:v>0</c:v>
                      </c:pt>
                      <c:pt idx="40">
                        <c:v>0</c:v>
                      </c:pt>
                      <c:pt idx="41">
                        <c:v>9</c:v>
                      </c:pt>
                      <c:pt idx="42">
                        <c:v>0</c:v>
                      </c:pt>
                      <c:pt idx="43">
                        <c:v>0</c:v>
                      </c:pt>
                      <c:pt idx="44">
                        <c:v>0</c:v>
                      </c:pt>
                      <c:pt idx="45">
                        <c:v>0</c:v>
                      </c:pt>
                      <c:pt idx="46">
                        <c:v>0</c:v>
                      </c:pt>
                      <c:pt idx="47">
                        <c:v>0</c:v>
                      </c:pt>
                      <c:pt idx="48">
                        <c:v>229</c:v>
                      </c:pt>
                      <c:pt idx="49">
                        <c:v>0</c:v>
                      </c:pt>
                      <c:pt idx="50">
                        <c:v>25</c:v>
                      </c:pt>
                      <c:pt idx="51">
                        <c:v>0</c:v>
                      </c:pt>
                      <c:pt idx="52">
                        <c:v>0</c:v>
                      </c:pt>
                      <c:pt idx="53">
                        <c:v>0</c:v>
                      </c:pt>
                      <c:pt idx="54">
                        <c:v>0</c:v>
                      </c:pt>
                      <c:pt idx="55">
                        <c:v>480</c:v>
                      </c:pt>
                      <c:pt idx="56">
                        <c:v>0</c:v>
                      </c:pt>
                      <c:pt idx="57">
                        <c:v>0</c:v>
                      </c:pt>
                      <c:pt idx="58">
                        <c:v>0</c:v>
                      </c:pt>
                      <c:pt idx="59">
                        <c:v>0</c:v>
                      </c:pt>
                      <c:pt idx="60">
                        <c:v>0</c:v>
                      </c:pt>
                      <c:pt idx="61">
                        <c:v>0</c:v>
                      </c:pt>
                      <c:pt idx="62">
                        <c:v>359</c:v>
                      </c:pt>
                      <c:pt idx="63">
                        <c:v>0</c:v>
                      </c:pt>
                      <c:pt idx="64">
                        <c:v>0</c:v>
                      </c:pt>
                      <c:pt idx="65">
                        <c:v>0</c:v>
                      </c:pt>
                      <c:pt idx="66">
                        <c:v>0</c:v>
                      </c:pt>
                      <c:pt idx="67">
                        <c:v>0</c:v>
                      </c:pt>
                      <c:pt idx="68">
                        <c:v>0</c:v>
                      </c:pt>
                      <c:pt idx="69">
                        <c:v>346</c:v>
                      </c:pt>
                      <c:pt idx="70">
                        <c:v>0</c:v>
                      </c:pt>
                      <c:pt idx="71">
                        <c:v>0</c:v>
                      </c:pt>
                      <c:pt idx="72">
                        <c:v>0</c:v>
                      </c:pt>
                      <c:pt idx="73">
                        <c:v>0</c:v>
                      </c:pt>
                      <c:pt idx="74">
                        <c:v>0</c:v>
                      </c:pt>
                      <c:pt idx="75">
                        <c:v>0</c:v>
                      </c:pt>
                      <c:pt idx="76">
                        <c:v>359</c:v>
                      </c:pt>
                      <c:pt idx="77">
                        <c:v>0</c:v>
                      </c:pt>
                      <c:pt idx="78">
                        <c:v>0</c:v>
                      </c:pt>
                      <c:pt idx="79">
                        <c:v>0</c:v>
                      </c:pt>
                      <c:pt idx="80">
                        <c:v>0</c:v>
                      </c:pt>
                      <c:pt idx="81">
                        <c:v>0</c:v>
                      </c:pt>
                      <c:pt idx="82">
                        <c:v>0</c:v>
                      </c:pt>
                      <c:pt idx="83">
                        <c:v>347</c:v>
                      </c:pt>
                      <c:pt idx="84">
                        <c:v>0</c:v>
                      </c:pt>
                      <c:pt idx="85">
                        <c:v>0</c:v>
                      </c:pt>
                      <c:pt idx="86">
                        <c:v>0</c:v>
                      </c:pt>
                      <c:pt idx="87">
                        <c:v>0</c:v>
                      </c:pt>
                      <c:pt idx="88">
                        <c:v>0</c:v>
                      </c:pt>
                      <c:pt idx="89">
                        <c:v>0</c:v>
                      </c:pt>
                      <c:pt idx="90">
                        <c:v>349</c:v>
                      </c:pt>
                      <c:pt idx="91">
                        <c:v>0</c:v>
                      </c:pt>
                      <c:pt idx="92">
                        <c:v>0</c:v>
                      </c:pt>
                      <c:pt idx="93">
                        <c:v>0</c:v>
                      </c:pt>
                      <c:pt idx="94">
                        <c:v>0</c:v>
                      </c:pt>
                      <c:pt idx="95">
                        <c:v>0</c:v>
                      </c:pt>
                      <c:pt idx="96">
                        <c:v>0</c:v>
                      </c:pt>
                      <c:pt idx="97">
                        <c:v>327</c:v>
                      </c:pt>
                      <c:pt idx="98">
                        <c:v>0</c:v>
                      </c:pt>
                      <c:pt idx="99">
                        <c:v>0</c:v>
                      </c:pt>
                      <c:pt idx="100">
                        <c:v>0</c:v>
                      </c:pt>
                      <c:pt idx="101">
                        <c:v>0</c:v>
                      </c:pt>
                      <c:pt idx="102">
                        <c:v>0</c:v>
                      </c:pt>
                      <c:pt idx="103">
                        <c:v>0</c:v>
                      </c:pt>
                      <c:pt idx="104">
                        <c:v>301</c:v>
                      </c:pt>
                      <c:pt idx="105">
                        <c:v>0</c:v>
                      </c:pt>
                      <c:pt idx="106">
                        <c:v>0</c:v>
                      </c:pt>
                      <c:pt idx="107">
                        <c:v>0</c:v>
                      </c:pt>
                      <c:pt idx="108">
                        <c:v>0</c:v>
                      </c:pt>
                      <c:pt idx="109">
                        <c:v>0</c:v>
                      </c:pt>
                      <c:pt idx="110">
                        <c:v>0</c:v>
                      </c:pt>
                      <c:pt idx="111">
                        <c:v>292</c:v>
                      </c:pt>
                      <c:pt idx="112">
                        <c:v>0</c:v>
                      </c:pt>
                      <c:pt idx="113">
                        <c:v>0</c:v>
                      </c:pt>
                      <c:pt idx="114">
                        <c:v>0</c:v>
                      </c:pt>
                      <c:pt idx="115">
                        <c:v>0</c:v>
                      </c:pt>
                      <c:pt idx="116">
                        <c:v>0</c:v>
                      </c:pt>
                      <c:pt idx="117">
                        <c:v>0</c:v>
                      </c:pt>
                      <c:pt idx="118">
                        <c:v>233</c:v>
                      </c:pt>
                      <c:pt idx="119">
                        <c:v>0</c:v>
                      </c:pt>
                      <c:pt idx="120">
                        <c:v>0</c:v>
                      </c:pt>
                      <c:pt idx="121">
                        <c:v>0</c:v>
                      </c:pt>
                      <c:pt idx="122">
                        <c:v>0</c:v>
                      </c:pt>
                      <c:pt idx="123">
                        <c:v>0</c:v>
                      </c:pt>
                      <c:pt idx="124">
                        <c:v>0</c:v>
                      </c:pt>
                      <c:pt idx="125">
                        <c:v>230</c:v>
                      </c:pt>
                      <c:pt idx="126">
                        <c:v>0</c:v>
                      </c:pt>
                      <c:pt idx="127">
                        <c:v>0</c:v>
                      </c:pt>
                      <c:pt idx="128">
                        <c:v>0</c:v>
                      </c:pt>
                      <c:pt idx="129">
                        <c:v>0</c:v>
                      </c:pt>
                      <c:pt idx="130">
                        <c:v>0</c:v>
                      </c:pt>
                      <c:pt idx="131">
                        <c:v>0</c:v>
                      </c:pt>
                      <c:pt idx="132">
                        <c:v>213</c:v>
                      </c:pt>
                      <c:pt idx="133">
                        <c:v>0</c:v>
                      </c:pt>
                      <c:pt idx="134">
                        <c:v>0</c:v>
                      </c:pt>
                      <c:pt idx="135">
                        <c:v>0</c:v>
                      </c:pt>
                      <c:pt idx="136">
                        <c:v>0</c:v>
                      </c:pt>
                      <c:pt idx="137">
                        <c:v>0</c:v>
                      </c:pt>
                      <c:pt idx="138">
                        <c:v>0</c:v>
                      </c:pt>
                      <c:pt idx="139">
                        <c:v>196</c:v>
                      </c:pt>
                      <c:pt idx="140">
                        <c:v>0</c:v>
                      </c:pt>
                      <c:pt idx="141">
                        <c:v>0</c:v>
                      </c:pt>
                      <c:pt idx="142">
                        <c:v>0</c:v>
                      </c:pt>
                      <c:pt idx="143">
                        <c:v>0</c:v>
                      </c:pt>
                      <c:pt idx="144">
                        <c:v>0</c:v>
                      </c:pt>
                      <c:pt idx="145">
                        <c:v>0</c:v>
                      </c:pt>
                      <c:pt idx="146">
                        <c:v>183</c:v>
                      </c:pt>
                      <c:pt idx="147">
                        <c:v>0</c:v>
                      </c:pt>
                      <c:pt idx="148">
                        <c:v>0</c:v>
                      </c:pt>
                      <c:pt idx="149">
                        <c:v>0</c:v>
                      </c:pt>
                      <c:pt idx="150">
                        <c:v>0</c:v>
                      </c:pt>
                      <c:pt idx="151">
                        <c:v>0</c:v>
                      </c:pt>
                      <c:pt idx="152">
                        <c:v>0</c:v>
                      </c:pt>
                      <c:pt idx="153">
                        <c:v>174</c:v>
                      </c:pt>
                      <c:pt idx="154">
                        <c:v>0</c:v>
                      </c:pt>
                      <c:pt idx="155">
                        <c:v>0</c:v>
                      </c:pt>
                      <c:pt idx="156">
                        <c:v>0</c:v>
                      </c:pt>
                      <c:pt idx="157">
                        <c:v>0</c:v>
                      </c:pt>
                      <c:pt idx="158">
                        <c:v>0</c:v>
                      </c:pt>
                      <c:pt idx="159">
                        <c:v>0</c:v>
                      </c:pt>
                      <c:pt idx="160">
                        <c:v>150</c:v>
                      </c:pt>
                      <c:pt idx="161">
                        <c:v>0</c:v>
                      </c:pt>
                      <c:pt idx="162">
                        <c:v>0</c:v>
                      </c:pt>
                      <c:pt idx="163">
                        <c:v>0</c:v>
                      </c:pt>
                      <c:pt idx="164">
                        <c:v>0</c:v>
                      </c:pt>
                      <c:pt idx="165">
                        <c:v>0</c:v>
                      </c:pt>
                      <c:pt idx="166">
                        <c:v>0</c:v>
                      </c:pt>
                      <c:pt idx="167">
                        <c:v>143</c:v>
                      </c:pt>
                      <c:pt idx="168">
                        <c:v>0</c:v>
                      </c:pt>
                      <c:pt idx="169">
                        <c:v>0</c:v>
                      </c:pt>
                      <c:pt idx="170">
                        <c:v>0</c:v>
                      </c:pt>
                      <c:pt idx="171">
                        <c:v>0</c:v>
                      </c:pt>
                      <c:pt idx="172">
                        <c:v>0</c:v>
                      </c:pt>
                      <c:pt idx="173">
                        <c:v>0</c:v>
                      </c:pt>
                      <c:pt idx="174">
                        <c:v>112</c:v>
                      </c:pt>
                      <c:pt idx="175">
                        <c:v>0</c:v>
                      </c:pt>
                      <c:pt idx="176">
                        <c:v>0</c:v>
                      </c:pt>
                      <c:pt idx="177">
                        <c:v>0</c:v>
                      </c:pt>
                      <c:pt idx="178">
                        <c:v>0</c:v>
                      </c:pt>
                      <c:pt idx="179">
                        <c:v>0</c:v>
                      </c:pt>
                      <c:pt idx="180">
                        <c:v>0</c:v>
                      </c:pt>
                      <c:pt idx="181">
                        <c:v>97</c:v>
                      </c:pt>
                      <c:pt idx="182">
                        <c:v>0</c:v>
                      </c:pt>
                      <c:pt idx="183">
                        <c:v>0</c:v>
                      </c:pt>
                      <c:pt idx="184">
                        <c:v>0</c:v>
                      </c:pt>
                      <c:pt idx="185">
                        <c:v>0</c:v>
                      </c:pt>
                      <c:pt idx="186">
                        <c:v>0</c:v>
                      </c:pt>
                      <c:pt idx="187">
                        <c:v>0</c:v>
                      </c:pt>
                      <c:pt idx="188">
                        <c:v>94</c:v>
                      </c:pt>
                      <c:pt idx="189">
                        <c:v>0</c:v>
                      </c:pt>
                      <c:pt idx="190">
                        <c:v>0</c:v>
                      </c:pt>
                      <c:pt idx="191">
                        <c:v>0</c:v>
                      </c:pt>
                      <c:pt idx="192">
                        <c:v>0</c:v>
                      </c:pt>
                      <c:pt idx="193">
                        <c:v>0</c:v>
                      </c:pt>
                      <c:pt idx="194">
                        <c:v>0</c:v>
                      </c:pt>
                      <c:pt idx="195">
                        <c:v>89</c:v>
                      </c:pt>
                      <c:pt idx="196">
                        <c:v>0</c:v>
                      </c:pt>
                      <c:pt idx="197">
                        <c:v>0</c:v>
                      </c:pt>
                      <c:pt idx="198">
                        <c:v>0</c:v>
                      </c:pt>
                      <c:pt idx="199">
                        <c:v>0</c:v>
                      </c:pt>
                      <c:pt idx="200">
                        <c:v>0</c:v>
                      </c:pt>
                      <c:pt idx="201">
                        <c:v>0</c:v>
                      </c:pt>
                      <c:pt idx="202">
                        <c:v>81</c:v>
                      </c:pt>
                      <c:pt idx="203">
                        <c:v>0</c:v>
                      </c:pt>
                      <c:pt idx="204">
                        <c:v>0</c:v>
                      </c:pt>
                      <c:pt idx="205">
                        <c:v>0</c:v>
                      </c:pt>
                      <c:pt idx="206">
                        <c:v>0</c:v>
                      </c:pt>
                      <c:pt idx="207">
                        <c:v>0</c:v>
                      </c:pt>
                      <c:pt idx="208">
                        <c:v>0</c:v>
                      </c:pt>
                      <c:pt idx="209">
                        <c:v>80</c:v>
                      </c:pt>
                      <c:pt idx="210">
                        <c:v>0</c:v>
                      </c:pt>
                      <c:pt idx="211">
                        <c:v>0</c:v>
                      </c:pt>
                      <c:pt idx="212">
                        <c:v>0</c:v>
                      </c:pt>
                      <c:pt idx="213">
                        <c:v>0</c:v>
                      </c:pt>
                      <c:pt idx="214">
                        <c:v>0</c:v>
                      </c:pt>
                      <c:pt idx="215">
                        <c:v>0</c:v>
                      </c:pt>
                      <c:pt idx="216">
                        <c:v>0</c:v>
                      </c:pt>
                      <c:pt idx="217">
                        <c:v>0</c:v>
                      </c:pt>
                      <c:pt idx="218">
                        <c:v>77</c:v>
                      </c:pt>
                      <c:pt idx="219">
                        <c:v>0</c:v>
                      </c:pt>
                      <c:pt idx="220">
                        <c:v>0</c:v>
                      </c:pt>
                      <c:pt idx="221">
                        <c:v>0</c:v>
                      </c:pt>
                      <c:pt idx="222">
                        <c:v>0</c:v>
                      </c:pt>
                      <c:pt idx="223">
                        <c:v>70</c:v>
                      </c:pt>
                      <c:pt idx="224">
                        <c:v>0</c:v>
                      </c:pt>
                      <c:pt idx="225">
                        <c:v>0</c:v>
                      </c:pt>
                      <c:pt idx="226">
                        <c:v>0</c:v>
                      </c:pt>
                      <c:pt idx="227">
                        <c:v>0</c:v>
                      </c:pt>
                      <c:pt idx="228">
                        <c:v>0</c:v>
                      </c:pt>
                      <c:pt idx="229">
                        <c:v>0</c:v>
                      </c:pt>
                      <c:pt idx="230">
                        <c:v>64</c:v>
                      </c:pt>
                      <c:pt idx="231">
                        <c:v>0</c:v>
                      </c:pt>
                      <c:pt idx="232">
                        <c:v>0</c:v>
                      </c:pt>
                      <c:pt idx="233">
                        <c:v>0</c:v>
                      </c:pt>
                      <c:pt idx="234">
                        <c:v>0</c:v>
                      </c:pt>
                      <c:pt idx="235">
                        <c:v>0</c:v>
                      </c:pt>
                      <c:pt idx="236">
                        <c:v>0</c:v>
                      </c:pt>
                      <c:pt idx="237">
                        <c:v>59</c:v>
                      </c:pt>
                      <c:pt idx="238">
                        <c:v>0</c:v>
                      </c:pt>
                      <c:pt idx="239">
                        <c:v>0</c:v>
                      </c:pt>
                      <c:pt idx="240">
                        <c:v>0</c:v>
                      </c:pt>
                      <c:pt idx="241">
                        <c:v>0</c:v>
                      </c:pt>
                      <c:pt idx="242">
                        <c:v>0</c:v>
                      </c:pt>
                      <c:pt idx="243">
                        <c:v>0</c:v>
                      </c:pt>
                      <c:pt idx="244">
                        <c:v>54</c:v>
                      </c:pt>
                      <c:pt idx="245">
                        <c:v>0</c:v>
                      </c:pt>
                      <c:pt idx="246">
                        <c:v>0</c:v>
                      </c:pt>
                      <c:pt idx="247">
                        <c:v>0</c:v>
                      </c:pt>
                      <c:pt idx="248">
                        <c:v>0</c:v>
                      </c:pt>
                      <c:pt idx="249">
                        <c:v>0</c:v>
                      </c:pt>
                      <c:pt idx="250">
                        <c:v>0</c:v>
                      </c:pt>
                      <c:pt idx="251">
                        <c:v>49</c:v>
                      </c:pt>
                      <c:pt idx="252">
                        <c:v>0</c:v>
                      </c:pt>
                      <c:pt idx="253">
                        <c:v>0</c:v>
                      </c:pt>
                      <c:pt idx="254">
                        <c:v>0</c:v>
                      </c:pt>
                      <c:pt idx="255">
                        <c:v>0</c:v>
                      </c:pt>
                      <c:pt idx="256">
                        <c:v>0</c:v>
                      </c:pt>
                      <c:pt idx="257">
                        <c:v>0</c:v>
                      </c:pt>
                      <c:pt idx="258">
                        <c:v>0</c:v>
                      </c:pt>
                      <c:pt idx="259">
                        <c:v>51</c:v>
                      </c:pt>
                      <c:pt idx="260">
                        <c:v>0</c:v>
                      </c:pt>
                      <c:pt idx="261">
                        <c:v>0</c:v>
                      </c:pt>
                      <c:pt idx="262">
                        <c:v>0</c:v>
                      </c:pt>
                      <c:pt idx="263">
                        <c:v>0</c:v>
                      </c:pt>
                      <c:pt idx="264">
                        <c:v>0</c:v>
                      </c:pt>
                      <c:pt idx="265">
                        <c:v>0</c:v>
                      </c:pt>
                      <c:pt idx="266">
                        <c:v>53</c:v>
                      </c:pt>
                      <c:pt idx="267">
                        <c:v>0</c:v>
                      </c:pt>
                      <c:pt idx="268">
                        <c:v>0</c:v>
                      </c:pt>
                      <c:pt idx="269">
                        <c:v>0</c:v>
                      </c:pt>
                      <c:pt idx="270">
                        <c:v>0</c:v>
                      </c:pt>
                      <c:pt idx="271">
                        <c:v>0</c:v>
                      </c:pt>
                      <c:pt idx="272">
                        <c:v>55</c:v>
                      </c:pt>
                      <c:pt idx="273">
                        <c:v>0</c:v>
                      </c:pt>
                      <c:pt idx="274">
                        <c:v>0</c:v>
                      </c:pt>
                      <c:pt idx="275">
                        <c:v>0</c:v>
                      </c:pt>
                      <c:pt idx="276">
                        <c:v>0</c:v>
                      </c:pt>
                      <c:pt idx="277">
                        <c:v>0</c:v>
                      </c:pt>
                    </c:numCache>
                  </c:numRef>
                </c:val>
                <c:extLst xmlns:c15="http://schemas.microsoft.com/office/drawing/2012/chart">
                  <c:ext xmlns:c16="http://schemas.microsoft.com/office/drawing/2014/chart" uri="{C3380CC4-5D6E-409C-BE32-E72D297353CC}">
                    <c16:uniqueId val="{00000004-1D52-4AF4-98CA-071069331375}"/>
                  </c:ext>
                </c:extLst>
              </c15:ser>
            </c15:filteredBarSeries>
            <c15:filteredBarSeries>
              <c15:ser>
                <c:idx val="5"/>
                <c:order val="4"/>
                <c:tx>
                  <c:strRef>
                    <c:extLst xmlns:c15="http://schemas.microsoft.com/office/drawing/2012/chart">
                      <c:ext xmlns:c15="http://schemas.microsoft.com/office/drawing/2012/chart" uri="{02D57815-91ED-43cb-92C2-25804820EDAC}">
                        <c15:formulaRef>
                          <c15:sqref>Detalle!#REF!</c15:sqref>
                        </c15:formulaRef>
                      </c:ext>
                    </c:extLst>
                    <c:strCache>
                      <c:ptCount val="1"/>
                      <c:pt idx="0">
                        <c:v>#REF!</c:v>
                      </c:pt>
                    </c:strCache>
                  </c:strRef>
                </c:tx>
                <c:spPr>
                  <a:solidFill>
                    <a:schemeClr val="accent6"/>
                  </a:solidFill>
                  <a:ln>
                    <a:noFill/>
                  </a:ln>
                  <a:effectLst/>
                </c:spPr>
                <c:invertIfNegative val="0"/>
                <c:cat>
                  <c:numRef>
                    <c:extLst xmlns:c15="http://schemas.microsoft.com/office/drawing/2012/chart">
                      <c:ext xmlns:c15="http://schemas.microsoft.com/office/drawing/2012/chart" uri="{02D57815-91ED-43cb-92C2-25804820EDAC}">
                        <c15:formulaRef>
                          <c15:sqref>World!$A$94:$A$598</c15:sqref>
                        </c15:formulaRef>
                      </c:ext>
                    </c:extLst>
                    <c:numCache>
                      <c:formatCode>dd/mm/yy;@</c:formatCode>
                      <c:ptCount val="505"/>
                      <c:pt idx="0">
                        <c:v>43922</c:v>
                      </c:pt>
                      <c:pt idx="1">
                        <c:v>43923</c:v>
                      </c:pt>
                      <c:pt idx="2">
                        <c:v>43924</c:v>
                      </c:pt>
                      <c:pt idx="3">
                        <c:v>43925</c:v>
                      </c:pt>
                      <c:pt idx="4">
                        <c:v>43926</c:v>
                      </c:pt>
                      <c:pt idx="5">
                        <c:v>43927</c:v>
                      </c:pt>
                      <c:pt idx="6">
                        <c:v>43928</c:v>
                      </c:pt>
                      <c:pt idx="7">
                        <c:v>43929</c:v>
                      </c:pt>
                      <c:pt idx="8">
                        <c:v>43930</c:v>
                      </c:pt>
                      <c:pt idx="9">
                        <c:v>43931</c:v>
                      </c:pt>
                      <c:pt idx="10">
                        <c:v>43932</c:v>
                      </c:pt>
                      <c:pt idx="11">
                        <c:v>43933</c:v>
                      </c:pt>
                      <c:pt idx="12">
                        <c:v>43934</c:v>
                      </c:pt>
                      <c:pt idx="13">
                        <c:v>43935</c:v>
                      </c:pt>
                      <c:pt idx="14">
                        <c:v>43936</c:v>
                      </c:pt>
                      <c:pt idx="15">
                        <c:v>43937</c:v>
                      </c:pt>
                      <c:pt idx="16">
                        <c:v>43938</c:v>
                      </c:pt>
                      <c:pt idx="17">
                        <c:v>43939</c:v>
                      </c:pt>
                      <c:pt idx="18">
                        <c:v>43940</c:v>
                      </c:pt>
                      <c:pt idx="19">
                        <c:v>43941</c:v>
                      </c:pt>
                      <c:pt idx="20">
                        <c:v>43942</c:v>
                      </c:pt>
                      <c:pt idx="21">
                        <c:v>43943</c:v>
                      </c:pt>
                      <c:pt idx="22">
                        <c:v>43944</c:v>
                      </c:pt>
                      <c:pt idx="23">
                        <c:v>43945</c:v>
                      </c:pt>
                      <c:pt idx="24">
                        <c:v>43946</c:v>
                      </c:pt>
                      <c:pt idx="25">
                        <c:v>43947</c:v>
                      </c:pt>
                      <c:pt idx="26">
                        <c:v>43948</c:v>
                      </c:pt>
                      <c:pt idx="27">
                        <c:v>43949</c:v>
                      </c:pt>
                      <c:pt idx="28">
                        <c:v>43950</c:v>
                      </c:pt>
                      <c:pt idx="29">
                        <c:v>43951</c:v>
                      </c:pt>
                      <c:pt idx="30">
                        <c:v>43952</c:v>
                      </c:pt>
                      <c:pt idx="31">
                        <c:v>43953</c:v>
                      </c:pt>
                      <c:pt idx="32">
                        <c:v>43954</c:v>
                      </c:pt>
                      <c:pt idx="33">
                        <c:v>43955</c:v>
                      </c:pt>
                      <c:pt idx="34">
                        <c:v>43956</c:v>
                      </c:pt>
                      <c:pt idx="35">
                        <c:v>43957</c:v>
                      </c:pt>
                      <c:pt idx="36">
                        <c:v>43958</c:v>
                      </c:pt>
                      <c:pt idx="37">
                        <c:v>43959</c:v>
                      </c:pt>
                      <c:pt idx="38">
                        <c:v>43960</c:v>
                      </c:pt>
                      <c:pt idx="39">
                        <c:v>43961</c:v>
                      </c:pt>
                      <c:pt idx="40">
                        <c:v>43962</c:v>
                      </c:pt>
                      <c:pt idx="41">
                        <c:v>43963</c:v>
                      </c:pt>
                      <c:pt idx="42">
                        <c:v>43964</c:v>
                      </c:pt>
                      <c:pt idx="43">
                        <c:v>43965</c:v>
                      </c:pt>
                      <c:pt idx="44">
                        <c:v>43966</c:v>
                      </c:pt>
                      <c:pt idx="45">
                        <c:v>43967</c:v>
                      </c:pt>
                      <c:pt idx="46">
                        <c:v>43968</c:v>
                      </c:pt>
                      <c:pt idx="47">
                        <c:v>43969</c:v>
                      </c:pt>
                      <c:pt idx="48">
                        <c:v>43970</c:v>
                      </c:pt>
                      <c:pt idx="49">
                        <c:v>43971</c:v>
                      </c:pt>
                      <c:pt idx="50">
                        <c:v>43972</c:v>
                      </c:pt>
                      <c:pt idx="51">
                        <c:v>43973</c:v>
                      </c:pt>
                      <c:pt idx="52">
                        <c:v>43974</c:v>
                      </c:pt>
                      <c:pt idx="53">
                        <c:v>43975</c:v>
                      </c:pt>
                      <c:pt idx="54">
                        <c:v>43976</c:v>
                      </c:pt>
                      <c:pt idx="55">
                        <c:v>43977</c:v>
                      </c:pt>
                      <c:pt idx="56">
                        <c:v>43978</c:v>
                      </c:pt>
                      <c:pt idx="57">
                        <c:v>43979</c:v>
                      </c:pt>
                      <c:pt idx="58">
                        <c:v>43980</c:v>
                      </c:pt>
                      <c:pt idx="59">
                        <c:v>43981</c:v>
                      </c:pt>
                      <c:pt idx="60">
                        <c:v>43982</c:v>
                      </c:pt>
                      <c:pt idx="61">
                        <c:v>43983</c:v>
                      </c:pt>
                      <c:pt idx="62">
                        <c:v>43984</c:v>
                      </c:pt>
                      <c:pt idx="63">
                        <c:v>43985</c:v>
                      </c:pt>
                      <c:pt idx="64">
                        <c:v>43986</c:v>
                      </c:pt>
                      <c:pt idx="65">
                        <c:v>43987</c:v>
                      </c:pt>
                      <c:pt idx="66">
                        <c:v>43988</c:v>
                      </c:pt>
                      <c:pt idx="67">
                        <c:v>43989</c:v>
                      </c:pt>
                      <c:pt idx="68">
                        <c:v>43990</c:v>
                      </c:pt>
                      <c:pt idx="69">
                        <c:v>43991</c:v>
                      </c:pt>
                      <c:pt idx="70">
                        <c:v>43992</c:v>
                      </c:pt>
                      <c:pt idx="71">
                        <c:v>43993</c:v>
                      </c:pt>
                      <c:pt idx="72">
                        <c:v>43994</c:v>
                      </c:pt>
                      <c:pt idx="73">
                        <c:v>43995</c:v>
                      </c:pt>
                      <c:pt idx="74">
                        <c:v>43996</c:v>
                      </c:pt>
                      <c:pt idx="75">
                        <c:v>43997</c:v>
                      </c:pt>
                      <c:pt idx="76">
                        <c:v>43998</c:v>
                      </c:pt>
                      <c:pt idx="77">
                        <c:v>43999</c:v>
                      </c:pt>
                      <c:pt idx="78">
                        <c:v>44000</c:v>
                      </c:pt>
                      <c:pt idx="79">
                        <c:v>44001</c:v>
                      </c:pt>
                      <c:pt idx="80">
                        <c:v>44002</c:v>
                      </c:pt>
                      <c:pt idx="81">
                        <c:v>44003</c:v>
                      </c:pt>
                      <c:pt idx="82">
                        <c:v>44004</c:v>
                      </c:pt>
                      <c:pt idx="83">
                        <c:v>44005</c:v>
                      </c:pt>
                      <c:pt idx="84">
                        <c:v>44006</c:v>
                      </c:pt>
                      <c:pt idx="85">
                        <c:v>44007</c:v>
                      </c:pt>
                      <c:pt idx="86">
                        <c:v>44008</c:v>
                      </c:pt>
                      <c:pt idx="87">
                        <c:v>44009</c:v>
                      </c:pt>
                      <c:pt idx="88">
                        <c:v>44010</c:v>
                      </c:pt>
                      <c:pt idx="89">
                        <c:v>44011</c:v>
                      </c:pt>
                      <c:pt idx="90">
                        <c:v>44012</c:v>
                      </c:pt>
                      <c:pt idx="91">
                        <c:v>44013</c:v>
                      </c:pt>
                      <c:pt idx="92">
                        <c:v>44014</c:v>
                      </c:pt>
                      <c:pt idx="93">
                        <c:v>44015</c:v>
                      </c:pt>
                      <c:pt idx="94">
                        <c:v>44016</c:v>
                      </c:pt>
                      <c:pt idx="95">
                        <c:v>44017</c:v>
                      </c:pt>
                      <c:pt idx="96">
                        <c:v>44018</c:v>
                      </c:pt>
                      <c:pt idx="97">
                        <c:v>44019</c:v>
                      </c:pt>
                      <c:pt idx="98">
                        <c:v>44020</c:v>
                      </c:pt>
                      <c:pt idx="99">
                        <c:v>44021</c:v>
                      </c:pt>
                      <c:pt idx="100">
                        <c:v>44022</c:v>
                      </c:pt>
                      <c:pt idx="101">
                        <c:v>44023</c:v>
                      </c:pt>
                      <c:pt idx="102">
                        <c:v>44024</c:v>
                      </c:pt>
                      <c:pt idx="103">
                        <c:v>44025</c:v>
                      </c:pt>
                      <c:pt idx="104">
                        <c:v>44026</c:v>
                      </c:pt>
                      <c:pt idx="105">
                        <c:v>44027</c:v>
                      </c:pt>
                      <c:pt idx="106">
                        <c:v>44028</c:v>
                      </c:pt>
                      <c:pt idx="107">
                        <c:v>44029</c:v>
                      </c:pt>
                      <c:pt idx="108">
                        <c:v>44030</c:v>
                      </c:pt>
                      <c:pt idx="109">
                        <c:v>44031</c:v>
                      </c:pt>
                      <c:pt idx="110">
                        <c:v>44032</c:v>
                      </c:pt>
                      <c:pt idx="111">
                        <c:v>44033</c:v>
                      </c:pt>
                      <c:pt idx="112">
                        <c:v>44034</c:v>
                      </c:pt>
                      <c:pt idx="113">
                        <c:v>44035</c:v>
                      </c:pt>
                      <c:pt idx="114">
                        <c:v>44036</c:v>
                      </c:pt>
                      <c:pt idx="115">
                        <c:v>44037</c:v>
                      </c:pt>
                      <c:pt idx="116">
                        <c:v>44038</c:v>
                      </c:pt>
                      <c:pt idx="117">
                        <c:v>44039</c:v>
                      </c:pt>
                      <c:pt idx="118">
                        <c:v>44040</c:v>
                      </c:pt>
                      <c:pt idx="119">
                        <c:v>44041</c:v>
                      </c:pt>
                      <c:pt idx="120">
                        <c:v>44042</c:v>
                      </c:pt>
                      <c:pt idx="121">
                        <c:v>44043</c:v>
                      </c:pt>
                      <c:pt idx="122">
                        <c:v>44044</c:v>
                      </c:pt>
                      <c:pt idx="123">
                        <c:v>44045</c:v>
                      </c:pt>
                      <c:pt idx="124">
                        <c:v>44046</c:v>
                      </c:pt>
                      <c:pt idx="125">
                        <c:v>44047</c:v>
                      </c:pt>
                      <c:pt idx="126">
                        <c:v>44048</c:v>
                      </c:pt>
                      <c:pt idx="127">
                        <c:v>44049</c:v>
                      </c:pt>
                      <c:pt idx="128">
                        <c:v>44050</c:v>
                      </c:pt>
                      <c:pt idx="129">
                        <c:v>44051</c:v>
                      </c:pt>
                      <c:pt idx="130">
                        <c:v>44052</c:v>
                      </c:pt>
                      <c:pt idx="131">
                        <c:v>44053</c:v>
                      </c:pt>
                      <c:pt idx="132">
                        <c:v>44054</c:v>
                      </c:pt>
                      <c:pt idx="133">
                        <c:v>44055</c:v>
                      </c:pt>
                      <c:pt idx="134">
                        <c:v>44056</c:v>
                      </c:pt>
                      <c:pt idx="135">
                        <c:v>44057</c:v>
                      </c:pt>
                      <c:pt idx="136">
                        <c:v>44058</c:v>
                      </c:pt>
                      <c:pt idx="137">
                        <c:v>44059</c:v>
                      </c:pt>
                      <c:pt idx="138">
                        <c:v>44060</c:v>
                      </c:pt>
                      <c:pt idx="139">
                        <c:v>44061</c:v>
                      </c:pt>
                      <c:pt idx="140">
                        <c:v>44062</c:v>
                      </c:pt>
                      <c:pt idx="141">
                        <c:v>44063</c:v>
                      </c:pt>
                      <c:pt idx="142">
                        <c:v>44064</c:v>
                      </c:pt>
                      <c:pt idx="143">
                        <c:v>44065</c:v>
                      </c:pt>
                      <c:pt idx="144">
                        <c:v>44066</c:v>
                      </c:pt>
                      <c:pt idx="145">
                        <c:v>44067</c:v>
                      </c:pt>
                      <c:pt idx="146">
                        <c:v>44068</c:v>
                      </c:pt>
                      <c:pt idx="147">
                        <c:v>44069</c:v>
                      </c:pt>
                      <c:pt idx="148">
                        <c:v>44070</c:v>
                      </c:pt>
                      <c:pt idx="149">
                        <c:v>44071</c:v>
                      </c:pt>
                      <c:pt idx="150">
                        <c:v>44072</c:v>
                      </c:pt>
                      <c:pt idx="151">
                        <c:v>44073</c:v>
                      </c:pt>
                      <c:pt idx="152">
                        <c:v>44074</c:v>
                      </c:pt>
                      <c:pt idx="153">
                        <c:v>44075</c:v>
                      </c:pt>
                      <c:pt idx="154">
                        <c:v>44076</c:v>
                      </c:pt>
                      <c:pt idx="155">
                        <c:v>44077</c:v>
                      </c:pt>
                      <c:pt idx="156">
                        <c:v>44078</c:v>
                      </c:pt>
                      <c:pt idx="157">
                        <c:v>44079</c:v>
                      </c:pt>
                      <c:pt idx="158">
                        <c:v>44080</c:v>
                      </c:pt>
                      <c:pt idx="159">
                        <c:v>44081</c:v>
                      </c:pt>
                      <c:pt idx="160">
                        <c:v>44082</c:v>
                      </c:pt>
                      <c:pt idx="161">
                        <c:v>44083</c:v>
                      </c:pt>
                      <c:pt idx="162">
                        <c:v>44084</c:v>
                      </c:pt>
                      <c:pt idx="163">
                        <c:v>44085</c:v>
                      </c:pt>
                      <c:pt idx="164">
                        <c:v>44086</c:v>
                      </c:pt>
                      <c:pt idx="165">
                        <c:v>44087</c:v>
                      </c:pt>
                      <c:pt idx="166">
                        <c:v>44088</c:v>
                      </c:pt>
                      <c:pt idx="167">
                        <c:v>44089</c:v>
                      </c:pt>
                      <c:pt idx="168">
                        <c:v>44090</c:v>
                      </c:pt>
                      <c:pt idx="169">
                        <c:v>44091</c:v>
                      </c:pt>
                      <c:pt idx="170">
                        <c:v>44092</c:v>
                      </c:pt>
                      <c:pt idx="171">
                        <c:v>44093</c:v>
                      </c:pt>
                      <c:pt idx="172">
                        <c:v>44094</c:v>
                      </c:pt>
                      <c:pt idx="173">
                        <c:v>44095</c:v>
                      </c:pt>
                      <c:pt idx="174">
                        <c:v>44096</c:v>
                      </c:pt>
                      <c:pt idx="175">
                        <c:v>44097</c:v>
                      </c:pt>
                      <c:pt idx="176">
                        <c:v>44098</c:v>
                      </c:pt>
                      <c:pt idx="177">
                        <c:v>44099</c:v>
                      </c:pt>
                      <c:pt idx="178">
                        <c:v>44100</c:v>
                      </c:pt>
                      <c:pt idx="179">
                        <c:v>44101</c:v>
                      </c:pt>
                      <c:pt idx="180">
                        <c:v>44102</c:v>
                      </c:pt>
                      <c:pt idx="181">
                        <c:v>44103</c:v>
                      </c:pt>
                      <c:pt idx="182">
                        <c:v>44104</c:v>
                      </c:pt>
                      <c:pt idx="183">
                        <c:v>44105</c:v>
                      </c:pt>
                      <c:pt idx="184">
                        <c:v>44106</c:v>
                      </c:pt>
                      <c:pt idx="185">
                        <c:v>44107</c:v>
                      </c:pt>
                      <c:pt idx="186">
                        <c:v>44108</c:v>
                      </c:pt>
                      <c:pt idx="187">
                        <c:v>44109</c:v>
                      </c:pt>
                      <c:pt idx="188">
                        <c:v>44110</c:v>
                      </c:pt>
                      <c:pt idx="189">
                        <c:v>44111</c:v>
                      </c:pt>
                      <c:pt idx="190">
                        <c:v>44112</c:v>
                      </c:pt>
                      <c:pt idx="191">
                        <c:v>44113</c:v>
                      </c:pt>
                      <c:pt idx="192">
                        <c:v>44114</c:v>
                      </c:pt>
                      <c:pt idx="193">
                        <c:v>44115</c:v>
                      </c:pt>
                      <c:pt idx="194">
                        <c:v>44116</c:v>
                      </c:pt>
                      <c:pt idx="195">
                        <c:v>44117</c:v>
                      </c:pt>
                      <c:pt idx="196">
                        <c:v>44118</c:v>
                      </c:pt>
                      <c:pt idx="197">
                        <c:v>44119</c:v>
                      </c:pt>
                      <c:pt idx="198">
                        <c:v>44120</c:v>
                      </c:pt>
                      <c:pt idx="199">
                        <c:v>44121</c:v>
                      </c:pt>
                      <c:pt idx="200">
                        <c:v>44122</c:v>
                      </c:pt>
                      <c:pt idx="201">
                        <c:v>44123</c:v>
                      </c:pt>
                      <c:pt idx="202">
                        <c:v>44124</c:v>
                      </c:pt>
                      <c:pt idx="203">
                        <c:v>44125</c:v>
                      </c:pt>
                      <c:pt idx="204">
                        <c:v>44126</c:v>
                      </c:pt>
                      <c:pt idx="205">
                        <c:v>44127</c:v>
                      </c:pt>
                      <c:pt idx="206">
                        <c:v>44128</c:v>
                      </c:pt>
                      <c:pt idx="207">
                        <c:v>44129</c:v>
                      </c:pt>
                      <c:pt idx="208">
                        <c:v>44130</c:v>
                      </c:pt>
                      <c:pt idx="209">
                        <c:v>44131</c:v>
                      </c:pt>
                      <c:pt idx="210">
                        <c:v>44132</c:v>
                      </c:pt>
                      <c:pt idx="211">
                        <c:v>44133</c:v>
                      </c:pt>
                      <c:pt idx="212">
                        <c:v>44134</c:v>
                      </c:pt>
                      <c:pt idx="213">
                        <c:v>44135</c:v>
                      </c:pt>
                      <c:pt idx="214">
                        <c:v>44136</c:v>
                      </c:pt>
                      <c:pt idx="215">
                        <c:v>44137</c:v>
                      </c:pt>
                      <c:pt idx="216">
                        <c:v>44138</c:v>
                      </c:pt>
                      <c:pt idx="217">
                        <c:v>44139</c:v>
                      </c:pt>
                      <c:pt idx="218">
                        <c:v>44140</c:v>
                      </c:pt>
                      <c:pt idx="219">
                        <c:v>44141</c:v>
                      </c:pt>
                      <c:pt idx="220">
                        <c:v>44142</c:v>
                      </c:pt>
                      <c:pt idx="221">
                        <c:v>44143</c:v>
                      </c:pt>
                      <c:pt idx="222">
                        <c:v>44144</c:v>
                      </c:pt>
                      <c:pt idx="223">
                        <c:v>44145</c:v>
                      </c:pt>
                      <c:pt idx="224">
                        <c:v>44146</c:v>
                      </c:pt>
                      <c:pt idx="225">
                        <c:v>44147</c:v>
                      </c:pt>
                      <c:pt idx="226">
                        <c:v>44148</c:v>
                      </c:pt>
                      <c:pt idx="227">
                        <c:v>44149</c:v>
                      </c:pt>
                      <c:pt idx="228">
                        <c:v>44150</c:v>
                      </c:pt>
                      <c:pt idx="229">
                        <c:v>44151</c:v>
                      </c:pt>
                      <c:pt idx="230">
                        <c:v>44152</c:v>
                      </c:pt>
                      <c:pt idx="231">
                        <c:v>44153</c:v>
                      </c:pt>
                      <c:pt idx="232">
                        <c:v>44154</c:v>
                      </c:pt>
                      <c:pt idx="233">
                        <c:v>44155</c:v>
                      </c:pt>
                      <c:pt idx="234">
                        <c:v>44156</c:v>
                      </c:pt>
                      <c:pt idx="235">
                        <c:v>44157</c:v>
                      </c:pt>
                      <c:pt idx="236">
                        <c:v>44158</c:v>
                      </c:pt>
                      <c:pt idx="237">
                        <c:v>44159</c:v>
                      </c:pt>
                      <c:pt idx="238">
                        <c:v>44160</c:v>
                      </c:pt>
                      <c:pt idx="239">
                        <c:v>44161</c:v>
                      </c:pt>
                      <c:pt idx="240">
                        <c:v>44162</c:v>
                      </c:pt>
                      <c:pt idx="241">
                        <c:v>44163</c:v>
                      </c:pt>
                      <c:pt idx="242">
                        <c:v>44164</c:v>
                      </c:pt>
                      <c:pt idx="243">
                        <c:v>44165</c:v>
                      </c:pt>
                      <c:pt idx="244">
                        <c:v>44166</c:v>
                      </c:pt>
                      <c:pt idx="245">
                        <c:v>44167</c:v>
                      </c:pt>
                      <c:pt idx="246">
                        <c:v>44168</c:v>
                      </c:pt>
                      <c:pt idx="247">
                        <c:v>44169</c:v>
                      </c:pt>
                      <c:pt idx="248">
                        <c:v>44170</c:v>
                      </c:pt>
                      <c:pt idx="249">
                        <c:v>44171</c:v>
                      </c:pt>
                      <c:pt idx="250">
                        <c:v>44172</c:v>
                      </c:pt>
                      <c:pt idx="251">
                        <c:v>44173</c:v>
                      </c:pt>
                      <c:pt idx="252">
                        <c:v>44174</c:v>
                      </c:pt>
                      <c:pt idx="253">
                        <c:v>44175</c:v>
                      </c:pt>
                      <c:pt idx="254">
                        <c:v>44176</c:v>
                      </c:pt>
                      <c:pt idx="255">
                        <c:v>44177</c:v>
                      </c:pt>
                      <c:pt idx="256">
                        <c:v>44178</c:v>
                      </c:pt>
                      <c:pt idx="257">
                        <c:v>44179</c:v>
                      </c:pt>
                      <c:pt idx="258">
                        <c:v>44180</c:v>
                      </c:pt>
                      <c:pt idx="259">
                        <c:v>44181</c:v>
                      </c:pt>
                      <c:pt idx="260">
                        <c:v>44182</c:v>
                      </c:pt>
                      <c:pt idx="261">
                        <c:v>44183</c:v>
                      </c:pt>
                      <c:pt idx="262">
                        <c:v>44184</c:v>
                      </c:pt>
                      <c:pt idx="263">
                        <c:v>44185</c:v>
                      </c:pt>
                      <c:pt idx="264">
                        <c:v>44186</c:v>
                      </c:pt>
                      <c:pt idx="265">
                        <c:v>44187</c:v>
                      </c:pt>
                      <c:pt idx="266">
                        <c:v>44188</c:v>
                      </c:pt>
                      <c:pt idx="267">
                        <c:v>44189</c:v>
                      </c:pt>
                      <c:pt idx="268">
                        <c:v>44190</c:v>
                      </c:pt>
                      <c:pt idx="269">
                        <c:v>44191</c:v>
                      </c:pt>
                      <c:pt idx="270">
                        <c:v>44192</c:v>
                      </c:pt>
                      <c:pt idx="271">
                        <c:v>44193</c:v>
                      </c:pt>
                      <c:pt idx="272">
                        <c:v>44194</c:v>
                      </c:pt>
                      <c:pt idx="273">
                        <c:v>44195</c:v>
                      </c:pt>
                      <c:pt idx="274">
                        <c:v>44196</c:v>
                      </c:pt>
                      <c:pt idx="275">
                        <c:v>44197</c:v>
                      </c:pt>
                      <c:pt idx="276">
                        <c:v>44198</c:v>
                      </c:pt>
                      <c:pt idx="277">
                        <c:v>44199</c:v>
                      </c:pt>
                      <c:pt idx="278">
                        <c:v>44200</c:v>
                      </c:pt>
                      <c:pt idx="279">
                        <c:v>44201</c:v>
                      </c:pt>
                      <c:pt idx="280">
                        <c:v>44202</c:v>
                      </c:pt>
                      <c:pt idx="281">
                        <c:v>44203</c:v>
                      </c:pt>
                      <c:pt idx="282">
                        <c:v>44204</c:v>
                      </c:pt>
                      <c:pt idx="283">
                        <c:v>44205</c:v>
                      </c:pt>
                      <c:pt idx="284">
                        <c:v>44206</c:v>
                      </c:pt>
                      <c:pt idx="285">
                        <c:v>44207</c:v>
                      </c:pt>
                      <c:pt idx="286">
                        <c:v>44208</c:v>
                      </c:pt>
                      <c:pt idx="287">
                        <c:v>44209</c:v>
                      </c:pt>
                      <c:pt idx="288">
                        <c:v>44210</c:v>
                      </c:pt>
                      <c:pt idx="289">
                        <c:v>44211</c:v>
                      </c:pt>
                      <c:pt idx="290">
                        <c:v>44212</c:v>
                      </c:pt>
                      <c:pt idx="291">
                        <c:v>44213</c:v>
                      </c:pt>
                      <c:pt idx="292">
                        <c:v>44214</c:v>
                      </c:pt>
                      <c:pt idx="293">
                        <c:v>44215</c:v>
                      </c:pt>
                      <c:pt idx="294">
                        <c:v>44216</c:v>
                      </c:pt>
                      <c:pt idx="295">
                        <c:v>44217</c:v>
                      </c:pt>
                      <c:pt idx="296">
                        <c:v>44218</c:v>
                      </c:pt>
                      <c:pt idx="297">
                        <c:v>44219</c:v>
                      </c:pt>
                      <c:pt idx="298">
                        <c:v>44220</c:v>
                      </c:pt>
                      <c:pt idx="299">
                        <c:v>44221</c:v>
                      </c:pt>
                      <c:pt idx="300">
                        <c:v>44222</c:v>
                      </c:pt>
                      <c:pt idx="301">
                        <c:v>44223</c:v>
                      </c:pt>
                      <c:pt idx="302">
                        <c:v>44224</c:v>
                      </c:pt>
                      <c:pt idx="303">
                        <c:v>44225</c:v>
                      </c:pt>
                      <c:pt idx="304">
                        <c:v>44226</c:v>
                      </c:pt>
                      <c:pt idx="305">
                        <c:v>44227</c:v>
                      </c:pt>
                      <c:pt idx="306">
                        <c:v>44228</c:v>
                      </c:pt>
                      <c:pt idx="307">
                        <c:v>44229</c:v>
                      </c:pt>
                      <c:pt idx="308">
                        <c:v>44230</c:v>
                      </c:pt>
                      <c:pt idx="309">
                        <c:v>44231</c:v>
                      </c:pt>
                      <c:pt idx="310">
                        <c:v>44232</c:v>
                      </c:pt>
                      <c:pt idx="311">
                        <c:v>44233</c:v>
                      </c:pt>
                      <c:pt idx="312">
                        <c:v>44234</c:v>
                      </c:pt>
                      <c:pt idx="313">
                        <c:v>44235</c:v>
                      </c:pt>
                      <c:pt idx="314">
                        <c:v>44236</c:v>
                      </c:pt>
                      <c:pt idx="315">
                        <c:v>44237</c:v>
                      </c:pt>
                      <c:pt idx="316">
                        <c:v>44238</c:v>
                      </c:pt>
                      <c:pt idx="317">
                        <c:v>44239</c:v>
                      </c:pt>
                      <c:pt idx="318">
                        <c:v>44240</c:v>
                      </c:pt>
                      <c:pt idx="319">
                        <c:v>44241</c:v>
                      </c:pt>
                      <c:pt idx="320">
                        <c:v>44242</c:v>
                      </c:pt>
                      <c:pt idx="321">
                        <c:v>44243</c:v>
                      </c:pt>
                      <c:pt idx="322">
                        <c:v>44244</c:v>
                      </c:pt>
                      <c:pt idx="323">
                        <c:v>44245</c:v>
                      </c:pt>
                      <c:pt idx="324">
                        <c:v>44246</c:v>
                      </c:pt>
                      <c:pt idx="325">
                        <c:v>44247</c:v>
                      </c:pt>
                      <c:pt idx="326">
                        <c:v>44248</c:v>
                      </c:pt>
                      <c:pt idx="327">
                        <c:v>44249</c:v>
                      </c:pt>
                      <c:pt idx="328">
                        <c:v>44250</c:v>
                      </c:pt>
                      <c:pt idx="329">
                        <c:v>44251</c:v>
                      </c:pt>
                      <c:pt idx="330">
                        <c:v>44252</c:v>
                      </c:pt>
                      <c:pt idx="331">
                        <c:v>44253</c:v>
                      </c:pt>
                      <c:pt idx="332">
                        <c:v>44254</c:v>
                      </c:pt>
                      <c:pt idx="333">
                        <c:v>44255</c:v>
                      </c:pt>
                      <c:pt idx="334">
                        <c:v>44256</c:v>
                      </c:pt>
                      <c:pt idx="335">
                        <c:v>44257</c:v>
                      </c:pt>
                      <c:pt idx="336">
                        <c:v>44258</c:v>
                      </c:pt>
                      <c:pt idx="337">
                        <c:v>44259</c:v>
                      </c:pt>
                      <c:pt idx="338">
                        <c:v>44260</c:v>
                      </c:pt>
                      <c:pt idx="339">
                        <c:v>44261</c:v>
                      </c:pt>
                      <c:pt idx="340">
                        <c:v>44262</c:v>
                      </c:pt>
                      <c:pt idx="341">
                        <c:v>44263</c:v>
                      </c:pt>
                      <c:pt idx="342">
                        <c:v>44264</c:v>
                      </c:pt>
                      <c:pt idx="343">
                        <c:v>44265</c:v>
                      </c:pt>
                      <c:pt idx="344">
                        <c:v>44266</c:v>
                      </c:pt>
                      <c:pt idx="345">
                        <c:v>44267</c:v>
                      </c:pt>
                      <c:pt idx="346">
                        <c:v>44268</c:v>
                      </c:pt>
                      <c:pt idx="347">
                        <c:v>44269</c:v>
                      </c:pt>
                      <c:pt idx="348">
                        <c:v>44270</c:v>
                      </c:pt>
                      <c:pt idx="349">
                        <c:v>44271</c:v>
                      </c:pt>
                      <c:pt idx="350">
                        <c:v>44272</c:v>
                      </c:pt>
                      <c:pt idx="351">
                        <c:v>44273</c:v>
                      </c:pt>
                      <c:pt idx="352">
                        <c:v>44274</c:v>
                      </c:pt>
                      <c:pt idx="353">
                        <c:v>44275</c:v>
                      </c:pt>
                      <c:pt idx="354">
                        <c:v>44276</c:v>
                      </c:pt>
                      <c:pt idx="355">
                        <c:v>44277</c:v>
                      </c:pt>
                      <c:pt idx="356">
                        <c:v>44278</c:v>
                      </c:pt>
                      <c:pt idx="357">
                        <c:v>44279</c:v>
                      </c:pt>
                      <c:pt idx="358">
                        <c:v>44280</c:v>
                      </c:pt>
                      <c:pt idx="359">
                        <c:v>44281</c:v>
                      </c:pt>
                      <c:pt idx="360">
                        <c:v>44282</c:v>
                      </c:pt>
                      <c:pt idx="361">
                        <c:v>44283</c:v>
                      </c:pt>
                      <c:pt idx="362">
                        <c:v>44284</c:v>
                      </c:pt>
                      <c:pt idx="363">
                        <c:v>44285</c:v>
                      </c:pt>
                      <c:pt idx="364">
                        <c:v>44286</c:v>
                      </c:pt>
                      <c:pt idx="365">
                        <c:v>44287</c:v>
                      </c:pt>
                      <c:pt idx="366">
                        <c:v>44288</c:v>
                      </c:pt>
                      <c:pt idx="367">
                        <c:v>44289</c:v>
                      </c:pt>
                      <c:pt idx="368">
                        <c:v>44290</c:v>
                      </c:pt>
                      <c:pt idx="369">
                        <c:v>44291</c:v>
                      </c:pt>
                      <c:pt idx="370">
                        <c:v>44292</c:v>
                      </c:pt>
                      <c:pt idx="371">
                        <c:v>44293</c:v>
                      </c:pt>
                      <c:pt idx="372">
                        <c:v>44294</c:v>
                      </c:pt>
                      <c:pt idx="373">
                        <c:v>44295</c:v>
                      </c:pt>
                      <c:pt idx="374">
                        <c:v>44296</c:v>
                      </c:pt>
                      <c:pt idx="375">
                        <c:v>44297</c:v>
                      </c:pt>
                      <c:pt idx="376">
                        <c:v>44298</c:v>
                      </c:pt>
                      <c:pt idx="377">
                        <c:v>44299</c:v>
                      </c:pt>
                      <c:pt idx="378">
                        <c:v>44300</c:v>
                      </c:pt>
                      <c:pt idx="379">
                        <c:v>44301</c:v>
                      </c:pt>
                      <c:pt idx="380">
                        <c:v>44302</c:v>
                      </c:pt>
                      <c:pt idx="381">
                        <c:v>44303</c:v>
                      </c:pt>
                      <c:pt idx="382">
                        <c:v>44304</c:v>
                      </c:pt>
                      <c:pt idx="383">
                        <c:v>44305</c:v>
                      </c:pt>
                      <c:pt idx="384">
                        <c:v>44306</c:v>
                      </c:pt>
                      <c:pt idx="385">
                        <c:v>44307</c:v>
                      </c:pt>
                      <c:pt idx="386">
                        <c:v>44308</c:v>
                      </c:pt>
                      <c:pt idx="387">
                        <c:v>44309</c:v>
                      </c:pt>
                      <c:pt idx="388">
                        <c:v>44310</c:v>
                      </c:pt>
                      <c:pt idx="389">
                        <c:v>44311</c:v>
                      </c:pt>
                      <c:pt idx="390">
                        <c:v>44312</c:v>
                      </c:pt>
                      <c:pt idx="391">
                        <c:v>44313</c:v>
                      </c:pt>
                      <c:pt idx="392">
                        <c:v>44314</c:v>
                      </c:pt>
                      <c:pt idx="393">
                        <c:v>44315</c:v>
                      </c:pt>
                      <c:pt idx="394">
                        <c:v>44316</c:v>
                      </c:pt>
                      <c:pt idx="395">
                        <c:v>44317</c:v>
                      </c:pt>
                      <c:pt idx="396">
                        <c:v>44318</c:v>
                      </c:pt>
                      <c:pt idx="397">
                        <c:v>44319</c:v>
                      </c:pt>
                      <c:pt idx="398">
                        <c:v>44320</c:v>
                      </c:pt>
                      <c:pt idx="399">
                        <c:v>44321</c:v>
                      </c:pt>
                      <c:pt idx="400">
                        <c:v>44322</c:v>
                      </c:pt>
                      <c:pt idx="401">
                        <c:v>44323</c:v>
                      </c:pt>
                      <c:pt idx="402">
                        <c:v>44324</c:v>
                      </c:pt>
                      <c:pt idx="403">
                        <c:v>44325</c:v>
                      </c:pt>
                      <c:pt idx="404">
                        <c:v>44326</c:v>
                      </c:pt>
                      <c:pt idx="405">
                        <c:v>44327</c:v>
                      </c:pt>
                      <c:pt idx="406">
                        <c:v>44328</c:v>
                      </c:pt>
                      <c:pt idx="407">
                        <c:v>44329</c:v>
                      </c:pt>
                      <c:pt idx="408">
                        <c:v>44330</c:v>
                      </c:pt>
                      <c:pt idx="409">
                        <c:v>44331</c:v>
                      </c:pt>
                      <c:pt idx="410">
                        <c:v>44332</c:v>
                      </c:pt>
                      <c:pt idx="411">
                        <c:v>44333</c:v>
                      </c:pt>
                      <c:pt idx="412">
                        <c:v>44334</c:v>
                      </c:pt>
                      <c:pt idx="413">
                        <c:v>44335</c:v>
                      </c:pt>
                      <c:pt idx="414">
                        <c:v>44336</c:v>
                      </c:pt>
                      <c:pt idx="415">
                        <c:v>44337</c:v>
                      </c:pt>
                      <c:pt idx="416">
                        <c:v>44338</c:v>
                      </c:pt>
                      <c:pt idx="417">
                        <c:v>44339</c:v>
                      </c:pt>
                      <c:pt idx="418">
                        <c:v>44340</c:v>
                      </c:pt>
                      <c:pt idx="419">
                        <c:v>44341</c:v>
                      </c:pt>
                      <c:pt idx="420">
                        <c:v>44342</c:v>
                      </c:pt>
                      <c:pt idx="421">
                        <c:v>44343</c:v>
                      </c:pt>
                      <c:pt idx="422">
                        <c:v>44344</c:v>
                      </c:pt>
                      <c:pt idx="423">
                        <c:v>44345</c:v>
                      </c:pt>
                      <c:pt idx="424">
                        <c:v>44346</c:v>
                      </c:pt>
                      <c:pt idx="425">
                        <c:v>44347</c:v>
                      </c:pt>
                      <c:pt idx="426">
                        <c:v>44348</c:v>
                      </c:pt>
                      <c:pt idx="427">
                        <c:v>44349</c:v>
                      </c:pt>
                      <c:pt idx="428">
                        <c:v>44350</c:v>
                      </c:pt>
                      <c:pt idx="429">
                        <c:v>44351</c:v>
                      </c:pt>
                      <c:pt idx="430">
                        <c:v>44352</c:v>
                      </c:pt>
                      <c:pt idx="431">
                        <c:v>44353</c:v>
                      </c:pt>
                      <c:pt idx="432">
                        <c:v>44354</c:v>
                      </c:pt>
                      <c:pt idx="433">
                        <c:v>44355</c:v>
                      </c:pt>
                      <c:pt idx="434">
                        <c:v>44356</c:v>
                      </c:pt>
                      <c:pt idx="435">
                        <c:v>44357</c:v>
                      </c:pt>
                      <c:pt idx="436">
                        <c:v>44358</c:v>
                      </c:pt>
                      <c:pt idx="437">
                        <c:v>44359</c:v>
                      </c:pt>
                      <c:pt idx="438">
                        <c:v>44360</c:v>
                      </c:pt>
                      <c:pt idx="439">
                        <c:v>44361</c:v>
                      </c:pt>
                      <c:pt idx="440">
                        <c:v>44362</c:v>
                      </c:pt>
                      <c:pt idx="441">
                        <c:v>44363</c:v>
                      </c:pt>
                      <c:pt idx="442">
                        <c:v>44364</c:v>
                      </c:pt>
                      <c:pt idx="443">
                        <c:v>44365</c:v>
                      </c:pt>
                      <c:pt idx="444">
                        <c:v>44366</c:v>
                      </c:pt>
                      <c:pt idx="445">
                        <c:v>44367</c:v>
                      </c:pt>
                      <c:pt idx="446">
                        <c:v>44368</c:v>
                      </c:pt>
                      <c:pt idx="447">
                        <c:v>44369</c:v>
                      </c:pt>
                      <c:pt idx="448">
                        <c:v>44370</c:v>
                      </c:pt>
                      <c:pt idx="449">
                        <c:v>44371</c:v>
                      </c:pt>
                      <c:pt idx="450">
                        <c:v>44372</c:v>
                      </c:pt>
                      <c:pt idx="451">
                        <c:v>44373</c:v>
                      </c:pt>
                      <c:pt idx="452">
                        <c:v>44374</c:v>
                      </c:pt>
                      <c:pt idx="453">
                        <c:v>44375</c:v>
                      </c:pt>
                      <c:pt idx="454">
                        <c:v>44376</c:v>
                      </c:pt>
                      <c:pt idx="455">
                        <c:v>44377</c:v>
                      </c:pt>
                      <c:pt idx="456">
                        <c:v>44378</c:v>
                      </c:pt>
                      <c:pt idx="457">
                        <c:v>44379</c:v>
                      </c:pt>
                      <c:pt idx="458">
                        <c:v>44380</c:v>
                      </c:pt>
                      <c:pt idx="459">
                        <c:v>44381</c:v>
                      </c:pt>
                      <c:pt idx="460">
                        <c:v>44382</c:v>
                      </c:pt>
                      <c:pt idx="461">
                        <c:v>44383</c:v>
                      </c:pt>
                      <c:pt idx="462">
                        <c:v>44384</c:v>
                      </c:pt>
                      <c:pt idx="463">
                        <c:v>44385</c:v>
                      </c:pt>
                      <c:pt idx="464">
                        <c:v>44386</c:v>
                      </c:pt>
                      <c:pt idx="465">
                        <c:v>44387</c:v>
                      </c:pt>
                      <c:pt idx="466">
                        <c:v>44388</c:v>
                      </c:pt>
                      <c:pt idx="467">
                        <c:v>44389</c:v>
                      </c:pt>
                      <c:pt idx="468">
                        <c:v>44390</c:v>
                      </c:pt>
                      <c:pt idx="469">
                        <c:v>44391</c:v>
                      </c:pt>
                      <c:pt idx="470">
                        <c:v>44392</c:v>
                      </c:pt>
                      <c:pt idx="471">
                        <c:v>44393</c:v>
                      </c:pt>
                      <c:pt idx="472">
                        <c:v>44394</c:v>
                      </c:pt>
                      <c:pt idx="473">
                        <c:v>44395</c:v>
                      </c:pt>
                      <c:pt idx="474">
                        <c:v>44396</c:v>
                      </c:pt>
                      <c:pt idx="475">
                        <c:v>44397</c:v>
                      </c:pt>
                      <c:pt idx="476">
                        <c:v>44398</c:v>
                      </c:pt>
                      <c:pt idx="477">
                        <c:v>44399</c:v>
                      </c:pt>
                      <c:pt idx="478">
                        <c:v>44400</c:v>
                      </c:pt>
                      <c:pt idx="479">
                        <c:v>44401</c:v>
                      </c:pt>
                      <c:pt idx="480">
                        <c:v>44402</c:v>
                      </c:pt>
                      <c:pt idx="481">
                        <c:v>44403</c:v>
                      </c:pt>
                      <c:pt idx="482">
                        <c:v>44404</c:v>
                      </c:pt>
                      <c:pt idx="483">
                        <c:v>44405</c:v>
                      </c:pt>
                      <c:pt idx="484">
                        <c:v>44406</c:v>
                      </c:pt>
                      <c:pt idx="485">
                        <c:v>44407</c:v>
                      </c:pt>
                      <c:pt idx="486">
                        <c:v>44408</c:v>
                      </c:pt>
                      <c:pt idx="487">
                        <c:v>44409</c:v>
                      </c:pt>
                      <c:pt idx="488">
                        <c:v>44410</c:v>
                      </c:pt>
                      <c:pt idx="489">
                        <c:v>44411</c:v>
                      </c:pt>
                      <c:pt idx="490">
                        <c:v>44412</c:v>
                      </c:pt>
                      <c:pt idx="491">
                        <c:v>44413</c:v>
                      </c:pt>
                      <c:pt idx="492">
                        <c:v>44414</c:v>
                      </c:pt>
                      <c:pt idx="493">
                        <c:v>44415</c:v>
                      </c:pt>
                      <c:pt idx="494">
                        <c:v>44416</c:v>
                      </c:pt>
                      <c:pt idx="495">
                        <c:v>44417</c:v>
                      </c:pt>
                      <c:pt idx="496">
                        <c:v>44418</c:v>
                      </c:pt>
                      <c:pt idx="497">
                        <c:v>44419</c:v>
                      </c:pt>
                      <c:pt idx="498">
                        <c:v>44420</c:v>
                      </c:pt>
                      <c:pt idx="499">
                        <c:v>44421</c:v>
                      </c:pt>
                      <c:pt idx="500">
                        <c:v>44422</c:v>
                      </c:pt>
                      <c:pt idx="501">
                        <c:v>44423</c:v>
                      </c:pt>
                      <c:pt idx="502">
                        <c:v>44424</c:v>
                      </c:pt>
                      <c:pt idx="503">
                        <c:v>44425</c:v>
                      </c:pt>
                      <c:pt idx="504">
                        <c:v>44426</c:v>
                      </c:pt>
                    </c:numCache>
                  </c:numRef>
                </c:cat>
                <c:val>
                  <c:numRef>
                    <c:extLst xmlns:c15="http://schemas.microsoft.com/office/drawing/2012/chart">
                      <c:ext xmlns:c15="http://schemas.microsoft.com/office/drawing/2012/chart" uri="{02D57815-91ED-43cb-92C2-25804820EDAC}">
                        <c15:formulaRef>
                          <c15:sqref>'Costa Rica'!$D$94:$D$371</c15:sqref>
                        </c15:formulaRef>
                      </c:ext>
                    </c:extLst>
                    <c:numCache>
                      <c:formatCode>General</c:formatCode>
                      <c:ptCount val="278"/>
                      <c:pt idx="0">
                        <c:v>28</c:v>
                      </c:pt>
                      <c:pt idx="1">
                        <c:v>21</c:v>
                      </c:pt>
                      <c:pt idx="2">
                        <c:v>20</c:v>
                      </c:pt>
                      <c:pt idx="3">
                        <c:v>19</c:v>
                      </c:pt>
                      <c:pt idx="4">
                        <c:v>19</c:v>
                      </c:pt>
                      <c:pt idx="5">
                        <c:v>13</c:v>
                      </c:pt>
                      <c:pt idx="6">
                        <c:v>16</c:v>
                      </c:pt>
                      <c:pt idx="7">
                        <c:v>19</c:v>
                      </c:pt>
                      <c:pt idx="8">
                        <c:v>37</c:v>
                      </c:pt>
                      <c:pt idx="9">
                        <c:v>19</c:v>
                      </c:pt>
                      <c:pt idx="10">
                        <c:v>19</c:v>
                      </c:pt>
                      <c:pt idx="11">
                        <c:v>18</c:v>
                      </c:pt>
                      <c:pt idx="12">
                        <c:v>17</c:v>
                      </c:pt>
                      <c:pt idx="13">
                        <c:v>6</c:v>
                      </c:pt>
                      <c:pt idx="14">
                        <c:v>8</c:v>
                      </c:pt>
                      <c:pt idx="15">
                        <c:v>16</c:v>
                      </c:pt>
                      <c:pt idx="16">
                        <c:v>7</c:v>
                      </c:pt>
                      <c:pt idx="17">
                        <c:v>6</c:v>
                      </c:pt>
                      <c:pt idx="18">
                        <c:v>5</c:v>
                      </c:pt>
                      <c:pt idx="19">
                        <c:v>2</c:v>
                      </c:pt>
                      <c:pt idx="20">
                        <c:v>7</c:v>
                      </c:pt>
                      <c:pt idx="21">
                        <c:v>12</c:v>
                      </c:pt>
                      <c:pt idx="22">
                        <c:v>5</c:v>
                      </c:pt>
                      <c:pt idx="23">
                        <c:v>1</c:v>
                      </c:pt>
                      <c:pt idx="24">
                        <c:v>6</c:v>
                      </c:pt>
                      <c:pt idx="25">
                        <c:v>2</c:v>
                      </c:pt>
                      <c:pt idx="26">
                        <c:v>2</c:v>
                      </c:pt>
                      <c:pt idx="27">
                        <c:v>8</c:v>
                      </c:pt>
                      <c:pt idx="28">
                        <c:v>8</c:v>
                      </c:pt>
                      <c:pt idx="29">
                        <c:v>6</c:v>
                      </c:pt>
                      <c:pt idx="30">
                        <c:v>6</c:v>
                      </c:pt>
                      <c:pt idx="31">
                        <c:v>8</c:v>
                      </c:pt>
                      <c:pt idx="32">
                        <c:v>6</c:v>
                      </c:pt>
                      <c:pt idx="33">
                        <c:v>3</c:v>
                      </c:pt>
                      <c:pt idx="34">
                        <c:v>13</c:v>
                      </c:pt>
                      <c:pt idx="35">
                        <c:v>6</c:v>
                      </c:pt>
                      <c:pt idx="36">
                        <c:v>4</c:v>
                      </c:pt>
                      <c:pt idx="37">
                        <c:v>8</c:v>
                      </c:pt>
                      <c:pt idx="38">
                        <c:v>7</c:v>
                      </c:pt>
                      <c:pt idx="39">
                        <c:v>12</c:v>
                      </c:pt>
                      <c:pt idx="40">
                        <c:v>9</c:v>
                      </c:pt>
                      <c:pt idx="41">
                        <c:v>3</c:v>
                      </c:pt>
                      <c:pt idx="42">
                        <c:v>11</c:v>
                      </c:pt>
                      <c:pt idx="43">
                        <c:v>15</c:v>
                      </c:pt>
                      <c:pt idx="44">
                        <c:v>13</c:v>
                      </c:pt>
                      <c:pt idx="45">
                        <c:v>10</c:v>
                      </c:pt>
                      <c:pt idx="46">
                        <c:v>10</c:v>
                      </c:pt>
                      <c:pt idx="47">
                        <c:v>3</c:v>
                      </c:pt>
                      <c:pt idx="48">
                        <c:v>16</c:v>
                      </c:pt>
                      <c:pt idx="49">
                        <c:v>15</c:v>
                      </c:pt>
                      <c:pt idx="50">
                        <c:v>6</c:v>
                      </c:pt>
                      <c:pt idx="51">
                        <c:v>8</c:v>
                      </c:pt>
                      <c:pt idx="52">
                        <c:v>7</c:v>
                      </c:pt>
                      <c:pt idx="53">
                        <c:v>12</c:v>
                      </c:pt>
                      <c:pt idx="54">
                        <c:v>21</c:v>
                      </c:pt>
                      <c:pt idx="55">
                        <c:v>5</c:v>
                      </c:pt>
                      <c:pt idx="56">
                        <c:v>28</c:v>
                      </c:pt>
                      <c:pt idx="57">
                        <c:v>16</c:v>
                      </c:pt>
                      <c:pt idx="58">
                        <c:v>22</c:v>
                      </c:pt>
                      <c:pt idx="59">
                        <c:v>25</c:v>
                      </c:pt>
                      <c:pt idx="60">
                        <c:v>9</c:v>
                      </c:pt>
                      <c:pt idx="61">
                        <c:v>28</c:v>
                      </c:pt>
                      <c:pt idx="62">
                        <c:v>21</c:v>
                      </c:pt>
                      <c:pt idx="63">
                        <c:v>52</c:v>
                      </c:pt>
                      <c:pt idx="64">
                        <c:v>37</c:v>
                      </c:pt>
                      <c:pt idx="65">
                        <c:v>34</c:v>
                      </c:pt>
                      <c:pt idx="66">
                        <c:v>35</c:v>
                      </c:pt>
                      <c:pt idx="67">
                        <c:v>55</c:v>
                      </c:pt>
                      <c:pt idx="68">
                        <c:v>24</c:v>
                      </c:pt>
                      <c:pt idx="69">
                        <c:v>33</c:v>
                      </c:pt>
                      <c:pt idx="70">
                        <c:v>86</c:v>
                      </c:pt>
                      <c:pt idx="71">
                        <c:v>77</c:v>
                      </c:pt>
                      <c:pt idx="72">
                        <c:v>74</c:v>
                      </c:pt>
                      <c:pt idx="73">
                        <c:v>50</c:v>
                      </c:pt>
                      <c:pt idx="74">
                        <c:v>53</c:v>
                      </c:pt>
                      <c:pt idx="75">
                        <c:v>29</c:v>
                      </c:pt>
                      <c:pt idx="76">
                        <c:v>52</c:v>
                      </c:pt>
                      <c:pt idx="77">
                        <c:v>75</c:v>
                      </c:pt>
                      <c:pt idx="78">
                        <c:v>68</c:v>
                      </c:pt>
                      <c:pt idx="79">
                        <c:v>119</c:v>
                      </c:pt>
                      <c:pt idx="80">
                        <c:v>69</c:v>
                      </c:pt>
                      <c:pt idx="81">
                        <c:v>86</c:v>
                      </c:pt>
                      <c:pt idx="82">
                        <c:v>64</c:v>
                      </c:pt>
                      <c:pt idx="83">
                        <c:v>91</c:v>
                      </c:pt>
                      <c:pt idx="84">
                        <c:v>147</c:v>
                      </c:pt>
                      <c:pt idx="85">
                        <c:v>169</c:v>
                      </c:pt>
                      <c:pt idx="86">
                        <c:v>152</c:v>
                      </c:pt>
                      <c:pt idx="87">
                        <c:v>143</c:v>
                      </c:pt>
                      <c:pt idx="88">
                        <c:v>151</c:v>
                      </c:pt>
                      <c:pt idx="89">
                        <c:v>139</c:v>
                      </c:pt>
                      <c:pt idx="90">
                        <c:v>190</c:v>
                      </c:pt>
                      <c:pt idx="91">
                        <c:v>294</c:v>
                      </c:pt>
                      <c:pt idx="92">
                        <c:v>270</c:v>
                      </c:pt>
                      <c:pt idx="93">
                        <c:v>288</c:v>
                      </c:pt>
                      <c:pt idx="94">
                        <c:v>310</c:v>
                      </c:pt>
                      <c:pt idx="95">
                        <c:v>375</c:v>
                      </c:pt>
                      <c:pt idx="96">
                        <c:v>245</c:v>
                      </c:pt>
                      <c:pt idx="97">
                        <c:v>245</c:v>
                      </c:pt>
                      <c:pt idx="98">
                        <c:v>350</c:v>
                      </c:pt>
                      <c:pt idx="99">
                        <c:v>649</c:v>
                      </c:pt>
                      <c:pt idx="100">
                        <c:v>360</c:v>
                      </c:pt>
                      <c:pt idx="101">
                        <c:v>386</c:v>
                      </c:pt>
                      <c:pt idx="102">
                        <c:v>365</c:v>
                      </c:pt>
                      <c:pt idx="103">
                        <c:v>440</c:v>
                      </c:pt>
                      <c:pt idx="104">
                        <c:v>446</c:v>
                      </c:pt>
                      <c:pt idx="105">
                        <c:v>504</c:v>
                      </c:pt>
                      <c:pt idx="106">
                        <c:v>560</c:v>
                      </c:pt>
                      <c:pt idx="107">
                        <c:v>423</c:v>
                      </c:pt>
                      <c:pt idx="108">
                        <c:v>582</c:v>
                      </c:pt>
                      <c:pt idx="109">
                        <c:v>563</c:v>
                      </c:pt>
                      <c:pt idx="110">
                        <c:v>420</c:v>
                      </c:pt>
                      <c:pt idx="111">
                        <c:v>277</c:v>
                      </c:pt>
                      <c:pt idx="112">
                        <c:v>550</c:v>
                      </c:pt>
                      <c:pt idx="113">
                        <c:v>768</c:v>
                      </c:pt>
                      <c:pt idx="114">
                        <c:v>540</c:v>
                      </c:pt>
                      <c:pt idx="115">
                        <c:v>931</c:v>
                      </c:pt>
                      <c:pt idx="116">
                        <c:v>629</c:v>
                      </c:pt>
                      <c:pt idx="117">
                        <c:v>612</c:v>
                      </c:pt>
                      <c:pt idx="118">
                        <c:v>503</c:v>
                      </c:pt>
                      <c:pt idx="119">
                        <c:v>456</c:v>
                      </c:pt>
                      <c:pt idx="120">
                        <c:v>490</c:v>
                      </c:pt>
                      <c:pt idx="121">
                        <c:v>530</c:v>
                      </c:pt>
                      <c:pt idx="122">
                        <c:v>367</c:v>
                      </c:pt>
                      <c:pt idx="123">
                        <c:v>788</c:v>
                      </c:pt>
                      <c:pt idx="124">
                        <c:v>427</c:v>
                      </c:pt>
                      <c:pt idx="125">
                        <c:v>435</c:v>
                      </c:pt>
                      <c:pt idx="126">
                        <c:v>580</c:v>
                      </c:pt>
                      <c:pt idx="127">
                        <c:v>653</c:v>
                      </c:pt>
                      <c:pt idx="128">
                        <c:v>1011</c:v>
                      </c:pt>
                      <c:pt idx="129">
                        <c:v>721</c:v>
                      </c:pt>
                      <c:pt idx="130">
                        <c:v>484</c:v>
                      </c:pt>
                      <c:pt idx="131">
                        <c:v>586</c:v>
                      </c:pt>
                      <c:pt idx="132">
                        <c:v>636</c:v>
                      </c:pt>
                      <c:pt idx="133">
                        <c:v>549</c:v>
                      </c:pt>
                      <c:pt idx="134">
                        <c:v>1072</c:v>
                      </c:pt>
                      <c:pt idx="135">
                        <c:v>802</c:v>
                      </c:pt>
                      <c:pt idx="136">
                        <c:v>806</c:v>
                      </c:pt>
                      <c:pt idx="137">
                        <c:v>728</c:v>
                      </c:pt>
                      <c:pt idx="138">
                        <c:v>619</c:v>
                      </c:pt>
                      <c:pt idx="139">
                        <c:v>559</c:v>
                      </c:pt>
                      <c:pt idx="140">
                        <c:v>766</c:v>
                      </c:pt>
                      <c:pt idx="141">
                        <c:v>666</c:v>
                      </c:pt>
                      <c:pt idx="142">
                        <c:v>1059</c:v>
                      </c:pt>
                      <c:pt idx="143">
                        <c:v>950</c:v>
                      </c:pt>
                      <c:pt idx="144">
                        <c:v>736</c:v>
                      </c:pt>
                      <c:pt idx="145">
                        <c:v>643</c:v>
                      </c:pt>
                      <c:pt idx="146">
                        <c:v>842</c:v>
                      </c:pt>
                      <c:pt idx="147">
                        <c:v>1002</c:v>
                      </c:pt>
                      <c:pt idx="148">
                        <c:v>985</c:v>
                      </c:pt>
                      <c:pt idx="149">
                        <c:v>1193</c:v>
                      </c:pt>
                      <c:pt idx="150">
                        <c:v>1214</c:v>
                      </c:pt>
                      <c:pt idx="151">
                        <c:v>0</c:v>
                      </c:pt>
                      <c:pt idx="152">
                        <c:v>1588</c:v>
                      </c:pt>
                      <c:pt idx="153">
                        <c:v>897</c:v>
                      </c:pt>
                      <c:pt idx="154">
                        <c:v>1121</c:v>
                      </c:pt>
                      <c:pt idx="155">
                        <c:v>1153</c:v>
                      </c:pt>
                      <c:pt idx="156">
                        <c:v>1222</c:v>
                      </c:pt>
                      <c:pt idx="157">
                        <c:v>1240</c:v>
                      </c:pt>
                      <c:pt idx="158">
                        <c:v>0</c:v>
                      </c:pt>
                      <c:pt idx="159">
                        <c:v>1860</c:v>
                      </c:pt>
                      <c:pt idx="160">
                        <c:v>1117</c:v>
                      </c:pt>
                      <c:pt idx="161">
                        <c:v>1327</c:v>
                      </c:pt>
                      <c:pt idx="162">
                        <c:v>1325</c:v>
                      </c:pt>
                      <c:pt idx="163">
                        <c:v>1420</c:v>
                      </c:pt>
                      <c:pt idx="164">
                        <c:v>1485</c:v>
                      </c:pt>
                      <c:pt idx="165">
                        <c:v>0</c:v>
                      </c:pt>
                      <c:pt idx="166">
                        <c:v>1907</c:v>
                      </c:pt>
                      <c:pt idx="167">
                        <c:v>776</c:v>
                      </c:pt>
                      <c:pt idx="168">
                        <c:v>1379</c:v>
                      </c:pt>
                      <c:pt idx="169">
                        <c:v>1302</c:v>
                      </c:pt>
                      <c:pt idx="170">
                        <c:v>1556</c:v>
                      </c:pt>
                      <c:pt idx="171">
                        <c:v>1338</c:v>
                      </c:pt>
                      <c:pt idx="172">
                        <c:v>0</c:v>
                      </c:pt>
                      <c:pt idx="173">
                        <c:v>1890</c:v>
                      </c:pt>
                      <c:pt idx="174">
                        <c:v>1087</c:v>
                      </c:pt>
                      <c:pt idx="175">
                        <c:v>1370</c:v>
                      </c:pt>
                      <c:pt idx="176">
                        <c:v>1400</c:v>
                      </c:pt>
                      <c:pt idx="177">
                        <c:v>1357</c:v>
                      </c:pt>
                      <c:pt idx="178">
                        <c:v>1233</c:v>
                      </c:pt>
                      <c:pt idx="179">
                        <c:v>0</c:v>
                      </c:pt>
                      <c:pt idx="180">
                        <c:v>1665</c:v>
                      </c:pt>
                      <c:pt idx="181">
                        <c:v>890</c:v>
                      </c:pt>
                      <c:pt idx="182">
                        <c:v>1156</c:v>
                      </c:pt>
                      <c:pt idx="183">
                        <c:v>1068</c:v>
                      </c:pt>
                      <c:pt idx="184">
                        <c:v>1001</c:v>
                      </c:pt>
                      <c:pt idx="185">
                        <c:v>1353</c:v>
                      </c:pt>
                      <c:pt idx="186">
                        <c:v>0</c:v>
                      </c:pt>
                      <c:pt idx="187">
                        <c:v>1947</c:v>
                      </c:pt>
                      <c:pt idx="188">
                        <c:v>1013</c:v>
                      </c:pt>
                      <c:pt idx="189">
                        <c:v>1355</c:v>
                      </c:pt>
                      <c:pt idx="190">
                        <c:v>1331</c:v>
                      </c:pt>
                      <c:pt idx="191">
                        <c:v>1225</c:v>
                      </c:pt>
                      <c:pt idx="192">
                        <c:v>1386</c:v>
                      </c:pt>
                      <c:pt idx="193">
                        <c:v>0</c:v>
                      </c:pt>
                      <c:pt idx="194">
                        <c:v>1784</c:v>
                      </c:pt>
                      <c:pt idx="195">
                        <c:v>1015</c:v>
                      </c:pt>
                      <c:pt idx="196">
                        <c:v>1542</c:v>
                      </c:pt>
                      <c:pt idx="197">
                        <c:v>1372</c:v>
                      </c:pt>
                      <c:pt idx="198">
                        <c:v>1196</c:v>
                      </c:pt>
                      <c:pt idx="199">
                        <c:v>1166</c:v>
                      </c:pt>
                      <c:pt idx="200">
                        <c:v>0</c:v>
                      </c:pt>
                      <c:pt idx="201">
                        <c:v>1561</c:v>
                      </c:pt>
                      <c:pt idx="202">
                        <c:v>847</c:v>
                      </c:pt>
                      <c:pt idx="203">
                        <c:v>1503</c:v>
                      </c:pt>
                      <c:pt idx="204">
                        <c:v>1191</c:v>
                      </c:pt>
                      <c:pt idx="205">
                        <c:v>1210</c:v>
                      </c:pt>
                      <c:pt idx="206">
                        <c:v>1262</c:v>
                      </c:pt>
                      <c:pt idx="207">
                        <c:v>0</c:v>
                      </c:pt>
                      <c:pt idx="208">
                        <c:v>1372</c:v>
                      </c:pt>
                      <c:pt idx="209">
                        <c:v>862</c:v>
                      </c:pt>
                      <c:pt idx="210">
                        <c:v>1231</c:v>
                      </c:pt>
                      <c:pt idx="211">
                        <c:v>1017</c:v>
                      </c:pt>
                      <c:pt idx="212">
                        <c:v>1296</c:v>
                      </c:pt>
                      <c:pt idx="213">
                        <c:v>1105</c:v>
                      </c:pt>
                      <c:pt idx="214">
                        <c:v>0</c:v>
                      </c:pt>
                      <c:pt idx="215">
                        <c:v>1286</c:v>
                      </c:pt>
                      <c:pt idx="216">
                        <c:v>863</c:v>
                      </c:pt>
                      <c:pt idx="217">
                        <c:v>1141</c:v>
                      </c:pt>
                      <c:pt idx="218">
                        <c:v>1106</c:v>
                      </c:pt>
                      <c:pt idx="219">
                        <c:v>1050</c:v>
                      </c:pt>
                      <c:pt idx="220">
                        <c:v>946</c:v>
                      </c:pt>
                      <c:pt idx="221">
                        <c:v>0</c:v>
                      </c:pt>
                      <c:pt idx="222">
                        <c:v>1224</c:v>
                      </c:pt>
                      <c:pt idx="223">
                        <c:v>979</c:v>
                      </c:pt>
                      <c:pt idx="224">
                        <c:v>1202</c:v>
                      </c:pt>
                      <c:pt idx="225">
                        <c:v>1171</c:v>
                      </c:pt>
                      <c:pt idx="226">
                        <c:v>1184</c:v>
                      </c:pt>
                      <c:pt idx="227">
                        <c:v>1100</c:v>
                      </c:pt>
                      <c:pt idx="228">
                        <c:v>0</c:v>
                      </c:pt>
                      <c:pt idx="229">
                        <c:v>1369</c:v>
                      </c:pt>
                      <c:pt idx="230">
                        <c:v>998</c:v>
                      </c:pt>
                      <c:pt idx="231">
                        <c:v>1422</c:v>
                      </c:pt>
                      <c:pt idx="232">
                        <c:v>1219</c:v>
                      </c:pt>
                      <c:pt idx="233">
                        <c:v>1187</c:v>
                      </c:pt>
                      <c:pt idx="234">
                        <c:v>0</c:v>
                      </c:pt>
                      <c:pt idx="235">
                        <c:v>0</c:v>
                      </c:pt>
                      <c:pt idx="236">
                        <c:v>2877</c:v>
                      </c:pt>
                      <c:pt idx="237">
                        <c:v>895</c:v>
                      </c:pt>
                      <c:pt idx="238">
                        <c:v>1330</c:v>
                      </c:pt>
                      <c:pt idx="239">
                        <c:v>1222</c:v>
                      </c:pt>
                      <c:pt idx="240">
                        <c:v>1351</c:v>
                      </c:pt>
                      <c:pt idx="241">
                        <c:v>0</c:v>
                      </c:pt>
                      <c:pt idx="242">
                        <c:v>0</c:v>
                      </c:pt>
                      <c:pt idx="243">
                        <c:v>2545</c:v>
                      </c:pt>
                      <c:pt idx="244">
                        <c:v>534</c:v>
                      </c:pt>
                      <c:pt idx="245">
                        <c:v>1168</c:v>
                      </c:pt>
                      <c:pt idx="246">
                        <c:v>1165</c:v>
                      </c:pt>
                      <c:pt idx="247">
                        <c:v>1180</c:v>
                      </c:pt>
                      <c:pt idx="248">
                        <c:v>0</c:v>
                      </c:pt>
                      <c:pt idx="249">
                        <c:v>0</c:v>
                      </c:pt>
                      <c:pt idx="250">
                        <c:v>2736</c:v>
                      </c:pt>
                      <c:pt idx="251">
                        <c:v>1009</c:v>
                      </c:pt>
                      <c:pt idx="252">
                        <c:v>1258</c:v>
                      </c:pt>
                      <c:pt idx="253">
                        <c:v>1127</c:v>
                      </c:pt>
                      <c:pt idx="254">
                        <c:v>1132</c:v>
                      </c:pt>
                      <c:pt idx="255">
                        <c:v>0</c:v>
                      </c:pt>
                      <c:pt idx="256">
                        <c:v>0</c:v>
                      </c:pt>
                      <c:pt idx="257">
                        <c:v>2222</c:v>
                      </c:pt>
                      <c:pt idx="258">
                        <c:v>927</c:v>
                      </c:pt>
                      <c:pt idx="259">
                        <c:v>1167</c:v>
                      </c:pt>
                      <c:pt idx="260">
                        <c:v>1125</c:v>
                      </c:pt>
                      <c:pt idx="261">
                        <c:v>1084</c:v>
                      </c:pt>
                      <c:pt idx="262">
                        <c:v>0</c:v>
                      </c:pt>
                      <c:pt idx="263">
                        <c:v>0</c:v>
                      </c:pt>
                      <c:pt idx="264">
                        <c:v>2421</c:v>
                      </c:pt>
                      <c:pt idx="265">
                        <c:v>911</c:v>
                      </c:pt>
                      <c:pt idx="266">
                        <c:v>1138</c:v>
                      </c:pt>
                      <c:pt idx="267">
                        <c:v>1048</c:v>
                      </c:pt>
                      <c:pt idx="268">
                        <c:v>0</c:v>
                      </c:pt>
                      <c:pt idx="269">
                        <c:v>0</c:v>
                      </c:pt>
                      <c:pt idx="270">
                        <c:v>0</c:v>
                      </c:pt>
                      <c:pt idx="271">
                        <c:v>2772</c:v>
                      </c:pt>
                      <c:pt idx="272">
                        <c:v>1037</c:v>
                      </c:pt>
                      <c:pt idx="273">
                        <c:v>1315</c:v>
                      </c:pt>
                      <c:pt idx="274">
                        <c:v>1207</c:v>
                      </c:pt>
                      <c:pt idx="275">
                        <c:v>0</c:v>
                      </c:pt>
                      <c:pt idx="276">
                        <c:v>0</c:v>
                      </c:pt>
                      <c:pt idx="277">
                        <c:v>0</c:v>
                      </c:pt>
                    </c:numCache>
                  </c:numRef>
                </c:val>
                <c:extLst xmlns:c15="http://schemas.microsoft.com/office/drawing/2012/chart">
                  <c:ext xmlns:c16="http://schemas.microsoft.com/office/drawing/2014/chart" uri="{C3380CC4-5D6E-409C-BE32-E72D297353CC}">
                    <c16:uniqueId val="{00000005-1D52-4AF4-98CA-071069331375}"/>
                  </c:ext>
                </c:extLst>
              </c15:ser>
            </c15:filteredBarSeries>
            <c15:filteredBarSeries>
              <c15:ser>
                <c:idx val="3"/>
                <c:order val="5"/>
                <c:tx>
                  <c:strRef>
                    <c:extLst xmlns:c15="http://schemas.microsoft.com/office/drawing/2012/chart">
                      <c:ext xmlns:c15="http://schemas.microsoft.com/office/drawing/2012/chart" uri="{02D57815-91ED-43cb-92C2-25804820EDAC}">
                        <c15:formulaRef>
                          <c15:sqref>Detalle!#REF!</c15:sqref>
                        </c15:formulaRef>
                      </c:ext>
                    </c:extLst>
                    <c:strCache>
                      <c:ptCount val="1"/>
                      <c:pt idx="0">
                        <c:v>#REF!</c:v>
                      </c:pt>
                    </c:strCache>
                  </c:strRef>
                </c:tx>
                <c:spPr>
                  <a:solidFill>
                    <a:schemeClr val="accent4"/>
                  </a:solidFill>
                  <a:ln>
                    <a:noFill/>
                  </a:ln>
                  <a:effectLst/>
                </c:spPr>
                <c:invertIfNegative val="0"/>
                <c:cat>
                  <c:numRef>
                    <c:extLst xmlns:c15="http://schemas.microsoft.com/office/drawing/2012/chart">
                      <c:ext xmlns:c15="http://schemas.microsoft.com/office/drawing/2012/chart" uri="{02D57815-91ED-43cb-92C2-25804820EDAC}">
                        <c15:formulaRef>
                          <c15:sqref>World!$A$94:$A$598</c15:sqref>
                        </c15:formulaRef>
                      </c:ext>
                    </c:extLst>
                    <c:numCache>
                      <c:formatCode>dd/mm/yy;@</c:formatCode>
                      <c:ptCount val="505"/>
                      <c:pt idx="0">
                        <c:v>43922</c:v>
                      </c:pt>
                      <c:pt idx="1">
                        <c:v>43923</c:v>
                      </c:pt>
                      <c:pt idx="2">
                        <c:v>43924</c:v>
                      </c:pt>
                      <c:pt idx="3">
                        <c:v>43925</c:v>
                      </c:pt>
                      <c:pt idx="4">
                        <c:v>43926</c:v>
                      </c:pt>
                      <c:pt idx="5">
                        <c:v>43927</c:v>
                      </c:pt>
                      <c:pt idx="6">
                        <c:v>43928</c:v>
                      </c:pt>
                      <c:pt idx="7">
                        <c:v>43929</c:v>
                      </c:pt>
                      <c:pt idx="8">
                        <c:v>43930</c:v>
                      </c:pt>
                      <c:pt idx="9">
                        <c:v>43931</c:v>
                      </c:pt>
                      <c:pt idx="10">
                        <c:v>43932</c:v>
                      </c:pt>
                      <c:pt idx="11">
                        <c:v>43933</c:v>
                      </c:pt>
                      <c:pt idx="12">
                        <c:v>43934</c:v>
                      </c:pt>
                      <c:pt idx="13">
                        <c:v>43935</c:v>
                      </c:pt>
                      <c:pt idx="14">
                        <c:v>43936</c:v>
                      </c:pt>
                      <c:pt idx="15">
                        <c:v>43937</c:v>
                      </c:pt>
                      <c:pt idx="16">
                        <c:v>43938</c:v>
                      </c:pt>
                      <c:pt idx="17">
                        <c:v>43939</c:v>
                      </c:pt>
                      <c:pt idx="18">
                        <c:v>43940</c:v>
                      </c:pt>
                      <c:pt idx="19">
                        <c:v>43941</c:v>
                      </c:pt>
                      <c:pt idx="20">
                        <c:v>43942</c:v>
                      </c:pt>
                      <c:pt idx="21">
                        <c:v>43943</c:v>
                      </c:pt>
                      <c:pt idx="22">
                        <c:v>43944</c:v>
                      </c:pt>
                      <c:pt idx="23">
                        <c:v>43945</c:v>
                      </c:pt>
                      <c:pt idx="24">
                        <c:v>43946</c:v>
                      </c:pt>
                      <c:pt idx="25">
                        <c:v>43947</c:v>
                      </c:pt>
                      <c:pt idx="26">
                        <c:v>43948</c:v>
                      </c:pt>
                      <c:pt idx="27">
                        <c:v>43949</c:v>
                      </c:pt>
                      <c:pt idx="28">
                        <c:v>43950</c:v>
                      </c:pt>
                      <c:pt idx="29">
                        <c:v>43951</c:v>
                      </c:pt>
                      <c:pt idx="30">
                        <c:v>43952</c:v>
                      </c:pt>
                      <c:pt idx="31">
                        <c:v>43953</c:v>
                      </c:pt>
                      <c:pt idx="32">
                        <c:v>43954</c:v>
                      </c:pt>
                      <c:pt idx="33">
                        <c:v>43955</c:v>
                      </c:pt>
                      <c:pt idx="34">
                        <c:v>43956</c:v>
                      </c:pt>
                      <c:pt idx="35">
                        <c:v>43957</c:v>
                      </c:pt>
                      <c:pt idx="36">
                        <c:v>43958</c:v>
                      </c:pt>
                      <c:pt idx="37">
                        <c:v>43959</c:v>
                      </c:pt>
                      <c:pt idx="38">
                        <c:v>43960</c:v>
                      </c:pt>
                      <c:pt idx="39">
                        <c:v>43961</c:v>
                      </c:pt>
                      <c:pt idx="40">
                        <c:v>43962</c:v>
                      </c:pt>
                      <c:pt idx="41">
                        <c:v>43963</c:v>
                      </c:pt>
                      <c:pt idx="42">
                        <c:v>43964</c:v>
                      </c:pt>
                      <c:pt idx="43">
                        <c:v>43965</c:v>
                      </c:pt>
                      <c:pt idx="44">
                        <c:v>43966</c:v>
                      </c:pt>
                      <c:pt idx="45">
                        <c:v>43967</c:v>
                      </c:pt>
                      <c:pt idx="46">
                        <c:v>43968</c:v>
                      </c:pt>
                      <c:pt idx="47">
                        <c:v>43969</c:v>
                      </c:pt>
                      <c:pt idx="48">
                        <c:v>43970</c:v>
                      </c:pt>
                      <c:pt idx="49">
                        <c:v>43971</c:v>
                      </c:pt>
                      <c:pt idx="50">
                        <c:v>43972</c:v>
                      </c:pt>
                      <c:pt idx="51">
                        <c:v>43973</c:v>
                      </c:pt>
                      <c:pt idx="52">
                        <c:v>43974</c:v>
                      </c:pt>
                      <c:pt idx="53">
                        <c:v>43975</c:v>
                      </c:pt>
                      <c:pt idx="54">
                        <c:v>43976</c:v>
                      </c:pt>
                      <c:pt idx="55">
                        <c:v>43977</c:v>
                      </c:pt>
                      <c:pt idx="56">
                        <c:v>43978</c:v>
                      </c:pt>
                      <c:pt idx="57">
                        <c:v>43979</c:v>
                      </c:pt>
                      <c:pt idx="58">
                        <c:v>43980</c:v>
                      </c:pt>
                      <c:pt idx="59">
                        <c:v>43981</c:v>
                      </c:pt>
                      <c:pt idx="60">
                        <c:v>43982</c:v>
                      </c:pt>
                      <c:pt idx="61">
                        <c:v>43983</c:v>
                      </c:pt>
                      <c:pt idx="62">
                        <c:v>43984</c:v>
                      </c:pt>
                      <c:pt idx="63">
                        <c:v>43985</c:v>
                      </c:pt>
                      <c:pt idx="64">
                        <c:v>43986</c:v>
                      </c:pt>
                      <c:pt idx="65">
                        <c:v>43987</c:v>
                      </c:pt>
                      <c:pt idx="66">
                        <c:v>43988</c:v>
                      </c:pt>
                      <c:pt idx="67">
                        <c:v>43989</c:v>
                      </c:pt>
                      <c:pt idx="68">
                        <c:v>43990</c:v>
                      </c:pt>
                      <c:pt idx="69">
                        <c:v>43991</c:v>
                      </c:pt>
                      <c:pt idx="70">
                        <c:v>43992</c:v>
                      </c:pt>
                      <c:pt idx="71">
                        <c:v>43993</c:v>
                      </c:pt>
                      <c:pt idx="72">
                        <c:v>43994</c:v>
                      </c:pt>
                      <c:pt idx="73">
                        <c:v>43995</c:v>
                      </c:pt>
                      <c:pt idx="74">
                        <c:v>43996</c:v>
                      </c:pt>
                      <c:pt idx="75">
                        <c:v>43997</c:v>
                      </c:pt>
                      <c:pt idx="76">
                        <c:v>43998</c:v>
                      </c:pt>
                      <c:pt idx="77">
                        <c:v>43999</c:v>
                      </c:pt>
                      <c:pt idx="78">
                        <c:v>44000</c:v>
                      </c:pt>
                      <c:pt idx="79">
                        <c:v>44001</c:v>
                      </c:pt>
                      <c:pt idx="80">
                        <c:v>44002</c:v>
                      </c:pt>
                      <c:pt idx="81">
                        <c:v>44003</c:v>
                      </c:pt>
                      <c:pt idx="82">
                        <c:v>44004</c:v>
                      </c:pt>
                      <c:pt idx="83">
                        <c:v>44005</c:v>
                      </c:pt>
                      <c:pt idx="84">
                        <c:v>44006</c:v>
                      </c:pt>
                      <c:pt idx="85">
                        <c:v>44007</c:v>
                      </c:pt>
                      <c:pt idx="86">
                        <c:v>44008</c:v>
                      </c:pt>
                      <c:pt idx="87">
                        <c:v>44009</c:v>
                      </c:pt>
                      <c:pt idx="88">
                        <c:v>44010</c:v>
                      </c:pt>
                      <c:pt idx="89">
                        <c:v>44011</c:v>
                      </c:pt>
                      <c:pt idx="90">
                        <c:v>44012</c:v>
                      </c:pt>
                      <c:pt idx="91">
                        <c:v>44013</c:v>
                      </c:pt>
                      <c:pt idx="92">
                        <c:v>44014</c:v>
                      </c:pt>
                      <c:pt idx="93">
                        <c:v>44015</c:v>
                      </c:pt>
                      <c:pt idx="94">
                        <c:v>44016</c:v>
                      </c:pt>
                      <c:pt idx="95">
                        <c:v>44017</c:v>
                      </c:pt>
                      <c:pt idx="96">
                        <c:v>44018</c:v>
                      </c:pt>
                      <c:pt idx="97">
                        <c:v>44019</c:v>
                      </c:pt>
                      <c:pt idx="98">
                        <c:v>44020</c:v>
                      </c:pt>
                      <c:pt idx="99">
                        <c:v>44021</c:v>
                      </c:pt>
                      <c:pt idx="100">
                        <c:v>44022</c:v>
                      </c:pt>
                      <c:pt idx="101">
                        <c:v>44023</c:v>
                      </c:pt>
                      <c:pt idx="102">
                        <c:v>44024</c:v>
                      </c:pt>
                      <c:pt idx="103">
                        <c:v>44025</c:v>
                      </c:pt>
                      <c:pt idx="104">
                        <c:v>44026</c:v>
                      </c:pt>
                      <c:pt idx="105">
                        <c:v>44027</c:v>
                      </c:pt>
                      <c:pt idx="106">
                        <c:v>44028</c:v>
                      </c:pt>
                      <c:pt idx="107">
                        <c:v>44029</c:v>
                      </c:pt>
                      <c:pt idx="108">
                        <c:v>44030</c:v>
                      </c:pt>
                      <c:pt idx="109">
                        <c:v>44031</c:v>
                      </c:pt>
                      <c:pt idx="110">
                        <c:v>44032</c:v>
                      </c:pt>
                      <c:pt idx="111">
                        <c:v>44033</c:v>
                      </c:pt>
                      <c:pt idx="112">
                        <c:v>44034</c:v>
                      </c:pt>
                      <c:pt idx="113">
                        <c:v>44035</c:v>
                      </c:pt>
                      <c:pt idx="114">
                        <c:v>44036</c:v>
                      </c:pt>
                      <c:pt idx="115">
                        <c:v>44037</c:v>
                      </c:pt>
                      <c:pt idx="116">
                        <c:v>44038</c:v>
                      </c:pt>
                      <c:pt idx="117">
                        <c:v>44039</c:v>
                      </c:pt>
                      <c:pt idx="118">
                        <c:v>44040</c:v>
                      </c:pt>
                      <c:pt idx="119">
                        <c:v>44041</c:v>
                      </c:pt>
                      <c:pt idx="120">
                        <c:v>44042</c:v>
                      </c:pt>
                      <c:pt idx="121">
                        <c:v>44043</c:v>
                      </c:pt>
                      <c:pt idx="122">
                        <c:v>44044</c:v>
                      </c:pt>
                      <c:pt idx="123">
                        <c:v>44045</c:v>
                      </c:pt>
                      <c:pt idx="124">
                        <c:v>44046</c:v>
                      </c:pt>
                      <c:pt idx="125">
                        <c:v>44047</c:v>
                      </c:pt>
                      <c:pt idx="126">
                        <c:v>44048</c:v>
                      </c:pt>
                      <c:pt idx="127">
                        <c:v>44049</c:v>
                      </c:pt>
                      <c:pt idx="128">
                        <c:v>44050</c:v>
                      </c:pt>
                      <c:pt idx="129">
                        <c:v>44051</c:v>
                      </c:pt>
                      <c:pt idx="130">
                        <c:v>44052</c:v>
                      </c:pt>
                      <c:pt idx="131">
                        <c:v>44053</c:v>
                      </c:pt>
                      <c:pt idx="132">
                        <c:v>44054</c:v>
                      </c:pt>
                      <c:pt idx="133">
                        <c:v>44055</c:v>
                      </c:pt>
                      <c:pt idx="134">
                        <c:v>44056</c:v>
                      </c:pt>
                      <c:pt idx="135">
                        <c:v>44057</c:v>
                      </c:pt>
                      <c:pt idx="136">
                        <c:v>44058</c:v>
                      </c:pt>
                      <c:pt idx="137">
                        <c:v>44059</c:v>
                      </c:pt>
                      <c:pt idx="138">
                        <c:v>44060</c:v>
                      </c:pt>
                      <c:pt idx="139">
                        <c:v>44061</c:v>
                      </c:pt>
                      <c:pt idx="140">
                        <c:v>44062</c:v>
                      </c:pt>
                      <c:pt idx="141">
                        <c:v>44063</c:v>
                      </c:pt>
                      <c:pt idx="142">
                        <c:v>44064</c:v>
                      </c:pt>
                      <c:pt idx="143">
                        <c:v>44065</c:v>
                      </c:pt>
                      <c:pt idx="144">
                        <c:v>44066</c:v>
                      </c:pt>
                      <c:pt idx="145">
                        <c:v>44067</c:v>
                      </c:pt>
                      <c:pt idx="146">
                        <c:v>44068</c:v>
                      </c:pt>
                      <c:pt idx="147">
                        <c:v>44069</c:v>
                      </c:pt>
                      <c:pt idx="148">
                        <c:v>44070</c:v>
                      </c:pt>
                      <c:pt idx="149">
                        <c:v>44071</c:v>
                      </c:pt>
                      <c:pt idx="150">
                        <c:v>44072</c:v>
                      </c:pt>
                      <c:pt idx="151">
                        <c:v>44073</c:v>
                      </c:pt>
                      <c:pt idx="152">
                        <c:v>44074</c:v>
                      </c:pt>
                      <c:pt idx="153">
                        <c:v>44075</c:v>
                      </c:pt>
                      <c:pt idx="154">
                        <c:v>44076</c:v>
                      </c:pt>
                      <c:pt idx="155">
                        <c:v>44077</c:v>
                      </c:pt>
                      <c:pt idx="156">
                        <c:v>44078</c:v>
                      </c:pt>
                      <c:pt idx="157">
                        <c:v>44079</c:v>
                      </c:pt>
                      <c:pt idx="158">
                        <c:v>44080</c:v>
                      </c:pt>
                      <c:pt idx="159">
                        <c:v>44081</c:v>
                      </c:pt>
                      <c:pt idx="160">
                        <c:v>44082</c:v>
                      </c:pt>
                      <c:pt idx="161">
                        <c:v>44083</c:v>
                      </c:pt>
                      <c:pt idx="162">
                        <c:v>44084</c:v>
                      </c:pt>
                      <c:pt idx="163">
                        <c:v>44085</c:v>
                      </c:pt>
                      <c:pt idx="164">
                        <c:v>44086</c:v>
                      </c:pt>
                      <c:pt idx="165">
                        <c:v>44087</c:v>
                      </c:pt>
                      <c:pt idx="166">
                        <c:v>44088</c:v>
                      </c:pt>
                      <c:pt idx="167">
                        <c:v>44089</c:v>
                      </c:pt>
                      <c:pt idx="168">
                        <c:v>44090</c:v>
                      </c:pt>
                      <c:pt idx="169">
                        <c:v>44091</c:v>
                      </c:pt>
                      <c:pt idx="170">
                        <c:v>44092</c:v>
                      </c:pt>
                      <c:pt idx="171">
                        <c:v>44093</c:v>
                      </c:pt>
                      <c:pt idx="172">
                        <c:v>44094</c:v>
                      </c:pt>
                      <c:pt idx="173">
                        <c:v>44095</c:v>
                      </c:pt>
                      <c:pt idx="174">
                        <c:v>44096</c:v>
                      </c:pt>
                      <c:pt idx="175">
                        <c:v>44097</c:v>
                      </c:pt>
                      <c:pt idx="176">
                        <c:v>44098</c:v>
                      </c:pt>
                      <c:pt idx="177">
                        <c:v>44099</c:v>
                      </c:pt>
                      <c:pt idx="178">
                        <c:v>44100</c:v>
                      </c:pt>
                      <c:pt idx="179">
                        <c:v>44101</c:v>
                      </c:pt>
                      <c:pt idx="180">
                        <c:v>44102</c:v>
                      </c:pt>
                      <c:pt idx="181">
                        <c:v>44103</c:v>
                      </c:pt>
                      <c:pt idx="182">
                        <c:v>44104</c:v>
                      </c:pt>
                      <c:pt idx="183">
                        <c:v>44105</c:v>
                      </c:pt>
                      <c:pt idx="184">
                        <c:v>44106</c:v>
                      </c:pt>
                      <c:pt idx="185">
                        <c:v>44107</c:v>
                      </c:pt>
                      <c:pt idx="186">
                        <c:v>44108</c:v>
                      </c:pt>
                      <c:pt idx="187">
                        <c:v>44109</c:v>
                      </c:pt>
                      <c:pt idx="188">
                        <c:v>44110</c:v>
                      </c:pt>
                      <c:pt idx="189">
                        <c:v>44111</c:v>
                      </c:pt>
                      <c:pt idx="190">
                        <c:v>44112</c:v>
                      </c:pt>
                      <c:pt idx="191">
                        <c:v>44113</c:v>
                      </c:pt>
                      <c:pt idx="192">
                        <c:v>44114</c:v>
                      </c:pt>
                      <c:pt idx="193">
                        <c:v>44115</c:v>
                      </c:pt>
                      <c:pt idx="194">
                        <c:v>44116</c:v>
                      </c:pt>
                      <c:pt idx="195">
                        <c:v>44117</c:v>
                      </c:pt>
                      <c:pt idx="196">
                        <c:v>44118</c:v>
                      </c:pt>
                      <c:pt idx="197">
                        <c:v>44119</c:v>
                      </c:pt>
                      <c:pt idx="198">
                        <c:v>44120</c:v>
                      </c:pt>
                      <c:pt idx="199">
                        <c:v>44121</c:v>
                      </c:pt>
                      <c:pt idx="200">
                        <c:v>44122</c:v>
                      </c:pt>
                      <c:pt idx="201">
                        <c:v>44123</c:v>
                      </c:pt>
                      <c:pt idx="202">
                        <c:v>44124</c:v>
                      </c:pt>
                      <c:pt idx="203">
                        <c:v>44125</c:v>
                      </c:pt>
                      <c:pt idx="204">
                        <c:v>44126</c:v>
                      </c:pt>
                      <c:pt idx="205">
                        <c:v>44127</c:v>
                      </c:pt>
                      <c:pt idx="206">
                        <c:v>44128</c:v>
                      </c:pt>
                      <c:pt idx="207">
                        <c:v>44129</c:v>
                      </c:pt>
                      <c:pt idx="208">
                        <c:v>44130</c:v>
                      </c:pt>
                      <c:pt idx="209">
                        <c:v>44131</c:v>
                      </c:pt>
                      <c:pt idx="210">
                        <c:v>44132</c:v>
                      </c:pt>
                      <c:pt idx="211">
                        <c:v>44133</c:v>
                      </c:pt>
                      <c:pt idx="212">
                        <c:v>44134</c:v>
                      </c:pt>
                      <c:pt idx="213">
                        <c:v>44135</c:v>
                      </c:pt>
                      <c:pt idx="214">
                        <c:v>44136</c:v>
                      </c:pt>
                      <c:pt idx="215">
                        <c:v>44137</c:v>
                      </c:pt>
                      <c:pt idx="216">
                        <c:v>44138</c:v>
                      </c:pt>
                      <c:pt idx="217">
                        <c:v>44139</c:v>
                      </c:pt>
                      <c:pt idx="218">
                        <c:v>44140</c:v>
                      </c:pt>
                      <c:pt idx="219">
                        <c:v>44141</c:v>
                      </c:pt>
                      <c:pt idx="220">
                        <c:v>44142</c:v>
                      </c:pt>
                      <c:pt idx="221">
                        <c:v>44143</c:v>
                      </c:pt>
                      <c:pt idx="222">
                        <c:v>44144</c:v>
                      </c:pt>
                      <c:pt idx="223">
                        <c:v>44145</c:v>
                      </c:pt>
                      <c:pt idx="224">
                        <c:v>44146</c:v>
                      </c:pt>
                      <c:pt idx="225">
                        <c:v>44147</c:v>
                      </c:pt>
                      <c:pt idx="226">
                        <c:v>44148</c:v>
                      </c:pt>
                      <c:pt idx="227">
                        <c:v>44149</c:v>
                      </c:pt>
                      <c:pt idx="228">
                        <c:v>44150</c:v>
                      </c:pt>
                      <c:pt idx="229">
                        <c:v>44151</c:v>
                      </c:pt>
                      <c:pt idx="230">
                        <c:v>44152</c:v>
                      </c:pt>
                      <c:pt idx="231">
                        <c:v>44153</c:v>
                      </c:pt>
                      <c:pt idx="232">
                        <c:v>44154</c:v>
                      </c:pt>
                      <c:pt idx="233">
                        <c:v>44155</c:v>
                      </c:pt>
                      <c:pt idx="234">
                        <c:v>44156</c:v>
                      </c:pt>
                      <c:pt idx="235">
                        <c:v>44157</c:v>
                      </c:pt>
                      <c:pt idx="236">
                        <c:v>44158</c:v>
                      </c:pt>
                      <c:pt idx="237">
                        <c:v>44159</c:v>
                      </c:pt>
                      <c:pt idx="238">
                        <c:v>44160</c:v>
                      </c:pt>
                      <c:pt idx="239">
                        <c:v>44161</c:v>
                      </c:pt>
                      <c:pt idx="240">
                        <c:v>44162</c:v>
                      </c:pt>
                      <c:pt idx="241">
                        <c:v>44163</c:v>
                      </c:pt>
                      <c:pt idx="242">
                        <c:v>44164</c:v>
                      </c:pt>
                      <c:pt idx="243">
                        <c:v>44165</c:v>
                      </c:pt>
                      <c:pt idx="244">
                        <c:v>44166</c:v>
                      </c:pt>
                      <c:pt idx="245">
                        <c:v>44167</c:v>
                      </c:pt>
                      <c:pt idx="246">
                        <c:v>44168</c:v>
                      </c:pt>
                      <c:pt idx="247">
                        <c:v>44169</c:v>
                      </c:pt>
                      <c:pt idx="248">
                        <c:v>44170</c:v>
                      </c:pt>
                      <c:pt idx="249">
                        <c:v>44171</c:v>
                      </c:pt>
                      <c:pt idx="250">
                        <c:v>44172</c:v>
                      </c:pt>
                      <c:pt idx="251">
                        <c:v>44173</c:v>
                      </c:pt>
                      <c:pt idx="252">
                        <c:v>44174</c:v>
                      </c:pt>
                      <c:pt idx="253">
                        <c:v>44175</c:v>
                      </c:pt>
                      <c:pt idx="254">
                        <c:v>44176</c:v>
                      </c:pt>
                      <c:pt idx="255">
                        <c:v>44177</c:v>
                      </c:pt>
                      <c:pt idx="256">
                        <c:v>44178</c:v>
                      </c:pt>
                      <c:pt idx="257">
                        <c:v>44179</c:v>
                      </c:pt>
                      <c:pt idx="258">
                        <c:v>44180</c:v>
                      </c:pt>
                      <c:pt idx="259">
                        <c:v>44181</c:v>
                      </c:pt>
                      <c:pt idx="260">
                        <c:v>44182</c:v>
                      </c:pt>
                      <c:pt idx="261">
                        <c:v>44183</c:v>
                      </c:pt>
                      <c:pt idx="262">
                        <c:v>44184</c:v>
                      </c:pt>
                      <c:pt idx="263">
                        <c:v>44185</c:v>
                      </c:pt>
                      <c:pt idx="264">
                        <c:v>44186</c:v>
                      </c:pt>
                      <c:pt idx="265">
                        <c:v>44187</c:v>
                      </c:pt>
                      <c:pt idx="266">
                        <c:v>44188</c:v>
                      </c:pt>
                      <c:pt idx="267">
                        <c:v>44189</c:v>
                      </c:pt>
                      <c:pt idx="268">
                        <c:v>44190</c:v>
                      </c:pt>
                      <c:pt idx="269">
                        <c:v>44191</c:v>
                      </c:pt>
                      <c:pt idx="270">
                        <c:v>44192</c:v>
                      </c:pt>
                      <c:pt idx="271">
                        <c:v>44193</c:v>
                      </c:pt>
                      <c:pt idx="272">
                        <c:v>44194</c:v>
                      </c:pt>
                      <c:pt idx="273">
                        <c:v>44195</c:v>
                      </c:pt>
                      <c:pt idx="274">
                        <c:v>44196</c:v>
                      </c:pt>
                      <c:pt idx="275">
                        <c:v>44197</c:v>
                      </c:pt>
                      <c:pt idx="276">
                        <c:v>44198</c:v>
                      </c:pt>
                      <c:pt idx="277">
                        <c:v>44199</c:v>
                      </c:pt>
                      <c:pt idx="278">
                        <c:v>44200</c:v>
                      </c:pt>
                      <c:pt idx="279">
                        <c:v>44201</c:v>
                      </c:pt>
                      <c:pt idx="280">
                        <c:v>44202</c:v>
                      </c:pt>
                      <c:pt idx="281">
                        <c:v>44203</c:v>
                      </c:pt>
                      <c:pt idx="282">
                        <c:v>44204</c:v>
                      </c:pt>
                      <c:pt idx="283">
                        <c:v>44205</c:v>
                      </c:pt>
                      <c:pt idx="284">
                        <c:v>44206</c:v>
                      </c:pt>
                      <c:pt idx="285">
                        <c:v>44207</c:v>
                      </c:pt>
                      <c:pt idx="286">
                        <c:v>44208</c:v>
                      </c:pt>
                      <c:pt idx="287">
                        <c:v>44209</c:v>
                      </c:pt>
                      <c:pt idx="288">
                        <c:v>44210</c:v>
                      </c:pt>
                      <c:pt idx="289">
                        <c:v>44211</c:v>
                      </c:pt>
                      <c:pt idx="290">
                        <c:v>44212</c:v>
                      </c:pt>
                      <c:pt idx="291">
                        <c:v>44213</c:v>
                      </c:pt>
                      <c:pt idx="292">
                        <c:v>44214</c:v>
                      </c:pt>
                      <c:pt idx="293">
                        <c:v>44215</c:v>
                      </c:pt>
                      <c:pt idx="294">
                        <c:v>44216</c:v>
                      </c:pt>
                      <c:pt idx="295">
                        <c:v>44217</c:v>
                      </c:pt>
                      <c:pt idx="296">
                        <c:v>44218</c:v>
                      </c:pt>
                      <c:pt idx="297">
                        <c:v>44219</c:v>
                      </c:pt>
                      <c:pt idx="298">
                        <c:v>44220</c:v>
                      </c:pt>
                      <c:pt idx="299">
                        <c:v>44221</c:v>
                      </c:pt>
                      <c:pt idx="300">
                        <c:v>44222</c:v>
                      </c:pt>
                      <c:pt idx="301">
                        <c:v>44223</c:v>
                      </c:pt>
                      <c:pt idx="302">
                        <c:v>44224</c:v>
                      </c:pt>
                      <c:pt idx="303">
                        <c:v>44225</c:v>
                      </c:pt>
                      <c:pt idx="304">
                        <c:v>44226</c:v>
                      </c:pt>
                      <c:pt idx="305">
                        <c:v>44227</c:v>
                      </c:pt>
                      <c:pt idx="306">
                        <c:v>44228</c:v>
                      </c:pt>
                      <c:pt idx="307">
                        <c:v>44229</c:v>
                      </c:pt>
                      <c:pt idx="308">
                        <c:v>44230</c:v>
                      </c:pt>
                      <c:pt idx="309">
                        <c:v>44231</c:v>
                      </c:pt>
                      <c:pt idx="310">
                        <c:v>44232</c:v>
                      </c:pt>
                      <c:pt idx="311">
                        <c:v>44233</c:v>
                      </c:pt>
                      <c:pt idx="312">
                        <c:v>44234</c:v>
                      </c:pt>
                      <c:pt idx="313">
                        <c:v>44235</c:v>
                      </c:pt>
                      <c:pt idx="314">
                        <c:v>44236</c:v>
                      </c:pt>
                      <c:pt idx="315">
                        <c:v>44237</c:v>
                      </c:pt>
                      <c:pt idx="316">
                        <c:v>44238</c:v>
                      </c:pt>
                      <c:pt idx="317">
                        <c:v>44239</c:v>
                      </c:pt>
                      <c:pt idx="318">
                        <c:v>44240</c:v>
                      </c:pt>
                      <c:pt idx="319">
                        <c:v>44241</c:v>
                      </c:pt>
                      <c:pt idx="320">
                        <c:v>44242</c:v>
                      </c:pt>
                      <c:pt idx="321">
                        <c:v>44243</c:v>
                      </c:pt>
                      <c:pt idx="322">
                        <c:v>44244</c:v>
                      </c:pt>
                      <c:pt idx="323">
                        <c:v>44245</c:v>
                      </c:pt>
                      <c:pt idx="324">
                        <c:v>44246</c:v>
                      </c:pt>
                      <c:pt idx="325">
                        <c:v>44247</c:v>
                      </c:pt>
                      <c:pt idx="326">
                        <c:v>44248</c:v>
                      </c:pt>
                      <c:pt idx="327">
                        <c:v>44249</c:v>
                      </c:pt>
                      <c:pt idx="328">
                        <c:v>44250</c:v>
                      </c:pt>
                      <c:pt idx="329">
                        <c:v>44251</c:v>
                      </c:pt>
                      <c:pt idx="330">
                        <c:v>44252</c:v>
                      </c:pt>
                      <c:pt idx="331">
                        <c:v>44253</c:v>
                      </c:pt>
                      <c:pt idx="332">
                        <c:v>44254</c:v>
                      </c:pt>
                      <c:pt idx="333">
                        <c:v>44255</c:v>
                      </c:pt>
                      <c:pt idx="334">
                        <c:v>44256</c:v>
                      </c:pt>
                      <c:pt idx="335">
                        <c:v>44257</c:v>
                      </c:pt>
                      <c:pt idx="336">
                        <c:v>44258</c:v>
                      </c:pt>
                      <c:pt idx="337">
                        <c:v>44259</c:v>
                      </c:pt>
                      <c:pt idx="338">
                        <c:v>44260</c:v>
                      </c:pt>
                      <c:pt idx="339">
                        <c:v>44261</c:v>
                      </c:pt>
                      <c:pt idx="340">
                        <c:v>44262</c:v>
                      </c:pt>
                      <c:pt idx="341">
                        <c:v>44263</c:v>
                      </c:pt>
                      <c:pt idx="342">
                        <c:v>44264</c:v>
                      </c:pt>
                      <c:pt idx="343">
                        <c:v>44265</c:v>
                      </c:pt>
                      <c:pt idx="344">
                        <c:v>44266</c:v>
                      </c:pt>
                      <c:pt idx="345">
                        <c:v>44267</c:v>
                      </c:pt>
                      <c:pt idx="346">
                        <c:v>44268</c:v>
                      </c:pt>
                      <c:pt idx="347">
                        <c:v>44269</c:v>
                      </c:pt>
                      <c:pt idx="348">
                        <c:v>44270</c:v>
                      </c:pt>
                      <c:pt idx="349">
                        <c:v>44271</c:v>
                      </c:pt>
                      <c:pt idx="350">
                        <c:v>44272</c:v>
                      </c:pt>
                      <c:pt idx="351">
                        <c:v>44273</c:v>
                      </c:pt>
                      <c:pt idx="352">
                        <c:v>44274</c:v>
                      </c:pt>
                      <c:pt idx="353">
                        <c:v>44275</c:v>
                      </c:pt>
                      <c:pt idx="354">
                        <c:v>44276</c:v>
                      </c:pt>
                      <c:pt idx="355">
                        <c:v>44277</c:v>
                      </c:pt>
                      <c:pt idx="356">
                        <c:v>44278</c:v>
                      </c:pt>
                      <c:pt idx="357">
                        <c:v>44279</c:v>
                      </c:pt>
                      <c:pt idx="358">
                        <c:v>44280</c:v>
                      </c:pt>
                      <c:pt idx="359">
                        <c:v>44281</c:v>
                      </c:pt>
                      <c:pt idx="360">
                        <c:v>44282</c:v>
                      </c:pt>
                      <c:pt idx="361">
                        <c:v>44283</c:v>
                      </c:pt>
                      <c:pt idx="362">
                        <c:v>44284</c:v>
                      </c:pt>
                      <c:pt idx="363">
                        <c:v>44285</c:v>
                      </c:pt>
                      <c:pt idx="364">
                        <c:v>44286</c:v>
                      </c:pt>
                      <c:pt idx="365">
                        <c:v>44287</c:v>
                      </c:pt>
                      <c:pt idx="366">
                        <c:v>44288</c:v>
                      </c:pt>
                      <c:pt idx="367">
                        <c:v>44289</c:v>
                      </c:pt>
                      <c:pt idx="368">
                        <c:v>44290</c:v>
                      </c:pt>
                      <c:pt idx="369">
                        <c:v>44291</c:v>
                      </c:pt>
                      <c:pt idx="370">
                        <c:v>44292</c:v>
                      </c:pt>
                      <c:pt idx="371">
                        <c:v>44293</c:v>
                      </c:pt>
                      <c:pt idx="372">
                        <c:v>44294</c:v>
                      </c:pt>
                      <c:pt idx="373">
                        <c:v>44295</c:v>
                      </c:pt>
                      <c:pt idx="374">
                        <c:v>44296</c:v>
                      </c:pt>
                      <c:pt idx="375">
                        <c:v>44297</c:v>
                      </c:pt>
                      <c:pt idx="376">
                        <c:v>44298</c:v>
                      </c:pt>
                      <c:pt idx="377">
                        <c:v>44299</c:v>
                      </c:pt>
                      <c:pt idx="378">
                        <c:v>44300</c:v>
                      </c:pt>
                      <c:pt idx="379">
                        <c:v>44301</c:v>
                      </c:pt>
                      <c:pt idx="380">
                        <c:v>44302</c:v>
                      </c:pt>
                      <c:pt idx="381">
                        <c:v>44303</c:v>
                      </c:pt>
                      <c:pt idx="382">
                        <c:v>44304</c:v>
                      </c:pt>
                      <c:pt idx="383">
                        <c:v>44305</c:v>
                      </c:pt>
                      <c:pt idx="384">
                        <c:v>44306</c:v>
                      </c:pt>
                      <c:pt idx="385">
                        <c:v>44307</c:v>
                      </c:pt>
                      <c:pt idx="386">
                        <c:v>44308</c:v>
                      </c:pt>
                      <c:pt idx="387">
                        <c:v>44309</c:v>
                      </c:pt>
                      <c:pt idx="388">
                        <c:v>44310</c:v>
                      </c:pt>
                      <c:pt idx="389">
                        <c:v>44311</c:v>
                      </c:pt>
                      <c:pt idx="390">
                        <c:v>44312</c:v>
                      </c:pt>
                      <c:pt idx="391">
                        <c:v>44313</c:v>
                      </c:pt>
                      <c:pt idx="392">
                        <c:v>44314</c:v>
                      </c:pt>
                      <c:pt idx="393">
                        <c:v>44315</c:v>
                      </c:pt>
                      <c:pt idx="394">
                        <c:v>44316</c:v>
                      </c:pt>
                      <c:pt idx="395">
                        <c:v>44317</c:v>
                      </c:pt>
                      <c:pt idx="396">
                        <c:v>44318</c:v>
                      </c:pt>
                      <c:pt idx="397">
                        <c:v>44319</c:v>
                      </c:pt>
                      <c:pt idx="398">
                        <c:v>44320</c:v>
                      </c:pt>
                      <c:pt idx="399">
                        <c:v>44321</c:v>
                      </c:pt>
                      <c:pt idx="400">
                        <c:v>44322</c:v>
                      </c:pt>
                      <c:pt idx="401">
                        <c:v>44323</c:v>
                      </c:pt>
                      <c:pt idx="402">
                        <c:v>44324</c:v>
                      </c:pt>
                      <c:pt idx="403">
                        <c:v>44325</c:v>
                      </c:pt>
                      <c:pt idx="404">
                        <c:v>44326</c:v>
                      </c:pt>
                      <c:pt idx="405">
                        <c:v>44327</c:v>
                      </c:pt>
                      <c:pt idx="406">
                        <c:v>44328</c:v>
                      </c:pt>
                      <c:pt idx="407">
                        <c:v>44329</c:v>
                      </c:pt>
                      <c:pt idx="408">
                        <c:v>44330</c:v>
                      </c:pt>
                      <c:pt idx="409">
                        <c:v>44331</c:v>
                      </c:pt>
                      <c:pt idx="410">
                        <c:v>44332</c:v>
                      </c:pt>
                      <c:pt idx="411">
                        <c:v>44333</c:v>
                      </c:pt>
                      <c:pt idx="412">
                        <c:v>44334</c:v>
                      </c:pt>
                      <c:pt idx="413">
                        <c:v>44335</c:v>
                      </c:pt>
                      <c:pt idx="414">
                        <c:v>44336</c:v>
                      </c:pt>
                      <c:pt idx="415">
                        <c:v>44337</c:v>
                      </c:pt>
                      <c:pt idx="416">
                        <c:v>44338</c:v>
                      </c:pt>
                      <c:pt idx="417">
                        <c:v>44339</c:v>
                      </c:pt>
                      <c:pt idx="418">
                        <c:v>44340</c:v>
                      </c:pt>
                      <c:pt idx="419">
                        <c:v>44341</c:v>
                      </c:pt>
                      <c:pt idx="420">
                        <c:v>44342</c:v>
                      </c:pt>
                      <c:pt idx="421">
                        <c:v>44343</c:v>
                      </c:pt>
                      <c:pt idx="422">
                        <c:v>44344</c:v>
                      </c:pt>
                      <c:pt idx="423">
                        <c:v>44345</c:v>
                      </c:pt>
                      <c:pt idx="424">
                        <c:v>44346</c:v>
                      </c:pt>
                      <c:pt idx="425">
                        <c:v>44347</c:v>
                      </c:pt>
                      <c:pt idx="426">
                        <c:v>44348</c:v>
                      </c:pt>
                      <c:pt idx="427">
                        <c:v>44349</c:v>
                      </c:pt>
                      <c:pt idx="428">
                        <c:v>44350</c:v>
                      </c:pt>
                      <c:pt idx="429">
                        <c:v>44351</c:v>
                      </c:pt>
                      <c:pt idx="430">
                        <c:v>44352</c:v>
                      </c:pt>
                      <c:pt idx="431">
                        <c:v>44353</c:v>
                      </c:pt>
                      <c:pt idx="432">
                        <c:v>44354</c:v>
                      </c:pt>
                      <c:pt idx="433">
                        <c:v>44355</c:v>
                      </c:pt>
                      <c:pt idx="434">
                        <c:v>44356</c:v>
                      </c:pt>
                      <c:pt idx="435">
                        <c:v>44357</c:v>
                      </c:pt>
                      <c:pt idx="436">
                        <c:v>44358</c:v>
                      </c:pt>
                      <c:pt idx="437">
                        <c:v>44359</c:v>
                      </c:pt>
                      <c:pt idx="438">
                        <c:v>44360</c:v>
                      </c:pt>
                      <c:pt idx="439">
                        <c:v>44361</c:v>
                      </c:pt>
                      <c:pt idx="440">
                        <c:v>44362</c:v>
                      </c:pt>
                      <c:pt idx="441">
                        <c:v>44363</c:v>
                      </c:pt>
                      <c:pt idx="442">
                        <c:v>44364</c:v>
                      </c:pt>
                      <c:pt idx="443">
                        <c:v>44365</c:v>
                      </c:pt>
                      <c:pt idx="444">
                        <c:v>44366</c:v>
                      </c:pt>
                      <c:pt idx="445">
                        <c:v>44367</c:v>
                      </c:pt>
                      <c:pt idx="446">
                        <c:v>44368</c:v>
                      </c:pt>
                      <c:pt idx="447">
                        <c:v>44369</c:v>
                      </c:pt>
                      <c:pt idx="448">
                        <c:v>44370</c:v>
                      </c:pt>
                      <c:pt idx="449">
                        <c:v>44371</c:v>
                      </c:pt>
                      <c:pt idx="450">
                        <c:v>44372</c:v>
                      </c:pt>
                      <c:pt idx="451">
                        <c:v>44373</c:v>
                      </c:pt>
                      <c:pt idx="452">
                        <c:v>44374</c:v>
                      </c:pt>
                      <c:pt idx="453">
                        <c:v>44375</c:v>
                      </c:pt>
                      <c:pt idx="454">
                        <c:v>44376</c:v>
                      </c:pt>
                      <c:pt idx="455">
                        <c:v>44377</c:v>
                      </c:pt>
                      <c:pt idx="456">
                        <c:v>44378</c:v>
                      </c:pt>
                      <c:pt idx="457">
                        <c:v>44379</c:v>
                      </c:pt>
                      <c:pt idx="458">
                        <c:v>44380</c:v>
                      </c:pt>
                      <c:pt idx="459">
                        <c:v>44381</c:v>
                      </c:pt>
                      <c:pt idx="460">
                        <c:v>44382</c:v>
                      </c:pt>
                      <c:pt idx="461">
                        <c:v>44383</c:v>
                      </c:pt>
                      <c:pt idx="462">
                        <c:v>44384</c:v>
                      </c:pt>
                      <c:pt idx="463">
                        <c:v>44385</c:v>
                      </c:pt>
                      <c:pt idx="464">
                        <c:v>44386</c:v>
                      </c:pt>
                      <c:pt idx="465">
                        <c:v>44387</c:v>
                      </c:pt>
                      <c:pt idx="466">
                        <c:v>44388</c:v>
                      </c:pt>
                      <c:pt idx="467">
                        <c:v>44389</c:v>
                      </c:pt>
                      <c:pt idx="468">
                        <c:v>44390</c:v>
                      </c:pt>
                      <c:pt idx="469">
                        <c:v>44391</c:v>
                      </c:pt>
                      <c:pt idx="470">
                        <c:v>44392</c:v>
                      </c:pt>
                      <c:pt idx="471">
                        <c:v>44393</c:v>
                      </c:pt>
                      <c:pt idx="472">
                        <c:v>44394</c:v>
                      </c:pt>
                      <c:pt idx="473">
                        <c:v>44395</c:v>
                      </c:pt>
                      <c:pt idx="474">
                        <c:v>44396</c:v>
                      </c:pt>
                      <c:pt idx="475">
                        <c:v>44397</c:v>
                      </c:pt>
                      <c:pt idx="476">
                        <c:v>44398</c:v>
                      </c:pt>
                      <c:pt idx="477">
                        <c:v>44399</c:v>
                      </c:pt>
                      <c:pt idx="478">
                        <c:v>44400</c:v>
                      </c:pt>
                      <c:pt idx="479">
                        <c:v>44401</c:v>
                      </c:pt>
                      <c:pt idx="480">
                        <c:v>44402</c:v>
                      </c:pt>
                      <c:pt idx="481">
                        <c:v>44403</c:v>
                      </c:pt>
                      <c:pt idx="482">
                        <c:v>44404</c:v>
                      </c:pt>
                      <c:pt idx="483">
                        <c:v>44405</c:v>
                      </c:pt>
                      <c:pt idx="484">
                        <c:v>44406</c:v>
                      </c:pt>
                      <c:pt idx="485">
                        <c:v>44407</c:v>
                      </c:pt>
                      <c:pt idx="486">
                        <c:v>44408</c:v>
                      </c:pt>
                      <c:pt idx="487">
                        <c:v>44409</c:v>
                      </c:pt>
                      <c:pt idx="488">
                        <c:v>44410</c:v>
                      </c:pt>
                      <c:pt idx="489">
                        <c:v>44411</c:v>
                      </c:pt>
                      <c:pt idx="490">
                        <c:v>44412</c:v>
                      </c:pt>
                      <c:pt idx="491">
                        <c:v>44413</c:v>
                      </c:pt>
                      <c:pt idx="492">
                        <c:v>44414</c:v>
                      </c:pt>
                      <c:pt idx="493">
                        <c:v>44415</c:v>
                      </c:pt>
                      <c:pt idx="494">
                        <c:v>44416</c:v>
                      </c:pt>
                      <c:pt idx="495">
                        <c:v>44417</c:v>
                      </c:pt>
                      <c:pt idx="496">
                        <c:v>44418</c:v>
                      </c:pt>
                      <c:pt idx="497">
                        <c:v>44419</c:v>
                      </c:pt>
                      <c:pt idx="498">
                        <c:v>44420</c:v>
                      </c:pt>
                      <c:pt idx="499">
                        <c:v>44421</c:v>
                      </c:pt>
                      <c:pt idx="500">
                        <c:v>44422</c:v>
                      </c:pt>
                      <c:pt idx="501">
                        <c:v>44423</c:v>
                      </c:pt>
                      <c:pt idx="502">
                        <c:v>44424</c:v>
                      </c:pt>
                      <c:pt idx="503">
                        <c:v>44425</c:v>
                      </c:pt>
                      <c:pt idx="504">
                        <c:v>44426</c:v>
                      </c:pt>
                    </c:numCache>
                  </c:numRef>
                </c:cat>
                <c:val>
                  <c:numRef>
                    <c:extLst xmlns:c15="http://schemas.microsoft.com/office/drawing/2012/chart">
                      <c:ext xmlns:c15="http://schemas.microsoft.com/office/drawing/2012/chart" uri="{02D57815-91ED-43cb-92C2-25804820EDAC}">
                        <c15:formulaRef>
                          <c15:sqref>'Rep Dom'!$D$94:$D$371</c15:sqref>
                        </c15:formulaRef>
                      </c:ext>
                    </c:extLst>
                    <c:numCache>
                      <c:formatCode>General</c:formatCode>
                      <c:ptCount val="278"/>
                      <c:pt idx="0">
                        <c:v>175</c:v>
                      </c:pt>
                      <c:pt idx="1">
                        <c:v>96</c:v>
                      </c:pt>
                      <c:pt idx="2">
                        <c:v>108</c:v>
                      </c:pt>
                      <c:pt idx="3">
                        <c:v>0</c:v>
                      </c:pt>
                      <c:pt idx="4">
                        <c:v>257</c:v>
                      </c:pt>
                      <c:pt idx="5">
                        <c:v>83</c:v>
                      </c:pt>
                      <c:pt idx="6">
                        <c:v>128</c:v>
                      </c:pt>
                      <c:pt idx="7">
                        <c:v>155</c:v>
                      </c:pt>
                      <c:pt idx="8">
                        <c:v>238</c:v>
                      </c:pt>
                      <c:pt idx="9">
                        <c:v>271</c:v>
                      </c:pt>
                      <c:pt idx="10">
                        <c:v>139</c:v>
                      </c:pt>
                      <c:pt idx="11">
                        <c:v>208</c:v>
                      </c:pt>
                      <c:pt idx="12">
                        <c:v>200</c:v>
                      </c:pt>
                      <c:pt idx="13">
                        <c:v>119</c:v>
                      </c:pt>
                      <c:pt idx="14">
                        <c:v>328</c:v>
                      </c:pt>
                      <c:pt idx="15">
                        <c:v>141</c:v>
                      </c:pt>
                      <c:pt idx="16">
                        <c:v>371</c:v>
                      </c:pt>
                      <c:pt idx="17">
                        <c:v>209</c:v>
                      </c:pt>
                      <c:pt idx="18">
                        <c:v>345</c:v>
                      </c:pt>
                      <c:pt idx="19">
                        <c:v>284</c:v>
                      </c:pt>
                      <c:pt idx="20">
                        <c:v>80</c:v>
                      </c:pt>
                      <c:pt idx="21">
                        <c:v>256</c:v>
                      </c:pt>
                      <c:pt idx="22">
                        <c:v>243</c:v>
                      </c:pt>
                      <c:pt idx="23">
                        <c:v>206</c:v>
                      </c:pt>
                      <c:pt idx="24">
                        <c:v>177</c:v>
                      </c:pt>
                      <c:pt idx="25">
                        <c:v>209</c:v>
                      </c:pt>
                      <c:pt idx="26">
                        <c:v>158</c:v>
                      </c:pt>
                      <c:pt idx="27">
                        <c:v>123</c:v>
                      </c:pt>
                      <c:pt idx="28">
                        <c:v>236</c:v>
                      </c:pt>
                      <c:pt idx="29">
                        <c:v>320</c:v>
                      </c:pt>
                      <c:pt idx="30">
                        <c:v>316</c:v>
                      </c:pt>
                      <c:pt idx="31">
                        <c:v>290</c:v>
                      </c:pt>
                      <c:pt idx="32">
                        <c:v>376</c:v>
                      </c:pt>
                      <c:pt idx="33">
                        <c:v>281</c:v>
                      </c:pt>
                      <c:pt idx="34">
                        <c:v>245</c:v>
                      </c:pt>
                      <c:pt idx="35">
                        <c:v>327</c:v>
                      </c:pt>
                      <c:pt idx="36">
                        <c:v>288</c:v>
                      </c:pt>
                      <c:pt idx="37">
                        <c:v>281</c:v>
                      </c:pt>
                      <c:pt idx="38">
                        <c:v>506</c:v>
                      </c:pt>
                      <c:pt idx="39">
                        <c:v>465</c:v>
                      </c:pt>
                      <c:pt idx="40">
                        <c:v>287</c:v>
                      </c:pt>
                      <c:pt idx="41">
                        <c:v>266</c:v>
                      </c:pt>
                      <c:pt idx="42">
                        <c:v>296</c:v>
                      </c:pt>
                      <c:pt idx="43">
                        <c:v>124</c:v>
                      </c:pt>
                      <c:pt idx="44">
                        <c:v>419</c:v>
                      </c:pt>
                      <c:pt idx="45">
                        <c:v>371</c:v>
                      </c:pt>
                      <c:pt idx="46">
                        <c:v>204</c:v>
                      </c:pt>
                      <c:pt idx="47">
                        <c:v>411</c:v>
                      </c:pt>
                      <c:pt idx="48">
                        <c:v>498</c:v>
                      </c:pt>
                      <c:pt idx="49">
                        <c:v>254</c:v>
                      </c:pt>
                      <c:pt idx="50">
                        <c:v>180</c:v>
                      </c:pt>
                      <c:pt idx="51">
                        <c:v>332</c:v>
                      </c:pt>
                      <c:pt idx="52">
                        <c:v>433</c:v>
                      </c:pt>
                      <c:pt idx="53">
                        <c:v>379</c:v>
                      </c:pt>
                      <c:pt idx="54">
                        <c:v>272</c:v>
                      </c:pt>
                      <c:pt idx="55">
                        <c:v>191</c:v>
                      </c:pt>
                      <c:pt idx="56">
                        <c:v>459</c:v>
                      </c:pt>
                      <c:pt idx="57">
                        <c:v>345</c:v>
                      </c:pt>
                      <c:pt idx="58">
                        <c:v>463</c:v>
                      </c:pt>
                      <c:pt idx="59">
                        <c:v>377</c:v>
                      </c:pt>
                      <c:pt idx="60">
                        <c:v>377</c:v>
                      </c:pt>
                      <c:pt idx="61">
                        <c:v>287</c:v>
                      </c:pt>
                      <c:pt idx="62">
                        <c:v>180</c:v>
                      </c:pt>
                      <c:pt idx="63">
                        <c:v>288</c:v>
                      </c:pt>
                      <c:pt idx="64">
                        <c:v>279</c:v>
                      </c:pt>
                      <c:pt idx="65">
                        <c:v>389</c:v>
                      </c:pt>
                      <c:pt idx="66">
                        <c:v>487</c:v>
                      </c:pt>
                      <c:pt idx="67">
                        <c:v>405</c:v>
                      </c:pt>
                      <c:pt idx="68">
                        <c:v>526</c:v>
                      </c:pt>
                      <c:pt idx="69">
                        <c:v>289</c:v>
                      </c:pt>
                      <c:pt idx="70">
                        <c:v>393</c:v>
                      </c:pt>
                      <c:pt idx="71">
                        <c:v>629</c:v>
                      </c:pt>
                      <c:pt idx="72">
                        <c:v>571</c:v>
                      </c:pt>
                      <c:pt idx="73">
                        <c:v>564</c:v>
                      </c:pt>
                      <c:pt idx="74">
                        <c:v>390</c:v>
                      </c:pt>
                      <c:pt idx="75">
                        <c:v>309</c:v>
                      </c:pt>
                      <c:pt idx="76">
                        <c:v>415</c:v>
                      </c:pt>
                      <c:pt idx="77">
                        <c:v>419</c:v>
                      </c:pt>
                      <c:pt idx="78">
                        <c:v>540</c:v>
                      </c:pt>
                      <c:pt idx="79">
                        <c:v>423</c:v>
                      </c:pt>
                      <c:pt idx="80">
                        <c:v>710</c:v>
                      </c:pt>
                      <c:pt idx="81">
                        <c:v>899</c:v>
                      </c:pt>
                      <c:pt idx="82">
                        <c:v>693</c:v>
                      </c:pt>
                      <c:pt idx="83">
                        <c:v>566</c:v>
                      </c:pt>
                      <c:pt idx="84">
                        <c:v>695</c:v>
                      </c:pt>
                      <c:pt idx="85">
                        <c:v>510</c:v>
                      </c:pt>
                      <c:pt idx="86">
                        <c:v>623</c:v>
                      </c:pt>
                      <c:pt idx="87">
                        <c:v>855</c:v>
                      </c:pt>
                      <c:pt idx="88">
                        <c:v>754</c:v>
                      </c:pt>
                      <c:pt idx="89">
                        <c:v>443</c:v>
                      </c:pt>
                      <c:pt idx="90">
                        <c:v>752</c:v>
                      </c:pt>
                      <c:pt idx="91">
                        <c:v>819</c:v>
                      </c:pt>
                      <c:pt idx="92">
                        <c:v>810</c:v>
                      </c:pt>
                      <c:pt idx="93">
                        <c:v>951</c:v>
                      </c:pt>
                      <c:pt idx="94">
                        <c:v>1036</c:v>
                      </c:pt>
                      <c:pt idx="95">
                        <c:v>1241</c:v>
                      </c:pt>
                      <c:pt idx="96">
                        <c:v>703</c:v>
                      </c:pt>
                      <c:pt idx="97">
                        <c:v>302</c:v>
                      </c:pt>
                      <c:pt idx="98">
                        <c:v>1158</c:v>
                      </c:pt>
                      <c:pt idx="99">
                        <c:v>1202</c:v>
                      </c:pt>
                      <c:pt idx="100">
                        <c:v>1125</c:v>
                      </c:pt>
                      <c:pt idx="101">
                        <c:v>1199</c:v>
                      </c:pt>
                      <c:pt idx="102">
                        <c:v>1418</c:v>
                      </c:pt>
                      <c:pt idx="103">
                        <c:v>974</c:v>
                      </c:pt>
                      <c:pt idx="104">
                        <c:v>799</c:v>
                      </c:pt>
                      <c:pt idx="105">
                        <c:v>1366</c:v>
                      </c:pt>
                      <c:pt idx="106">
                        <c:v>1072</c:v>
                      </c:pt>
                      <c:pt idx="107">
                        <c:v>1370</c:v>
                      </c:pt>
                      <c:pt idx="108">
                        <c:v>1406</c:v>
                      </c:pt>
                      <c:pt idx="109">
                        <c:v>1336</c:v>
                      </c:pt>
                      <c:pt idx="110">
                        <c:v>1101</c:v>
                      </c:pt>
                      <c:pt idx="111">
                        <c:v>841</c:v>
                      </c:pt>
                      <c:pt idx="112">
                        <c:v>1246</c:v>
                      </c:pt>
                      <c:pt idx="113">
                        <c:v>1572</c:v>
                      </c:pt>
                      <c:pt idx="114">
                        <c:v>1462</c:v>
                      </c:pt>
                      <c:pt idx="115">
                        <c:v>1819</c:v>
                      </c:pt>
                      <c:pt idx="116">
                        <c:v>2012</c:v>
                      </c:pt>
                      <c:pt idx="117">
                        <c:v>1248</c:v>
                      </c:pt>
                      <c:pt idx="118">
                        <c:v>534</c:v>
                      </c:pt>
                      <c:pt idx="119">
                        <c:v>1492</c:v>
                      </c:pt>
                      <c:pt idx="120">
                        <c:v>1733</c:v>
                      </c:pt>
                      <c:pt idx="121">
                        <c:v>1734</c:v>
                      </c:pt>
                      <c:pt idx="122">
                        <c:v>1766</c:v>
                      </c:pt>
                      <c:pt idx="123">
                        <c:v>828</c:v>
                      </c:pt>
                      <c:pt idx="124">
                        <c:v>874</c:v>
                      </c:pt>
                      <c:pt idx="125">
                        <c:v>1178</c:v>
                      </c:pt>
                      <c:pt idx="126">
                        <c:v>1365</c:v>
                      </c:pt>
                      <c:pt idx="127">
                        <c:v>876</c:v>
                      </c:pt>
                      <c:pt idx="128">
                        <c:v>1173</c:v>
                      </c:pt>
                      <c:pt idx="129">
                        <c:v>1069</c:v>
                      </c:pt>
                      <c:pt idx="130">
                        <c:v>954</c:v>
                      </c:pt>
                      <c:pt idx="131">
                        <c:v>767</c:v>
                      </c:pt>
                      <c:pt idx="132">
                        <c:v>595</c:v>
                      </c:pt>
                      <c:pt idx="133">
                        <c:v>1130</c:v>
                      </c:pt>
                      <c:pt idx="134">
                        <c:v>910</c:v>
                      </c:pt>
                      <c:pt idx="135">
                        <c:v>1354</c:v>
                      </c:pt>
                      <c:pt idx="136">
                        <c:v>1057</c:v>
                      </c:pt>
                      <c:pt idx="137">
                        <c:v>764</c:v>
                      </c:pt>
                      <c:pt idx="138">
                        <c:v>428</c:v>
                      </c:pt>
                      <c:pt idx="139">
                        <c:v>386</c:v>
                      </c:pt>
                      <c:pt idx="140">
                        <c:v>1004</c:v>
                      </c:pt>
                      <c:pt idx="141">
                        <c:v>883</c:v>
                      </c:pt>
                      <c:pt idx="142">
                        <c:v>857</c:v>
                      </c:pt>
                      <c:pt idx="143">
                        <c:v>694</c:v>
                      </c:pt>
                      <c:pt idx="144">
                        <c:v>600</c:v>
                      </c:pt>
                      <c:pt idx="145">
                        <c:v>447</c:v>
                      </c:pt>
                      <c:pt idx="146">
                        <c:v>609</c:v>
                      </c:pt>
                      <c:pt idx="147">
                        <c:v>340</c:v>
                      </c:pt>
                      <c:pt idx="148">
                        <c:v>407</c:v>
                      </c:pt>
                      <c:pt idx="149">
                        <c:v>426</c:v>
                      </c:pt>
                      <c:pt idx="150">
                        <c:v>342</c:v>
                      </c:pt>
                      <c:pt idx="151">
                        <c:v>509</c:v>
                      </c:pt>
                      <c:pt idx="152">
                        <c:v>474</c:v>
                      </c:pt>
                      <c:pt idx="153">
                        <c:v>264</c:v>
                      </c:pt>
                      <c:pt idx="154">
                        <c:v>648</c:v>
                      </c:pt>
                      <c:pt idx="155">
                        <c:v>1002</c:v>
                      </c:pt>
                      <c:pt idx="156">
                        <c:v>0</c:v>
                      </c:pt>
                      <c:pt idx="157">
                        <c:v>2147</c:v>
                      </c:pt>
                      <c:pt idx="158">
                        <c:v>557</c:v>
                      </c:pt>
                      <c:pt idx="159">
                        <c:v>565</c:v>
                      </c:pt>
                      <c:pt idx="160">
                        <c:v>233</c:v>
                      </c:pt>
                      <c:pt idx="161">
                        <c:v>806</c:v>
                      </c:pt>
                      <c:pt idx="162">
                        <c:v>779</c:v>
                      </c:pt>
                      <c:pt idx="163">
                        <c:v>516</c:v>
                      </c:pt>
                      <c:pt idx="164">
                        <c:v>860</c:v>
                      </c:pt>
                      <c:pt idx="165">
                        <c:v>568</c:v>
                      </c:pt>
                      <c:pt idx="166">
                        <c:v>450</c:v>
                      </c:pt>
                      <c:pt idx="167">
                        <c:v>693</c:v>
                      </c:pt>
                      <c:pt idx="168">
                        <c:v>718</c:v>
                      </c:pt>
                      <c:pt idx="169">
                        <c:v>615</c:v>
                      </c:pt>
                      <c:pt idx="170">
                        <c:v>596</c:v>
                      </c:pt>
                      <c:pt idx="171">
                        <c:v>968</c:v>
                      </c:pt>
                      <c:pt idx="172">
                        <c:v>589</c:v>
                      </c:pt>
                      <c:pt idx="173">
                        <c:v>494</c:v>
                      </c:pt>
                      <c:pt idx="174">
                        <c:v>486</c:v>
                      </c:pt>
                      <c:pt idx="175">
                        <c:v>468</c:v>
                      </c:pt>
                      <c:pt idx="176">
                        <c:v>385</c:v>
                      </c:pt>
                      <c:pt idx="177">
                        <c:v>475</c:v>
                      </c:pt>
                      <c:pt idx="178">
                        <c:v>360</c:v>
                      </c:pt>
                      <c:pt idx="179">
                        <c:v>429</c:v>
                      </c:pt>
                      <c:pt idx="180">
                        <c:v>280</c:v>
                      </c:pt>
                      <c:pt idx="181">
                        <c:v>234</c:v>
                      </c:pt>
                      <c:pt idx="182">
                        <c:v>309</c:v>
                      </c:pt>
                      <c:pt idx="183">
                        <c:v>519</c:v>
                      </c:pt>
                      <c:pt idx="184">
                        <c:v>622</c:v>
                      </c:pt>
                      <c:pt idx="185">
                        <c:v>576</c:v>
                      </c:pt>
                      <c:pt idx="186">
                        <c:v>554</c:v>
                      </c:pt>
                      <c:pt idx="187">
                        <c:v>574</c:v>
                      </c:pt>
                      <c:pt idx="188">
                        <c:v>317</c:v>
                      </c:pt>
                      <c:pt idx="189">
                        <c:v>777</c:v>
                      </c:pt>
                      <c:pt idx="190">
                        <c:v>724</c:v>
                      </c:pt>
                      <c:pt idx="191">
                        <c:v>585</c:v>
                      </c:pt>
                      <c:pt idx="192">
                        <c:v>557</c:v>
                      </c:pt>
                      <c:pt idx="193">
                        <c:v>463</c:v>
                      </c:pt>
                      <c:pt idx="194">
                        <c:v>366</c:v>
                      </c:pt>
                      <c:pt idx="195">
                        <c:v>165</c:v>
                      </c:pt>
                      <c:pt idx="196">
                        <c:v>654</c:v>
                      </c:pt>
                      <c:pt idx="197">
                        <c:v>404</c:v>
                      </c:pt>
                      <c:pt idx="198">
                        <c:v>384</c:v>
                      </c:pt>
                      <c:pt idx="199">
                        <c:v>475</c:v>
                      </c:pt>
                      <c:pt idx="200">
                        <c:v>422</c:v>
                      </c:pt>
                      <c:pt idx="201">
                        <c:v>320</c:v>
                      </c:pt>
                      <c:pt idx="202">
                        <c:v>306</c:v>
                      </c:pt>
                      <c:pt idx="203">
                        <c:v>425</c:v>
                      </c:pt>
                      <c:pt idx="204">
                        <c:v>475</c:v>
                      </c:pt>
                      <c:pt idx="205">
                        <c:v>0</c:v>
                      </c:pt>
                      <c:pt idx="206">
                        <c:v>1145</c:v>
                      </c:pt>
                      <c:pt idx="207">
                        <c:v>509</c:v>
                      </c:pt>
                      <c:pt idx="208">
                        <c:v>316</c:v>
                      </c:pt>
                      <c:pt idx="209">
                        <c:v>165</c:v>
                      </c:pt>
                      <c:pt idx="210">
                        <c:v>562</c:v>
                      </c:pt>
                      <c:pt idx="211">
                        <c:v>343</c:v>
                      </c:pt>
                      <c:pt idx="212">
                        <c:v>419</c:v>
                      </c:pt>
                      <c:pt idx="213">
                        <c:v>686</c:v>
                      </c:pt>
                      <c:pt idx="214">
                        <c:v>314</c:v>
                      </c:pt>
                      <c:pt idx="215">
                        <c:v>259</c:v>
                      </c:pt>
                      <c:pt idx="216">
                        <c:v>257</c:v>
                      </c:pt>
                      <c:pt idx="217">
                        <c:v>430</c:v>
                      </c:pt>
                      <c:pt idx="218">
                        <c:v>546</c:v>
                      </c:pt>
                      <c:pt idx="219">
                        <c:v>476</c:v>
                      </c:pt>
                      <c:pt idx="220">
                        <c:v>345</c:v>
                      </c:pt>
                      <c:pt idx="221">
                        <c:v>537</c:v>
                      </c:pt>
                      <c:pt idx="222">
                        <c:v>421</c:v>
                      </c:pt>
                      <c:pt idx="223">
                        <c:v>528</c:v>
                      </c:pt>
                      <c:pt idx="224">
                        <c:v>134</c:v>
                      </c:pt>
                      <c:pt idx="225">
                        <c:v>371</c:v>
                      </c:pt>
                      <c:pt idx="226">
                        <c:v>918</c:v>
                      </c:pt>
                      <c:pt idx="227">
                        <c:v>671</c:v>
                      </c:pt>
                      <c:pt idx="228">
                        <c:v>499</c:v>
                      </c:pt>
                      <c:pt idx="229">
                        <c:v>479</c:v>
                      </c:pt>
                      <c:pt idx="230">
                        <c:v>494</c:v>
                      </c:pt>
                      <c:pt idx="231">
                        <c:v>460</c:v>
                      </c:pt>
                      <c:pt idx="232">
                        <c:v>1026</c:v>
                      </c:pt>
                      <c:pt idx="233">
                        <c:v>601</c:v>
                      </c:pt>
                      <c:pt idx="234">
                        <c:v>986</c:v>
                      </c:pt>
                      <c:pt idx="235">
                        <c:v>640</c:v>
                      </c:pt>
                      <c:pt idx="236">
                        <c:v>419</c:v>
                      </c:pt>
                      <c:pt idx="237">
                        <c:v>282</c:v>
                      </c:pt>
                      <c:pt idx="238">
                        <c:v>285</c:v>
                      </c:pt>
                      <c:pt idx="239">
                        <c:v>1526</c:v>
                      </c:pt>
                      <c:pt idx="240">
                        <c:v>855</c:v>
                      </c:pt>
                      <c:pt idx="241">
                        <c:v>876</c:v>
                      </c:pt>
                      <c:pt idx="242">
                        <c:v>820</c:v>
                      </c:pt>
                      <c:pt idx="243">
                        <c:v>515</c:v>
                      </c:pt>
                      <c:pt idx="244">
                        <c:v>314</c:v>
                      </c:pt>
                      <c:pt idx="245">
                        <c:v>895</c:v>
                      </c:pt>
                      <c:pt idx="246">
                        <c:v>812</c:v>
                      </c:pt>
                      <c:pt idx="247">
                        <c:v>671</c:v>
                      </c:pt>
                      <c:pt idx="248">
                        <c:v>975</c:v>
                      </c:pt>
                      <c:pt idx="249">
                        <c:v>798</c:v>
                      </c:pt>
                      <c:pt idx="250">
                        <c:v>685</c:v>
                      </c:pt>
                      <c:pt idx="251">
                        <c:v>492</c:v>
                      </c:pt>
                      <c:pt idx="252">
                        <c:v>531</c:v>
                      </c:pt>
                      <c:pt idx="253">
                        <c:v>1560</c:v>
                      </c:pt>
                      <c:pt idx="254">
                        <c:v>731</c:v>
                      </c:pt>
                      <c:pt idx="255">
                        <c:v>1133</c:v>
                      </c:pt>
                      <c:pt idx="256">
                        <c:v>1107</c:v>
                      </c:pt>
                      <c:pt idx="257">
                        <c:v>492</c:v>
                      </c:pt>
                      <c:pt idx="258">
                        <c:v>613</c:v>
                      </c:pt>
                      <c:pt idx="259">
                        <c:v>788</c:v>
                      </c:pt>
                      <c:pt idx="260">
                        <c:v>720</c:v>
                      </c:pt>
                      <c:pt idx="261">
                        <c:v>624</c:v>
                      </c:pt>
                      <c:pt idx="262">
                        <c:v>1135</c:v>
                      </c:pt>
                      <c:pt idx="263">
                        <c:v>1322</c:v>
                      </c:pt>
                      <c:pt idx="264">
                        <c:v>666</c:v>
                      </c:pt>
                      <c:pt idx="265">
                        <c:v>878</c:v>
                      </c:pt>
                      <c:pt idx="266">
                        <c:v>566</c:v>
                      </c:pt>
                      <c:pt idx="267">
                        <c:v>1158</c:v>
                      </c:pt>
                      <c:pt idx="268">
                        <c:v>1381</c:v>
                      </c:pt>
                      <c:pt idx="269">
                        <c:v>905</c:v>
                      </c:pt>
                      <c:pt idx="270">
                        <c:v>824</c:v>
                      </c:pt>
                      <c:pt idx="271">
                        <c:v>641</c:v>
                      </c:pt>
                      <c:pt idx="272">
                        <c:v>860</c:v>
                      </c:pt>
                      <c:pt idx="273">
                        <c:v>1314</c:v>
                      </c:pt>
                      <c:pt idx="274">
                        <c:v>1206</c:v>
                      </c:pt>
                      <c:pt idx="275">
                        <c:v>1433</c:v>
                      </c:pt>
                      <c:pt idx="276">
                        <c:v>747</c:v>
                      </c:pt>
                      <c:pt idx="277">
                        <c:v>366</c:v>
                      </c:pt>
                    </c:numCache>
                  </c:numRef>
                </c:val>
                <c:extLst xmlns:c15="http://schemas.microsoft.com/office/drawing/2012/chart">
                  <c:ext xmlns:c16="http://schemas.microsoft.com/office/drawing/2014/chart" uri="{C3380CC4-5D6E-409C-BE32-E72D297353CC}">
                    <c16:uniqueId val="{00000006-1D52-4AF4-98CA-071069331375}"/>
                  </c:ext>
                </c:extLst>
              </c15:ser>
            </c15:filteredBarSeries>
          </c:ext>
        </c:extLst>
      </c:barChart>
      <c:lineChart>
        <c:grouping val="standard"/>
        <c:varyColors val="0"/>
        <c:ser>
          <c:idx val="4"/>
          <c:order val="0"/>
          <c:tx>
            <c:strRef>
              <c:f>Resumen!$A$14</c:f>
              <c:strCache>
                <c:ptCount val="1"/>
                <c:pt idx="0">
                  <c:v>GUATEMALA 1/</c:v>
                </c:pt>
              </c:strCache>
            </c:strRef>
          </c:tx>
          <c:spPr>
            <a:ln w="22225" cap="rnd">
              <a:solidFill>
                <a:srgbClr val="00B0F0"/>
              </a:solidFill>
              <a:round/>
            </a:ln>
            <a:effectLst/>
          </c:spPr>
          <c:marker>
            <c:symbol val="none"/>
          </c:marker>
          <c:cat>
            <c:numRef>
              <c:f>World!$A$94:$A$595</c:f>
              <c:numCache>
                <c:formatCode>dd/mm/yy;@</c:formatCode>
                <c:ptCount val="502"/>
                <c:pt idx="0">
                  <c:v>43922</c:v>
                </c:pt>
                <c:pt idx="1">
                  <c:v>43923</c:v>
                </c:pt>
                <c:pt idx="2">
                  <c:v>43924</c:v>
                </c:pt>
                <c:pt idx="3">
                  <c:v>43925</c:v>
                </c:pt>
                <c:pt idx="4">
                  <c:v>43926</c:v>
                </c:pt>
                <c:pt idx="5">
                  <c:v>43927</c:v>
                </c:pt>
                <c:pt idx="6">
                  <c:v>43928</c:v>
                </c:pt>
                <c:pt idx="7">
                  <c:v>43929</c:v>
                </c:pt>
                <c:pt idx="8">
                  <c:v>43930</c:v>
                </c:pt>
                <c:pt idx="9">
                  <c:v>43931</c:v>
                </c:pt>
                <c:pt idx="10">
                  <c:v>43932</c:v>
                </c:pt>
                <c:pt idx="11">
                  <c:v>43933</c:v>
                </c:pt>
                <c:pt idx="12">
                  <c:v>43934</c:v>
                </c:pt>
                <c:pt idx="13">
                  <c:v>43935</c:v>
                </c:pt>
                <c:pt idx="14">
                  <c:v>43936</c:v>
                </c:pt>
                <c:pt idx="15">
                  <c:v>43937</c:v>
                </c:pt>
                <c:pt idx="16">
                  <c:v>43938</c:v>
                </c:pt>
                <c:pt idx="17">
                  <c:v>43939</c:v>
                </c:pt>
                <c:pt idx="18">
                  <c:v>43940</c:v>
                </c:pt>
                <c:pt idx="19">
                  <c:v>43941</c:v>
                </c:pt>
                <c:pt idx="20">
                  <c:v>43942</c:v>
                </c:pt>
                <c:pt idx="21">
                  <c:v>43943</c:v>
                </c:pt>
                <c:pt idx="22">
                  <c:v>43944</c:v>
                </c:pt>
                <c:pt idx="23">
                  <c:v>43945</c:v>
                </c:pt>
                <c:pt idx="24">
                  <c:v>43946</c:v>
                </c:pt>
                <c:pt idx="25">
                  <c:v>43947</c:v>
                </c:pt>
                <c:pt idx="26">
                  <c:v>43948</c:v>
                </c:pt>
                <c:pt idx="27">
                  <c:v>43949</c:v>
                </c:pt>
                <c:pt idx="28">
                  <c:v>43950</c:v>
                </c:pt>
                <c:pt idx="29">
                  <c:v>43951</c:v>
                </c:pt>
                <c:pt idx="30">
                  <c:v>43952</c:v>
                </c:pt>
                <c:pt idx="31">
                  <c:v>43953</c:v>
                </c:pt>
                <c:pt idx="32">
                  <c:v>43954</c:v>
                </c:pt>
                <c:pt idx="33">
                  <c:v>43955</c:v>
                </c:pt>
                <c:pt idx="34">
                  <c:v>43956</c:v>
                </c:pt>
                <c:pt idx="35">
                  <c:v>43957</c:v>
                </c:pt>
                <c:pt idx="36">
                  <c:v>43958</c:v>
                </c:pt>
                <c:pt idx="37">
                  <c:v>43959</c:v>
                </c:pt>
                <c:pt idx="38">
                  <c:v>43960</c:v>
                </c:pt>
                <c:pt idx="39">
                  <c:v>43961</c:v>
                </c:pt>
                <c:pt idx="40">
                  <c:v>43962</c:v>
                </c:pt>
                <c:pt idx="41">
                  <c:v>43963</c:v>
                </c:pt>
                <c:pt idx="42">
                  <c:v>43964</c:v>
                </c:pt>
                <c:pt idx="43">
                  <c:v>43965</c:v>
                </c:pt>
                <c:pt idx="44">
                  <c:v>43966</c:v>
                </c:pt>
                <c:pt idx="45">
                  <c:v>43967</c:v>
                </c:pt>
                <c:pt idx="46">
                  <c:v>43968</c:v>
                </c:pt>
                <c:pt idx="47">
                  <c:v>43969</c:v>
                </c:pt>
                <c:pt idx="48">
                  <c:v>43970</c:v>
                </c:pt>
                <c:pt idx="49">
                  <c:v>43971</c:v>
                </c:pt>
                <c:pt idx="50">
                  <c:v>43972</c:v>
                </c:pt>
                <c:pt idx="51">
                  <c:v>43973</c:v>
                </c:pt>
                <c:pt idx="52">
                  <c:v>43974</c:v>
                </c:pt>
                <c:pt idx="53">
                  <c:v>43975</c:v>
                </c:pt>
                <c:pt idx="54">
                  <c:v>43976</c:v>
                </c:pt>
                <c:pt idx="55">
                  <c:v>43977</c:v>
                </c:pt>
                <c:pt idx="56">
                  <c:v>43978</c:v>
                </c:pt>
                <c:pt idx="57">
                  <c:v>43979</c:v>
                </c:pt>
                <c:pt idx="58">
                  <c:v>43980</c:v>
                </c:pt>
                <c:pt idx="59">
                  <c:v>43981</c:v>
                </c:pt>
                <c:pt idx="60">
                  <c:v>43982</c:v>
                </c:pt>
                <c:pt idx="61">
                  <c:v>43983</c:v>
                </c:pt>
                <c:pt idx="62">
                  <c:v>43984</c:v>
                </c:pt>
                <c:pt idx="63">
                  <c:v>43985</c:v>
                </c:pt>
                <c:pt idx="64">
                  <c:v>43986</c:v>
                </c:pt>
                <c:pt idx="65">
                  <c:v>43987</c:v>
                </c:pt>
                <c:pt idx="66">
                  <c:v>43988</c:v>
                </c:pt>
                <c:pt idx="67">
                  <c:v>43989</c:v>
                </c:pt>
                <c:pt idx="68">
                  <c:v>43990</c:v>
                </c:pt>
                <c:pt idx="69">
                  <c:v>43991</c:v>
                </c:pt>
                <c:pt idx="70">
                  <c:v>43992</c:v>
                </c:pt>
                <c:pt idx="71">
                  <c:v>43993</c:v>
                </c:pt>
                <c:pt idx="72">
                  <c:v>43994</c:v>
                </c:pt>
                <c:pt idx="73">
                  <c:v>43995</c:v>
                </c:pt>
                <c:pt idx="74">
                  <c:v>43996</c:v>
                </c:pt>
                <c:pt idx="75">
                  <c:v>43997</c:v>
                </c:pt>
                <c:pt idx="76">
                  <c:v>43998</c:v>
                </c:pt>
                <c:pt idx="77">
                  <c:v>43999</c:v>
                </c:pt>
                <c:pt idx="78">
                  <c:v>44000</c:v>
                </c:pt>
                <c:pt idx="79">
                  <c:v>44001</c:v>
                </c:pt>
                <c:pt idx="80">
                  <c:v>44002</c:v>
                </c:pt>
                <c:pt idx="81">
                  <c:v>44003</c:v>
                </c:pt>
                <c:pt idx="82">
                  <c:v>44004</c:v>
                </c:pt>
                <c:pt idx="83">
                  <c:v>44005</c:v>
                </c:pt>
                <c:pt idx="84">
                  <c:v>44006</c:v>
                </c:pt>
                <c:pt idx="85">
                  <c:v>44007</c:v>
                </c:pt>
                <c:pt idx="86">
                  <c:v>44008</c:v>
                </c:pt>
                <c:pt idx="87">
                  <c:v>44009</c:v>
                </c:pt>
                <c:pt idx="88">
                  <c:v>44010</c:v>
                </c:pt>
                <c:pt idx="89">
                  <c:v>44011</c:v>
                </c:pt>
                <c:pt idx="90">
                  <c:v>44012</c:v>
                </c:pt>
                <c:pt idx="91">
                  <c:v>44013</c:v>
                </c:pt>
                <c:pt idx="92">
                  <c:v>44014</c:v>
                </c:pt>
                <c:pt idx="93">
                  <c:v>44015</c:v>
                </c:pt>
                <c:pt idx="94">
                  <c:v>44016</c:v>
                </c:pt>
                <c:pt idx="95">
                  <c:v>44017</c:v>
                </c:pt>
                <c:pt idx="96">
                  <c:v>44018</c:v>
                </c:pt>
                <c:pt idx="97">
                  <c:v>44019</c:v>
                </c:pt>
                <c:pt idx="98">
                  <c:v>44020</c:v>
                </c:pt>
                <c:pt idx="99">
                  <c:v>44021</c:v>
                </c:pt>
                <c:pt idx="100">
                  <c:v>44022</c:v>
                </c:pt>
                <c:pt idx="101">
                  <c:v>44023</c:v>
                </c:pt>
                <c:pt idx="102">
                  <c:v>44024</c:v>
                </c:pt>
                <c:pt idx="103">
                  <c:v>44025</c:v>
                </c:pt>
                <c:pt idx="104">
                  <c:v>44026</c:v>
                </c:pt>
                <c:pt idx="105">
                  <c:v>44027</c:v>
                </c:pt>
                <c:pt idx="106">
                  <c:v>44028</c:v>
                </c:pt>
                <c:pt idx="107">
                  <c:v>44029</c:v>
                </c:pt>
                <c:pt idx="108">
                  <c:v>44030</c:v>
                </c:pt>
                <c:pt idx="109">
                  <c:v>44031</c:v>
                </c:pt>
                <c:pt idx="110">
                  <c:v>44032</c:v>
                </c:pt>
                <c:pt idx="111">
                  <c:v>44033</c:v>
                </c:pt>
                <c:pt idx="112">
                  <c:v>44034</c:v>
                </c:pt>
                <c:pt idx="113">
                  <c:v>44035</c:v>
                </c:pt>
                <c:pt idx="114">
                  <c:v>44036</c:v>
                </c:pt>
                <c:pt idx="115">
                  <c:v>44037</c:v>
                </c:pt>
                <c:pt idx="116">
                  <c:v>44038</c:v>
                </c:pt>
                <c:pt idx="117">
                  <c:v>44039</c:v>
                </c:pt>
                <c:pt idx="118">
                  <c:v>44040</c:v>
                </c:pt>
                <c:pt idx="119">
                  <c:v>44041</c:v>
                </c:pt>
                <c:pt idx="120">
                  <c:v>44042</c:v>
                </c:pt>
                <c:pt idx="121">
                  <c:v>44043</c:v>
                </c:pt>
                <c:pt idx="122">
                  <c:v>44044</c:v>
                </c:pt>
                <c:pt idx="123">
                  <c:v>44045</c:v>
                </c:pt>
                <c:pt idx="124">
                  <c:v>44046</c:v>
                </c:pt>
                <c:pt idx="125">
                  <c:v>44047</c:v>
                </c:pt>
                <c:pt idx="126">
                  <c:v>44048</c:v>
                </c:pt>
                <c:pt idx="127">
                  <c:v>44049</c:v>
                </c:pt>
                <c:pt idx="128">
                  <c:v>44050</c:v>
                </c:pt>
                <c:pt idx="129">
                  <c:v>44051</c:v>
                </c:pt>
                <c:pt idx="130">
                  <c:v>44052</c:v>
                </c:pt>
                <c:pt idx="131">
                  <c:v>44053</c:v>
                </c:pt>
                <c:pt idx="132">
                  <c:v>44054</c:v>
                </c:pt>
                <c:pt idx="133">
                  <c:v>44055</c:v>
                </c:pt>
                <c:pt idx="134">
                  <c:v>44056</c:v>
                </c:pt>
                <c:pt idx="135">
                  <c:v>44057</c:v>
                </c:pt>
                <c:pt idx="136">
                  <c:v>44058</c:v>
                </c:pt>
                <c:pt idx="137">
                  <c:v>44059</c:v>
                </c:pt>
                <c:pt idx="138">
                  <c:v>44060</c:v>
                </c:pt>
                <c:pt idx="139">
                  <c:v>44061</c:v>
                </c:pt>
                <c:pt idx="140">
                  <c:v>44062</c:v>
                </c:pt>
                <c:pt idx="141">
                  <c:v>44063</c:v>
                </c:pt>
                <c:pt idx="142">
                  <c:v>44064</c:v>
                </c:pt>
                <c:pt idx="143">
                  <c:v>44065</c:v>
                </c:pt>
                <c:pt idx="144">
                  <c:v>44066</c:v>
                </c:pt>
                <c:pt idx="145">
                  <c:v>44067</c:v>
                </c:pt>
                <c:pt idx="146">
                  <c:v>44068</c:v>
                </c:pt>
                <c:pt idx="147">
                  <c:v>44069</c:v>
                </c:pt>
                <c:pt idx="148">
                  <c:v>44070</c:v>
                </c:pt>
                <c:pt idx="149">
                  <c:v>44071</c:v>
                </c:pt>
                <c:pt idx="150">
                  <c:v>44072</c:v>
                </c:pt>
                <c:pt idx="151">
                  <c:v>44073</c:v>
                </c:pt>
                <c:pt idx="152">
                  <c:v>44074</c:v>
                </c:pt>
                <c:pt idx="153">
                  <c:v>44075</c:v>
                </c:pt>
                <c:pt idx="154">
                  <c:v>44076</c:v>
                </c:pt>
                <c:pt idx="155">
                  <c:v>44077</c:v>
                </c:pt>
                <c:pt idx="156">
                  <c:v>44078</c:v>
                </c:pt>
                <c:pt idx="157">
                  <c:v>44079</c:v>
                </c:pt>
                <c:pt idx="158">
                  <c:v>44080</c:v>
                </c:pt>
                <c:pt idx="159">
                  <c:v>44081</c:v>
                </c:pt>
                <c:pt idx="160">
                  <c:v>44082</c:v>
                </c:pt>
                <c:pt idx="161">
                  <c:v>44083</c:v>
                </c:pt>
                <c:pt idx="162">
                  <c:v>44084</c:v>
                </c:pt>
                <c:pt idx="163">
                  <c:v>44085</c:v>
                </c:pt>
                <c:pt idx="164">
                  <c:v>44086</c:v>
                </c:pt>
                <c:pt idx="165">
                  <c:v>44087</c:v>
                </c:pt>
                <c:pt idx="166">
                  <c:v>44088</c:v>
                </c:pt>
                <c:pt idx="167">
                  <c:v>44089</c:v>
                </c:pt>
                <c:pt idx="168">
                  <c:v>44090</c:v>
                </c:pt>
                <c:pt idx="169">
                  <c:v>44091</c:v>
                </c:pt>
                <c:pt idx="170">
                  <c:v>44092</c:v>
                </c:pt>
                <c:pt idx="171">
                  <c:v>44093</c:v>
                </c:pt>
                <c:pt idx="172">
                  <c:v>44094</c:v>
                </c:pt>
                <c:pt idx="173">
                  <c:v>44095</c:v>
                </c:pt>
                <c:pt idx="174">
                  <c:v>44096</c:v>
                </c:pt>
                <c:pt idx="175">
                  <c:v>44097</c:v>
                </c:pt>
                <c:pt idx="176">
                  <c:v>44098</c:v>
                </c:pt>
                <c:pt idx="177">
                  <c:v>44099</c:v>
                </c:pt>
                <c:pt idx="178">
                  <c:v>44100</c:v>
                </c:pt>
                <c:pt idx="179">
                  <c:v>44101</c:v>
                </c:pt>
                <c:pt idx="180">
                  <c:v>44102</c:v>
                </c:pt>
                <c:pt idx="181">
                  <c:v>44103</c:v>
                </c:pt>
                <c:pt idx="182">
                  <c:v>44104</c:v>
                </c:pt>
                <c:pt idx="183">
                  <c:v>44105</c:v>
                </c:pt>
                <c:pt idx="184">
                  <c:v>44106</c:v>
                </c:pt>
                <c:pt idx="185">
                  <c:v>44107</c:v>
                </c:pt>
                <c:pt idx="186">
                  <c:v>44108</c:v>
                </c:pt>
                <c:pt idx="187">
                  <c:v>44109</c:v>
                </c:pt>
                <c:pt idx="188">
                  <c:v>44110</c:v>
                </c:pt>
                <c:pt idx="189">
                  <c:v>44111</c:v>
                </c:pt>
                <c:pt idx="190">
                  <c:v>44112</c:v>
                </c:pt>
                <c:pt idx="191">
                  <c:v>44113</c:v>
                </c:pt>
                <c:pt idx="192">
                  <c:v>44114</c:v>
                </c:pt>
                <c:pt idx="193">
                  <c:v>44115</c:v>
                </c:pt>
                <c:pt idx="194">
                  <c:v>44116</c:v>
                </c:pt>
                <c:pt idx="195">
                  <c:v>44117</c:v>
                </c:pt>
                <c:pt idx="196">
                  <c:v>44118</c:v>
                </c:pt>
                <c:pt idx="197">
                  <c:v>44119</c:v>
                </c:pt>
                <c:pt idx="198">
                  <c:v>44120</c:v>
                </c:pt>
                <c:pt idx="199">
                  <c:v>44121</c:v>
                </c:pt>
                <c:pt idx="200">
                  <c:v>44122</c:v>
                </c:pt>
                <c:pt idx="201">
                  <c:v>44123</c:v>
                </c:pt>
                <c:pt idx="202">
                  <c:v>44124</c:v>
                </c:pt>
                <c:pt idx="203">
                  <c:v>44125</c:v>
                </c:pt>
                <c:pt idx="204">
                  <c:v>44126</c:v>
                </c:pt>
                <c:pt idx="205">
                  <c:v>44127</c:v>
                </c:pt>
                <c:pt idx="206">
                  <c:v>44128</c:v>
                </c:pt>
                <c:pt idx="207">
                  <c:v>44129</c:v>
                </c:pt>
                <c:pt idx="208">
                  <c:v>44130</c:v>
                </c:pt>
                <c:pt idx="209">
                  <c:v>44131</c:v>
                </c:pt>
                <c:pt idx="210">
                  <c:v>44132</c:v>
                </c:pt>
                <c:pt idx="211">
                  <c:v>44133</c:v>
                </c:pt>
                <c:pt idx="212">
                  <c:v>44134</c:v>
                </c:pt>
                <c:pt idx="213">
                  <c:v>44135</c:v>
                </c:pt>
                <c:pt idx="214">
                  <c:v>44136</c:v>
                </c:pt>
                <c:pt idx="215">
                  <c:v>44137</c:v>
                </c:pt>
                <c:pt idx="216">
                  <c:v>44138</c:v>
                </c:pt>
                <c:pt idx="217">
                  <c:v>44139</c:v>
                </c:pt>
                <c:pt idx="218">
                  <c:v>44140</c:v>
                </c:pt>
                <c:pt idx="219">
                  <c:v>44141</c:v>
                </c:pt>
                <c:pt idx="220">
                  <c:v>44142</c:v>
                </c:pt>
                <c:pt idx="221">
                  <c:v>44143</c:v>
                </c:pt>
                <c:pt idx="222">
                  <c:v>44144</c:v>
                </c:pt>
                <c:pt idx="223">
                  <c:v>44145</c:v>
                </c:pt>
                <c:pt idx="224">
                  <c:v>44146</c:v>
                </c:pt>
                <c:pt idx="225">
                  <c:v>44147</c:v>
                </c:pt>
                <c:pt idx="226">
                  <c:v>44148</c:v>
                </c:pt>
                <c:pt idx="227">
                  <c:v>44149</c:v>
                </c:pt>
                <c:pt idx="228">
                  <c:v>44150</c:v>
                </c:pt>
                <c:pt idx="229">
                  <c:v>44151</c:v>
                </c:pt>
                <c:pt idx="230">
                  <c:v>44152</c:v>
                </c:pt>
                <c:pt idx="231">
                  <c:v>44153</c:v>
                </c:pt>
                <c:pt idx="232">
                  <c:v>44154</c:v>
                </c:pt>
                <c:pt idx="233">
                  <c:v>44155</c:v>
                </c:pt>
                <c:pt idx="234">
                  <c:v>44156</c:v>
                </c:pt>
                <c:pt idx="235">
                  <c:v>44157</c:v>
                </c:pt>
                <c:pt idx="236">
                  <c:v>44158</c:v>
                </c:pt>
                <c:pt idx="237">
                  <c:v>44159</c:v>
                </c:pt>
                <c:pt idx="238">
                  <c:v>44160</c:v>
                </c:pt>
                <c:pt idx="239">
                  <c:v>44161</c:v>
                </c:pt>
                <c:pt idx="240">
                  <c:v>44162</c:v>
                </c:pt>
                <c:pt idx="241">
                  <c:v>44163</c:v>
                </c:pt>
                <c:pt idx="242">
                  <c:v>44164</c:v>
                </c:pt>
                <c:pt idx="243">
                  <c:v>44165</c:v>
                </c:pt>
                <c:pt idx="244">
                  <c:v>44166</c:v>
                </c:pt>
                <c:pt idx="245">
                  <c:v>44167</c:v>
                </c:pt>
                <c:pt idx="246">
                  <c:v>44168</c:v>
                </c:pt>
                <c:pt idx="247">
                  <c:v>44169</c:v>
                </c:pt>
                <c:pt idx="248">
                  <c:v>44170</c:v>
                </c:pt>
                <c:pt idx="249">
                  <c:v>44171</c:v>
                </c:pt>
                <c:pt idx="250">
                  <c:v>44172</c:v>
                </c:pt>
                <c:pt idx="251">
                  <c:v>44173</c:v>
                </c:pt>
                <c:pt idx="252">
                  <c:v>44174</c:v>
                </c:pt>
                <c:pt idx="253">
                  <c:v>44175</c:v>
                </c:pt>
                <c:pt idx="254">
                  <c:v>44176</c:v>
                </c:pt>
                <c:pt idx="255">
                  <c:v>44177</c:v>
                </c:pt>
                <c:pt idx="256">
                  <c:v>44178</c:v>
                </c:pt>
                <c:pt idx="257">
                  <c:v>44179</c:v>
                </c:pt>
                <c:pt idx="258">
                  <c:v>44180</c:v>
                </c:pt>
                <c:pt idx="259">
                  <c:v>44181</c:v>
                </c:pt>
                <c:pt idx="260">
                  <c:v>44182</c:v>
                </c:pt>
                <c:pt idx="261">
                  <c:v>44183</c:v>
                </c:pt>
                <c:pt idx="262">
                  <c:v>44184</c:v>
                </c:pt>
                <c:pt idx="263">
                  <c:v>44185</c:v>
                </c:pt>
                <c:pt idx="264">
                  <c:v>44186</c:v>
                </c:pt>
                <c:pt idx="265">
                  <c:v>44187</c:v>
                </c:pt>
                <c:pt idx="266">
                  <c:v>44188</c:v>
                </c:pt>
                <c:pt idx="267">
                  <c:v>44189</c:v>
                </c:pt>
                <c:pt idx="268">
                  <c:v>44190</c:v>
                </c:pt>
                <c:pt idx="269">
                  <c:v>44191</c:v>
                </c:pt>
                <c:pt idx="270">
                  <c:v>44192</c:v>
                </c:pt>
                <c:pt idx="271">
                  <c:v>44193</c:v>
                </c:pt>
                <c:pt idx="272">
                  <c:v>44194</c:v>
                </c:pt>
                <c:pt idx="273">
                  <c:v>44195</c:v>
                </c:pt>
                <c:pt idx="274">
                  <c:v>44196</c:v>
                </c:pt>
                <c:pt idx="275">
                  <c:v>44197</c:v>
                </c:pt>
                <c:pt idx="276">
                  <c:v>44198</c:v>
                </c:pt>
                <c:pt idx="277">
                  <c:v>44199</c:v>
                </c:pt>
                <c:pt idx="278">
                  <c:v>44200</c:v>
                </c:pt>
                <c:pt idx="279">
                  <c:v>44201</c:v>
                </c:pt>
                <c:pt idx="280">
                  <c:v>44202</c:v>
                </c:pt>
                <c:pt idx="281">
                  <c:v>44203</c:v>
                </c:pt>
                <c:pt idx="282">
                  <c:v>44204</c:v>
                </c:pt>
                <c:pt idx="283">
                  <c:v>44205</c:v>
                </c:pt>
                <c:pt idx="284">
                  <c:v>44206</c:v>
                </c:pt>
                <c:pt idx="285">
                  <c:v>44207</c:v>
                </c:pt>
                <c:pt idx="286">
                  <c:v>44208</c:v>
                </c:pt>
                <c:pt idx="287">
                  <c:v>44209</c:v>
                </c:pt>
                <c:pt idx="288">
                  <c:v>44210</c:v>
                </c:pt>
                <c:pt idx="289">
                  <c:v>44211</c:v>
                </c:pt>
                <c:pt idx="290">
                  <c:v>44212</c:v>
                </c:pt>
                <c:pt idx="291">
                  <c:v>44213</c:v>
                </c:pt>
                <c:pt idx="292">
                  <c:v>44214</c:v>
                </c:pt>
                <c:pt idx="293">
                  <c:v>44215</c:v>
                </c:pt>
                <c:pt idx="294">
                  <c:v>44216</c:v>
                </c:pt>
                <c:pt idx="295">
                  <c:v>44217</c:v>
                </c:pt>
                <c:pt idx="296">
                  <c:v>44218</c:v>
                </c:pt>
                <c:pt idx="297">
                  <c:v>44219</c:v>
                </c:pt>
                <c:pt idx="298">
                  <c:v>44220</c:v>
                </c:pt>
                <c:pt idx="299">
                  <c:v>44221</c:v>
                </c:pt>
                <c:pt idx="300">
                  <c:v>44222</c:v>
                </c:pt>
                <c:pt idx="301">
                  <c:v>44223</c:v>
                </c:pt>
                <c:pt idx="302">
                  <c:v>44224</c:v>
                </c:pt>
                <c:pt idx="303">
                  <c:v>44225</c:v>
                </c:pt>
                <c:pt idx="304">
                  <c:v>44226</c:v>
                </c:pt>
                <c:pt idx="305">
                  <c:v>44227</c:v>
                </c:pt>
                <c:pt idx="306">
                  <c:v>44228</c:v>
                </c:pt>
                <c:pt idx="307">
                  <c:v>44229</c:v>
                </c:pt>
                <c:pt idx="308">
                  <c:v>44230</c:v>
                </c:pt>
                <c:pt idx="309">
                  <c:v>44231</c:v>
                </c:pt>
                <c:pt idx="310">
                  <c:v>44232</c:v>
                </c:pt>
                <c:pt idx="311">
                  <c:v>44233</c:v>
                </c:pt>
                <c:pt idx="312">
                  <c:v>44234</c:v>
                </c:pt>
                <c:pt idx="313">
                  <c:v>44235</c:v>
                </c:pt>
                <c:pt idx="314">
                  <c:v>44236</c:v>
                </c:pt>
                <c:pt idx="315">
                  <c:v>44237</c:v>
                </c:pt>
                <c:pt idx="316">
                  <c:v>44238</c:v>
                </c:pt>
                <c:pt idx="317">
                  <c:v>44239</c:v>
                </c:pt>
                <c:pt idx="318">
                  <c:v>44240</c:v>
                </c:pt>
                <c:pt idx="319">
                  <c:v>44241</c:v>
                </c:pt>
                <c:pt idx="320">
                  <c:v>44242</c:v>
                </c:pt>
                <c:pt idx="321">
                  <c:v>44243</c:v>
                </c:pt>
                <c:pt idx="322">
                  <c:v>44244</c:v>
                </c:pt>
                <c:pt idx="323">
                  <c:v>44245</c:v>
                </c:pt>
                <c:pt idx="324">
                  <c:v>44246</c:v>
                </c:pt>
                <c:pt idx="325">
                  <c:v>44247</c:v>
                </c:pt>
                <c:pt idx="326">
                  <c:v>44248</c:v>
                </c:pt>
                <c:pt idx="327">
                  <c:v>44249</c:v>
                </c:pt>
                <c:pt idx="328">
                  <c:v>44250</c:v>
                </c:pt>
                <c:pt idx="329">
                  <c:v>44251</c:v>
                </c:pt>
                <c:pt idx="330">
                  <c:v>44252</c:v>
                </c:pt>
                <c:pt idx="331">
                  <c:v>44253</c:v>
                </c:pt>
                <c:pt idx="332">
                  <c:v>44254</c:v>
                </c:pt>
                <c:pt idx="333">
                  <c:v>44255</c:v>
                </c:pt>
                <c:pt idx="334">
                  <c:v>44256</c:v>
                </c:pt>
                <c:pt idx="335">
                  <c:v>44257</c:v>
                </c:pt>
                <c:pt idx="336">
                  <c:v>44258</c:v>
                </c:pt>
                <c:pt idx="337">
                  <c:v>44259</c:v>
                </c:pt>
                <c:pt idx="338">
                  <c:v>44260</c:v>
                </c:pt>
                <c:pt idx="339">
                  <c:v>44261</c:v>
                </c:pt>
                <c:pt idx="340">
                  <c:v>44262</c:v>
                </c:pt>
                <c:pt idx="341">
                  <c:v>44263</c:v>
                </c:pt>
                <c:pt idx="342">
                  <c:v>44264</c:v>
                </c:pt>
                <c:pt idx="343">
                  <c:v>44265</c:v>
                </c:pt>
                <c:pt idx="344">
                  <c:v>44266</c:v>
                </c:pt>
                <c:pt idx="345">
                  <c:v>44267</c:v>
                </c:pt>
                <c:pt idx="346">
                  <c:v>44268</c:v>
                </c:pt>
                <c:pt idx="347">
                  <c:v>44269</c:v>
                </c:pt>
                <c:pt idx="348">
                  <c:v>44270</c:v>
                </c:pt>
                <c:pt idx="349">
                  <c:v>44271</c:v>
                </c:pt>
                <c:pt idx="350">
                  <c:v>44272</c:v>
                </c:pt>
                <c:pt idx="351">
                  <c:v>44273</c:v>
                </c:pt>
                <c:pt idx="352">
                  <c:v>44274</c:v>
                </c:pt>
                <c:pt idx="353">
                  <c:v>44275</c:v>
                </c:pt>
                <c:pt idx="354">
                  <c:v>44276</c:v>
                </c:pt>
                <c:pt idx="355">
                  <c:v>44277</c:v>
                </c:pt>
                <c:pt idx="356">
                  <c:v>44278</c:v>
                </c:pt>
                <c:pt idx="357">
                  <c:v>44279</c:v>
                </c:pt>
                <c:pt idx="358">
                  <c:v>44280</c:v>
                </c:pt>
                <c:pt idx="359">
                  <c:v>44281</c:v>
                </c:pt>
                <c:pt idx="360">
                  <c:v>44282</c:v>
                </c:pt>
                <c:pt idx="361">
                  <c:v>44283</c:v>
                </c:pt>
                <c:pt idx="362">
                  <c:v>44284</c:v>
                </c:pt>
                <c:pt idx="363">
                  <c:v>44285</c:v>
                </c:pt>
                <c:pt idx="364">
                  <c:v>44286</c:v>
                </c:pt>
                <c:pt idx="365">
                  <c:v>44287</c:v>
                </c:pt>
                <c:pt idx="366">
                  <c:v>44288</c:v>
                </c:pt>
                <c:pt idx="367">
                  <c:v>44289</c:v>
                </c:pt>
                <c:pt idx="368">
                  <c:v>44290</c:v>
                </c:pt>
                <c:pt idx="369">
                  <c:v>44291</c:v>
                </c:pt>
                <c:pt idx="370">
                  <c:v>44292</c:v>
                </c:pt>
                <c:pt idx="371">
                  <c:v>44293</c:v>
                </c:pt>
                <c:pt idx="372">
                  <c:v>44294</c:v>
                </c:pt>
                <c:pt idx="373">
                  <c:v>44295</c:v>
                </c:pt>
                <c:pt idx="374">
                  <c:v>44296</c:v>
                </c:pt>
                <c:pt idx="375">
                  <c:v>44297</c:v>
                </c:pt>
                <c:pt idx="376">
                  <c:v>44298</c:v>
                </c:pt>
                <c:pt idx="377">
                  <c:v>44299</c:v>
                </c:pt>
                <c:pt idx="378">
                  <c:v>44300</c:v>
                </c:pt>
                <c:pt idx="379">
                  <c:v>44301</c:v>
                </c:pt>
                <c:pt idx="380">
                  <c:v>44302</c:v>
                </c:pt>
                <c:pt idx="381">
                  <c:v>44303</c:v>
                </c:pt>
                <c:pt idx="382">
                  <c:v>44304</c:v>
                </c:pt>
                <c:pt idx="383">
                  <c:v>44305</c:v>
                </c:pt>
                <c:pt idx="384">
                  <c:v>44306</c:v>
                </c:pt>
                <c:pt idx="385">
                  <c:v>44307</c:v>
                </c:pt>
                <c:pt idx="386">
                  <c:v>44308</c:v>
                </c:pt>
                <c:pt idx="387">
                  <c:v>44309</c:v>
                </c:pt>
                <c:pt idx="388">
                  <c:v>44310</c:v>
                </c:pt>
                <c:pt idx="389">
                  <c:v>44311</c:v>
                </c:pt>
                <c:pt idx="390">
                  <c:v>44312</c:v>
                </c:pt>
                <c:pt idx="391">
                  <c:v>44313</c:v>
                </c:pt>
                <c:pt idx="392">
                  <c:v>44314</c:v>
                </c:pt>
                <c:pt idx="393">
                  <c:v>44315</c:v>
                </c:pt>
                <c:pt idx="394">
                  <c:v>44316</c:v>
                </c:pt>
                <c:pt idx="395">
                  <c:v>44317</c:v>
                </c:pt>
                <c:pt idx="396">
                  <c:v>44318</c:v>
                </c:pt>
                <c:pt idx="397">
                  <c:v>44319</c:v>
                </c:pt>
                <c:pt idx="398">
                  <c:v>44320</c:v>
                </c:pt>
                <c:pt idx="399">
                  <c:v>44321</c:v>
                </c:pt>
                <c:pt idx="400">
                  <c:v>44322</c:v>
                </c:pt>
                <c:pt idx="401">
                  <c:v>44323</c:v>
                </c:pt>
                <c:pt idx="402">
                  <c:v>44324</c:v>
                </c:pt>
                <c:pt idx="403">
                  <c:v>44325</c:v>
                </c:pt>
                <c:pt idx="404">
                  <c:v>44326</c:v>
                </c:pt>
                <c:pt idx="405">
                  <c:v>44327</c:v>
                </c:pt>
                <c:pt idx="406">
                  <c:v>44328</c:v>
                </c:pt>
                <c:pt idx="407">
                  <c:v>44329</c:v>
                </c:pt>
                <c:pt idx="408">
                  <c:v>44330</c:v>
                </c:pt>
                <c:pt idx="409">
                  <c:v>44331</c:v>
                </c:pt>
                <c:pt idx="410">
                  <c:v>44332</c:v>
                </c:pt>
                <c:pt idx="411">
                  <c:v>44333</c:v>
                </c:pt>
                <c:pt idx="412">
                  <c:v>44334</c:v>
                </c:pt>
                <c:pt idx="413">
                  <c:v>44335</c:v>
                </c:pt>
                <c:pt idx="414">
                  <c:v>44336</c:v>
                </c:pt>
                <c:pt idx="415">
                  <c:v>44337</c:v>
                </c:pt>
                <c:pt idx="416">
                  <c:v>44338</c:v>
                </c:pt>
                <c:pt idx="417">
                  <c:v>44339</c:v>
                </c:pt>
                <c:pt idx="418">
                  <c:v>44340</c:v>
                </c:pt>
                <c:pt idx="419">
                  <c:v>44341</c:v>
                </c:pt>
                <c:pt idx="420">
                  <c:v>44342</c:v>
                </c:pt>
                <c:pt idx="421">
                  <c:v>44343</c:v>
                </c:pt>
                <c:pt idx="422">
                  <c:v>44344</c:v>
                </c:pt>
                <c:pt idx="423">
                  <c:v>44345</c:v>
                </c:pt>
                <c:pt idx="424">
                  <c:v>44346</c:v>
                </c:pt>
                <c:pt idx="425">
                  <c:v>44347</c:v>
                </c:pt>
                <c:pt idx="426">
                  <c:v>44348</c:v>
                </c:pt>
                <c:pt idx="427">
                  <c:v>44349</c:v>
                </c:pt>
                <c:pt idx="428">
                  <c:v>44350</c:v>
                </c:pt>
                <c:pt idx="429">
                  <c:v>44351</c:v>
                </c:pt>
                <c:pt idx="430">
                  <c:v>44352</c:v>
                </c:pt>
                <c:pt idx="431">
                  <c:v>44353</c:v>
                </c:pt>
                <c:pt idx="432">
                  <c:v>44354</c:v>
                </c:pt>
                <c:pt idx="433">
                  <c:v>44355</c:v>
                </c:pt>
                <c:pt idx="434">
                  <c:v>44356</c:v>
                </c:pt>
                <c:pt idx="435">
                  <c:v>44357</c:v>
                </c:pt>
                <c:pt idx="436">
                  <c:v>44358</c:v>
                </c:pt>
                <c:pt idx="437">
                  <c:v>44359</c:v>
                </c:pt>
                <c:pt idx="438">
                  <c:v>44360</c:v>
                </c:pt>
                <c:pt idx="439">
                  <c:v>44361</c:v>
                </c:pt>
                <c:pt idx="440">
                  <c:v>44362</c:v>
                </c:pt>
                <c:pt idx="441">
                  <c:v>44363</c:v>
                </c:pt>
                <c:pt idx="442">
                  <c:v>44364</c:v>
                </c:pt>
                <c:pt idx="443">
                  <c:v>44365</c:v>
                </c:pt>
                <c:pt idx="444">
                  <c:v>44366</c:v>
                </c:pt>
                <c:pt idx="445">
                  <c:v>44367</c:v>
                </c:pt>
                <c:pt idx="446">
                  <c:v>44368</c:v>
                </c:pt>
                <c:pt idx="447">
                  <c:v>44369</c:v>
                </c:pt>
                <c:pt idx="448">
                  <c:v>44370</c:v>
                </c:pt>
                <c:pt idx="449">
                  <c:v>44371</c:v>
                </c:pt>
                <c:pt idx="450">
                  <c:v>44372</c:v>
                </c:pt>
                <c:pt idx="451">
                  <c:v>44373</c:v>
                </c:pt>
                <c:pt idx="452">
                  <c:v>44374</c:v>
                </c:pt>
                <c:pt idx="453">
                  <c:v>44375</c:v>
                </c:pt>
                <c:pt idx="454">
                  <c:v>44376</c:v>
                </c:pt>
                <c:pt idx="455">
                  <c:v>44377</c:v>
                </c:pt>
                <c:pt idx="456">
                  <c:v>44378</c:v>
                </c:pt>
                <c:pt idx="457">
                  <c:v>44379</c:v>
                </c:pt>
                <c:pt idx="458">
                  <c:v>44380</c:v>
                </c:pt>
                <c:pt idx="459">
                  <c:v>44381</c:v>
                </c:pt>
                <c:pt idx="460">
                  <c:v>44382</c:v>
                </c:pt>
                <c:pt idx="461">
                  <c:v>44383</c:v>
                </c:pt>
                <c:pt idx="462">
                  <c:v>44384</c:v>
                </c:pt>
                <c:pt idx="463">
                  <c:v>44385</c:v>
                </c:pt>
                <c:pt idx="464">
                  <c:v>44386</c:v>
                </c:pt>
                <c:pt idx="465">
                  <c:v>44387</c:v>
                </c:pt>
                <c:pt idx="466">
                  <c:v>44388</c:v>
                </c:pt>
                <c:pt idx="467">
                  <c:v>44389</c:v>
                </c:pt>
                <c:pt idx="468">
                  <c:v>44390</c:v>
                </c:pt>
                <c:pt idx="469">
                  <c:v>44391</c:v>
                </c:pt>
                <c:pt idx="470">
                  <c:v>44392</c:v>
                </c:pt>
                <c:pt idx="471">
                  <c:v>44393</c:v>
                </c:pt>
                <c:pt idx="472">
                  <c:v>44394</c:v>
                </c:pt>
                <c:pt idx="473">
                  <c:v>44395</c:v>
                </c:pt>
                <c:pt idx="474">
                  <c:v>44396</c:v>
                </c:pt>
                <c:pt idx="475">
                  <c:v>44397</c:v>
                </c:pt>
                <c:pt idx="476">
                  <c:v>44398</c:v>
                </c:pt>
                <c:pt idx="477">
                  <c:v>44399</c:v>
                </c:pt>
                <c:pt idx="478">
                  <c:v>44400</c:v>
                </c:pt>
                <c:pt idx="479">
                  <c:v>44401</c:v>
                </c:pt>
                <c:pt idx="480">
                  <c:v>44402</c:v>
                </c:pt>
                <c:pt idx="481">
                  <c:v>44403</c:v>
                </c:pt>
                <c:pt idx="482">
                  <c:v>44404</c:v>
                </c:pt>
                <c:pt idx="483">
                  <c:v>44405</c:v>
                </c:pt>
                <c:pt idx="484">
                  <c:v>44406</c:v>
                </c:pt>
                <c:pt idx="485">
                  <c:v>44407</c:v>
                </c:pt>
                <c:pt idx="486">
                  <c:v>44408</c:v>
                </c:pt>
                <c:pt idx="487">
                  <c:v>44409</c:v>
                </c:pt>
                <c:pt idx="488">
                  <c:v>44410</c:v>
                </c:pt>
                <c:pt idx="489">
                  <c:v>44411</c:v>
                </c:pt>
                <c:pt idx="490">
                  <c:v>44412</c:v>
                </c:pt>
                <c:pt idx="491">
                  <c:v>44413</c:v>
                </c:pt>
                <c:pt idx="492">
                  <c:v>44414</c:v>
                </c:pt>
                <c:pt idx="493">
                  <c:v>44415</c:v>
                </c:pt>
                <c:pt idx="494">
                  <c:v>44416</c:v>
                </c:pt>
                <c:pt idx="495">
                  <c:v>44417</c:v>
                </c:pt>
                <c:pt idx="496">
                  <c:v>44418</c:v>
                </c:pt>
                <c:pt idx="497">
                  <c:v>44419</c:v>
                </c:pt>
                <c:pt idx="498">
                  <c:v>44420</c:v>
                </c:pt>
                <c:pt idx="499">
                  <c:v>44421</c:v>
                </c:pt>
                <c:pt idx="500">
                  <c:v>44422</c:v>
                </c:pt>
                <c:pt idx="501">
                  <c:v>44423</c:v>
                </c:pt>
              </c:numCache>
            </c:numRef>
          </c:cat>
          <c:val>
            <c:numRef>
              <c:f>Guatemala!$K$94:$K$598</c:f>
              <c:numCache>
                <c:formatCode>General</c:formatCode>
                <c:ptCount val="505"/>
                <c:pt idx="0">
                  <c:v>0.12</c:v>
                </c:pt>
                <c:pt idx="1">
                  <c:v>0.17499999999999999</c:v>
                </c:pt>
                <c:pt idx="2">
                  <c:v>0.17499999999999999</c:v>
                </c:pt>
                <c:pt idx="3">
                  <c:v>0.215</c:v>
                </c:pt>
                <c:pt idx="4">
                  <c:v>0.215</c:v>
                </c:pt>
                <c:pt idx="5">
                  <c:v>0.27100000000000002</c:v>
                </c:pt>
                <c:pt idx="6">
                  <c:v>0.311</c:v>
                </c:pt>
                <c:pt idx="7">
                  <c:v>0.38300000000000001</c:v>
                </c:pt>
                <c:pt idx="8">
                  <c:v>0.38300000000000001</c:v>
                </c:pt>
                <c:pt idx="9">
                  <c:v>0.60599999999999998</c:v>
                </c:pt>
                <c:pt idx="10">
                  <c:v>0.60599999999999998</c:v>
                </c:pt>
                <c:pt idx="11">
                  <c:v>0.75</c:v>
                </c:pt>
                <c:pt idx="12">
                  <c:v>0.68600000000000005</c:v>
                </c:pt>
                <c:pt idx="13">
                  <c:v>0.71799999999999997</c:v>
                </c:pt>
                <c:pt idx="14">
                  <c:v>0.74199999999999999</c:v>
                </c:pt>
                <c:pt idx="15">
                  <c:v>0.80500000000000005</c:v>
                </c:pt>
                <c:pt idx="16">
                  <c:v>0.70199999999999996</c:v>
                </c:pt>
                <c:pt idx="17">
                  <c:v>0.78100000000000003</c:v>
                </c:pt>
                <c:pt idx="18">
                  <c:v>0.81299999999999994</c:v>
                </c:pt>
                <c:pt idx="19">
                  <c:v>1.0609999999999999</c:v>
                </c:pt>
                <c:pt idx="20">
                  <c:v>1.0129999999999999</c:v>
                </c:pt>
                <c:pt idx="21">
                  <c:v>1.0840000000000001</c:v>
                </c:pt>
                <c:pt idx="22">
                  <c:v>1.4990000000000001</c:v>
                </c:pt>
                <c:pt idx="23">
                  <c:v>1.722</c:v>
                </c:pt>
                <c:pt idx="24">
                  <c:v>1.8979999999999999</c:v>
                </c:pt>
                <c:pt idx="25">
                  <c:v>1.9379999999999999</c:v>
                </c:pt>
                <c:pt idx="26">
                  <c:v>1.9219999999999999</c:v>
                </c:pt>
                <c:pt idx="27">
                  <c:v>1.8819999999999999</c:v>
                </c:pt>
                <c:pt idx="28">
                  <c:v>1.9219999999999999</c:v>
                </c:pt>
                <c:pt idx="29">
                  <c:v>1.714</c:v>
                </c:pt>
                <c:pt idx="30">
                  <c:v>1.706</c:v>
                </c:pt>
                <c:pt idx="31">
                  <c:v>1.714</c:v>
                </c:pt>
                <c:pt idx="32">
                  <c:v>1.619</c:v>
                </c:pt>
                <c:pt idx="33">
                  <c:v>1.595</c:v>
                </c:pt>
                <c:pt idx="34">
                  <c:v>1.8580000000000001</c:v>
                </c:pt>
                <c:pt idx="35">
                  <c:v>1.9219999999999999</c:v>
                </c:pt>
                <c:pt idx="36">
                  <c:v>1.8580000000000001</c:v>
                </c:pt>
                <c:pt idx="37">
                  <c:v>2.0409999999999999</c:v>
                </c:pt>
                <c:pt idx="38">
                  <c:v>2.2250000000000001</c:v>
                </c:pt>
                <c:pt idx="39">
                  <c:v>2.7829999999999999</c:v>
                </c:pt>
                <c:pt idx="40">
                  <c:v>3.0619999999999998</c:v>
                </c:pt>
                <c:pt idx="41">
                  <c:v>3.4769999999999999</c:v>
                </c:pt>
                <c:pt idx="42">
                  <c:v>4.3380000000000001</c:v>
                </c:pt>
                <c:pt idx="43">
                  <c:v>5.47</c:v>
                </c:pt>
                <c:pt idx="44">
                  <c:v>5.9249999999999998</c:v>
                </c:pt>
                <c:pt idx="45">
                  <c:v>6.3470000000000004</c:v>
                </c:pt>
                <c:pt idx="46">
                  <c:v>5.6689999999999996</c:v>
                </c:pt>
                <c:pt idx="47">
                  <c:v>6.3630000000000004</c:v>
                </c:pt>
                <c:pt idx="48">
                  <c:v>7.4480000000000004</c:v>
                </c:pt>
                <c:pt idx="49">
                  <c:v>7.36</c:v>
                </c:pt>
                <c:pt idx="50">
                  <c:v>7.9260000000000002</c:v>
                </c:pt>
                <c:pt idx="51">
                  <c:v>8.7710000000000008</c:v>
                </c:pt>
                <c:pt idx="52">
                  <c:v>10.294</c:v>
                </c:pt>
                <c:pt idx="53">
                  <c:v>13.244999999999999</c:v>
                </c:pt>
                <c:pt idx="54">
                  <c:v>14.736000000000001</c:v>
                </c:pt>
                <c:pt idx="55">
                  <c:v>14.52</c:v>
                </c:pt>
                <c:pt idx="56">
                  <c:v>14.991</c:v>
                </c:pt>
                <c:pt idx="57">
                  <c:v>14.64</c:v>
                </c:pt>
                <c:pt idx="58">
                  <c:v>14.863</c:v>
                </c:pt>
                <c:pt idx="59">
                  <c:v>13.436</c:v>
                </c:pt>
                <c:pt idx="60">
                  <c:v>13.260999999999999</c:v>
                </c:pt>
                <c:pt idx="61">
                  <c:v>12.567</c:v>
                </c:pt>
                <c:pt idx="62">
                  <c:v>13.013</c:v>
                </c:pt>
                <c:pt idx="63">
                  <c:v>12.878</c:v>
                </c:pt>
                <c:pt idx="64">
                  <c:v>14.401</c:v>
                </c:pt>
                <c:pt idx="65">
                  <c:v>14.975</c:v>
                </c:pt>
                <c:pt idx="66">
                  <c:v>16.37</c:v>
                </c:pt>
                <c:pt idx="67">
                  <c:v>15.693</c:v>
                </c:pt>
                <c:pt idx="68">
                  <c:v>17.271000000000001</c:v>
                </c:pt>
                <c:pt idx="69">
                  <c:v>18.181000000000001</c:v>
                </c:pt>
                <c:pt idx="70">
                  <c:v>19.623999999999999</c:v>
                </c:pt>
                <c:pt idx="71">
                  <c:v>19.193000000000001</c:v>
                </c:pt>
                <c:pt idx="72">
                  <c:v>19.911000000000001</c:v>
                </c:pt>
                <c:pt idx="73">
                  <c:v>21.521999999999998</c:v>
                </c:pt>
                <c:pt idx="74">
                  <c:v>22.247</c:v>
                </c:pt>
                <c:pt idx="75">
                  <c:v>22.088000000000001</c:v>
                </c:pt>
                <c:pt idx="76">
                  <c:v>22.646000000000001</c:v>
                </c:pt>
                <c:pt idx="77">
                  <c:v>24.161000000000001</c:v>
                </c:pt>
                <c:pt idx="78">
                  <c:v>26.37</c:v>
                </c:pt>
                <c:pt idx="79">
                  <c:v>28.123999999999999</c:v>
                </c:pt>
                <c:pt idx="80">
                  <c:v>26.027000000000001</c:v>
                </c:pt>
                <c:pt idx="81">
                  <c:v>26.314</c:v>
                </c:pt>
                <c:pt idx="82">
                  <c:v>27.885000000000002</c:v>
                </c:pt>
                <c:pt idx="83">
                  <c:v>30.571999999999999</c:v>
                </c:pt>
                <c:pt idx="84">
                  <c:v>28.451000000000001</c:v>
                </c:pt>
                <c:pt idx="85">
                  <c:v>29.91</c:v>
                </c:pt>
                <c:pt idx="86">
                  <c:v>26.465</c:v>
                </c:pt>
                <c:pt idx="87">
                  <c:v>29.041</c:v>
                </c:pt>
                <c:pt idx="88">
                  <c:v>30.181000000000001</c:v>
                </c:pt>
                <c:pt idx="89">
                  <c:v>29.024999999999999</c:v>
                </c:pt>
                <c:pt idx="90">
                  <c:v>28.355</c:v>
                </c:pt>
                <c:pt idx="91">
                  <c:v>33.427</c:v>
                </c:pt>
                <c:pt idx="92">
                  <c:v>35.508000000000003</c:v>
                </c:pt>
                <c:pt idx="93">
                  <c:v>43.576999999999998</c:v>
                </c:pt>
                <c:pt idx="94">
                  <c:v>48.673000000000002</c:v>
                </c:pt>
                <c:pt idx="95">
                  <c:v>50.378999999999998</c:v>
                </c:pt>
                <c:pt idx="96">
                  <c:v>52.332999999999998</c:v>
                </c:pt>
                <c:pt idx="97">
                  <c:v>53.353000000000002</c:v>
                </c:pt>
                <c:pt idx="98">
                  <c:v>51.033000000000001</c:v>
                </c:pt>
                <c:pt idx="99">
                  <c:v>52.515999999999998</c:v>
                </c:pt>
                <c:pt idx="100">
                  <c:v>50.442999999999998</c:v>
                </c:pt>
                <c:pt idx="101">
                  <c:v>48.616999999999997</c:v>
                </c:pt>
                <c:pt idx="102">
                  <c:v>48.697000000000003</c:v>
                </c:pt>
                <c:pt idx="103">
                  <c:v>46.009</c:v>
                </c:pt>
                <c:pt idx="104">
                  <c:v>48.521000000000001</c:v>
                </c:pt>
                <c:pt idx="105">
                  <c:v>53.13</c:v>
                </c:pt>
                <c:pt idx="106">
                  <c:v>50.084000000000003</c:v>
                </c:pt>
                <c:pt idx="107">
                  <c:v>49.359000000000002</c:v>
                </c:pt>
                <c:pt idx="108">
                  <c:v>75.305999999999997</c:v>
                </c:pt>
                <c:pt idx="109">
                  <c:v>74.332999999999998</c:v>
                </c:pt>
                <c:pt idx="110">
                  <c:v>74.132999999999996</c:v>
                </c:pt>
                <c:pt idx="111">
                  <c:v>74.611999999999995</c:v>
                </c:pt>
                <c:pt idx="112">
                  <c:v>72.251999999999995</c:v>
                </c:pt>
                <c:pt idx="113">
                  <c:v>73.783000000000001</c:v>
                </c:pt>
                <c:pt idx="114">
                  <c:v>75.545000000000002</c:v>
                </c:pt>
                <c:pt idx="115">
                  <c:v>51.432000000000002</c:v>
                </c:pt>
                <c:pt idx="116">
                  <c:v>50.841999999999999</c:v>
                </c:pt>
                <c:pt idx="117">
                  <c:v>49.996000000000002</c:v>
                </c:pt>
                <c:pt idx="118">
                  <c:v>49.613999999999997</c:v>
                </c:pt>
                <c:pt idx="119">
                  <c:v>51.591000000000001</c:v>
                </c:pt>
                <c:pt idx="120">
                  <c:v>52.899000000000001</c:v>
                </c:pt>
                <c:pt idx="121">
                  <c:v>51.878</c:v>
                </c:pt>
                <c:pt idx="122">
                  <c:v>51.726999999999997</c:v>
                </c:pt>
                <c:pt idx="123">
                  <c:v>49.860999999999997</c:v>
                </c:pt>
                <c:pt idx="124">
                  <c:v>49.701000000000001</c:v>
                </c:pt>
                <c:pt idx="125">
                  <c:v>47.158000000000001</c:v>
                </c:pt>
                <c:pt idx="126">
                  <c:v>47.078000000000003</c:v>
                </c:pt>
                <c:pt idx="127">
                  <c:v>43.96</c:v>
                </c:pt>
                <c:pt idx="128">
                  <c:v>43.704999999999998</c:v>
                </c:pt>
                <c:pt idx="129">
                  <c:v>41.543999999999997</c:v>
                </c:pt>
                <c:pt idx="130">
                  <c:v>42.253999999999998</c:v>
                </c:pt>
                <c:pt idx="131">
                  <c:v>43.417999999999999</c:v>
                </c:pt>
                <c:pt idx="132">
                  <c:v>44.661999999999999</c:v>
                </c:pt>
                <c:pt idx="133">
                  <c:v>44.494</c:v>
                </c:pt>
                <c:pt idx="134">
                  <c:v>47.405000000000001</c:v>
                </c:pt>
                <c:pt idx="135">
                  <c:v>49.103000000000002</c:v>
                </c:pt>
                <c:pt idx="136">
                  <c:v>48.832000000000001</c:v>
                </c:pt>
                <c:pt idx="137">
                  <c:v>47.500999999999998</c:v>
                </c:pt>
                <c:pt idx="138">
                  <c:v>47.500999999999998</c:v>
                </c:pt>
                <c:pt idx="139">
                  <c:v>46.895000000000003</c:v>
                </c:pt>
                <c:pt idx="140">
                  <c:v>46.185000000000002</c:v>
                </c:pt>
                <c:pt idx="141">
                  <c:v>45.442999999999998</c:v>
                </c:pt>
                <c:pt idx="142">
                  <c:v>43.96</c:v>
                </c:pt>
                <c:pt idx="143">
                  <c:v>44.198999999999998</c:v>
                </c:pt>
                <c:pt idx="144">
                  <c:v>44.860999999999997</c:v>
                </c:pt>
                <c:pt idx="145">
                  <c:v>44.566000000000003</c:v>
                </c:pt>
                <c:pt idx="146">
                  <c:v>46.280999999999999</c:v>
                </c:pt>
                <c:pt idx="147">
                  <c:v>46.512</c:v>
                </c:pt>
                <c:pt idx="148">
                  <c:v>46.831000000000003</c:v>
                </c:pt>
                <c:pt idx="149">
                  <c:v>47.683999999999997</c:v>
                </c:pt>
                <c:pt idx="150">
                  <c:v>46.432000000000002</c:v>
                </c:pt>
                <c:pt idx="151">
                  <c:v>45.643000000000001</c:v>
                </c:pt>
                <c:pt idx="152">
                  <c:v>44.183</c:v>
                </c:pt>
                <c:pt idx="153">
                  <c:v>41.798999999999999</c:v>
                </c:pt>
                <c:pt idx="154">
                  <c:v>39.311</c:v>
                </c:pt>
                <c:pt idx="155">
                  <c:v>35.899000000000001</c:v>
                </c:pt>
                <c:pt idx="156">
                  <c:v>32.844999999999999</c:v>
                </c:pt>
                <c:pt idx="157">
                  <c:v>30.317</c:v>
                </c:pt>
                <c:pt idx="158">
                  <c:v>30.07</c:v>
                </c:pt>
                <c:pt idx="159">
                  <c:v>29.934000000000001</c:v>
                </c:pt>
                <c:pt idx="160">
                  <c:v>30.524000000000001</c:v>
                </c:pt>
                <c:pt idx="161">
                  <c:v>31.72</c:v>
                </c:pt>
                <c:pt idx="162">
                  <c:v>31.481000000000002</c:v>
                </c:pt>
                <c:pt idx="163">
                  <c:v>31.648</c:v>
                </c:pt>
                <c:pt idx="164">
                  <c:v>33.307000000000002</c:v>
                </c:pt>
                <c:pt idx="165">
                  <c:v>33.698</c:v>
                </c:pt>
                <c:pt idx="166">
                  <c:v>34.639000000000003</c:v>
                </c:pt>
                <c:pt idx="167">
                  <c:v>31.600999999999999</c:v>
                </c:pt>
                <c:pt idx="168">
                  <c:v>26.33</c:v>
                </c:pt>
                <c:pt idx="169">
                  <c:v>26.776</c:v>
                </c:pt>
                <c:pt idx="170">
                  <c:v>26.593</c:v>
                </c:pt>
                <c:pt idx="171">
                  <c:v>27.861000000000001</c:v>
                </c:pt>
                <c:pt idx="172">
                  <c:v>28.187999999999999</c:v>
                </c:pt>
                <c:pt idx="173">
                  <c:v>27.98</c:v>
                </c:pt>
                <c:pt idx="174">
                  <c:v>31.408999999999999</c:v>
                </c:pt>
                <c:pt idx="175">
                  <c:v>36.026000000000003</c:v>
                </c:pt>
                <c:pt idx="176">
                  <c:v>34.040999999999997</c:v>
                </c:pt>
                <c:pt idx="177">
                  <c:v>36.154000000000003</c:v>
                </c:pt>
                <c:pt idx="178">
                  <c:v>36.280999999999999</c:v>
                </c:pt>
                <c:pt idx="179">
                  <c:v>37.063000000000002</c:v>
                </c:pt>
                <c:pt idx="180">
                  <c:v>36.536000000000001</c:v>
                </c:pt>
                <c:pt idx="181">
                  <c:v>34.646999999999998</c:v>
                </c:pt>
                <c:pt idx="182">
                  <c:v>34.32</c:v>
                </c:pt>
                <c:pt idx="183">
                  <c:v>35.691000000000003</c:v>
                </c:pt>
                <c:pt idx="184">
                  <c:v>33.585999999999999</c:v>
                </c:pt>
                <c:pt idx="185">
                  <c:v>32.262</c:v>
                </c:pt>
                <c:pt idx="186">
                  <c:v>30.867000000000001</c:v>
                </c:pt>
                <c:pt idx="187">
                  <c:v>31.25</c:v>
                </c:pt>
                <c:pt idx="188">
                  <c:v>31.114000000000001</c:v>
                </c:pt>
                <c:pt idx="189">
                  <c:v>31.561</c:v>
                </c:pt>
                <c:pt idx="190">
                  <c:v>32.462000000000003</c:v>
                </c:pt>
                <c:pt idx="191">
                  <c:v>30.66</c:v>
                </c:pt>
                <c:pt idx="192">
                  <c:v>30.268999999999998</c:v>
                </c:pt>
                <c:pt idx="193">
                  <c:v>29.917999999999999</c:v>
                </c:pt>
                <c:pt idx="194">
                  <c:v>29.056999999999999</c:v>
                </c:pt>
                <c:pt idx="195">
                  <c:v>27.988</c:v>
                </c:pt>
                <c:pt idx="196">
                  <c:v>27.032</c:v>
                </c:pt>
                <c:pt idx="197">
                  <c:v>26.193999999999999</c:v>
                </c:pt>
                <c:pt idx="198">
                  <c:v>27.876999999999999</c:v>
                </c:pt>
                <c:pt idx="199">
                  <c:v>27.780999999999999</c:v>
                </c:pt>
                <c:pt idx="200">
                  <c:v>29.065000000000001</c:v>
                </c:pt>
                <c:pt idx="201">
                  <c:v>30.085999999999999</c:v>
                </c:pt>
                <c:pt idx="202">
                  <c:v>30.611999999999998</c:v>
                </c:pt>
                <c:pt idx="203">
                  <c:v>26.481000000000002</c:v>
                </c:pt>
                <c:pt idx="204">
                  <c:v>27.167000000000002</c:v>
                </c:pt>
                <c:pt idx="205">
                  <c:v>27.677</c:v>
                </c:pt>
                <c:pt idx="206">
                  <c:v>28.738</c:v>
                </c:pt>
                <c:pt idx="207">
                  <c:v>27.327000000000002</c:v>
                </c:pt>
                <c:pt idx="208">
                  <c:v>26.274000000000001</c:v>
                </c:pt>
                <c:pt idx="209">
                  <c:v>26.728999999999999</c:v>
                </c:pt>
                <c:pt idx="210">
                  <c:v>31.138000000000002</c:v>
                </c:pt>
                <c:pt idx="211">
                  <c:v>28.85</c:v>
                </c:pt>
                <c:pt idx="212">
                  <c:v>27.405999999999999</c:v>
                </c:pt>
                <c:pt idx="213">
                  <c:v>26.37</c:v>
                </c:pt>
                <c:pt idx="214">
                  <c:v>26.449000000000002</c:v>
                </c:pt>
                <c:pt idx="215">
                  <c:v>25.596</c:v>
                </c:pt>
                <c:pt idx="216">
                  <c:v>23.22</c:v>
                </c:pt>
                <c:pt idx="217">
                  <c:v>22.542000000000002</c:v>
                </c:pt>
                <c:pt idx="218">
                  <c:v>24.391999999999999</c:v>
                </c:pt>
                <c:pt idx="219">
                  <c:v>25.221</c:v>
                </c:pt>
                <c:pt idx="220">
                  <c:v>24.806999999999999</c:v>
                </c:pt>
                <c:pt idx="221">
                  <c:v>25.181999999999999</c:v>
                </c:pt>
                <c:pt idx="222">
                  <c:v>25.963000000000001</c:v>
                </c:pt>
                <c:pt idx="223">
                  <c:v>29.073</c:v>
                </c:pt>
                <c:pt idx="224">
                  <c:v>29.216000000000001</c:v>
                </c:pt>
                <c:pt idx="225">
                  <c:v>29.456</c:v>
                </c:pt>
                <c:pt idx="226">
                  <c:v>28.873999999999999</c:v>
                </c:pt>
                <c:pt idx="227">
                  <c:v>29.256</c:v>
                </c:pt>
                <c:pt idx="228">
                  <c:v>28.888999999999999</c:v>
                </c:pt>
                <c:pt idx="229">
                  <c:v>29.28</c:v>
                </c:pt>
                <c:pt idx="230">
                  <c:v>28.713999999999999</c:v>
                </c:pt>
                <c:pt idx="231">
                  <c:v>28.466999999999999</c:v>
                </c:pt>
                <c:pt idx="232">
                  <c:v>28.091999999999999</c:v>
                </c:pt>
                <c:pt idx="233">
                  <c:v>28.977</c:v>
                </c:pt>
                <c:pt idx="234">
                  <c:v>29.488</c:v>
                </c:pt>
                <c:pt idx="235">
                  <c:v>29.853999999999999</c:v>
                </c:pt>
                <c:pt idx="236">
                  <c:v>29.423999999999999</c:v>
                </c:pt>
                <c:pt idx="237">
                  <c:v>28.858000000000001</c:v>
                </c:pt>
                <c:pt idx="238">
                  <c:v>28.77</c:v>
                </c:pt>
                <c:pt idx="239">
                  <c:v>28.858000000000001</c:v>
                </c:pt>
                <c:pt idx="240">
                  <c:v>26.911999999999999</c:v>
                </c:pt>
                <c:pt idx="241">
                  <c:v>26.96</c:v>
                </c:pt>
                <c:pt idx="242">
                  <c:v>26.649000000000001</c:v>
                </c:pt>
                <c:pt idx="243">
                  <c:v>26.632999999999999</c:v>
                </c:pt>
                <c:pt idx="244">
                  <c:v>27.311</c:v>
                </c:pt>
                <c:pt idx="245">
                  <c:v>27.677</c:v>
                </c:pt>
                <c:pt idx="246">
                  <c:v>26.856000000000002</c:v>
                </c:pt>
                <c:pt idx="247">
                  <c:v>29.288</c:v>
                </c:pt>
                <c:pt idx="248">
                  <c:v>28.338999999999999</c:v>
                </c:pt>
                <c:pt idx="249">
                  <c:v>28.539000000000001</c:v>
                </c:pt>
                <c:pt idx="250">
                  <c:v>28.802</c:v>
                </c:pt>
                <c:pt idx="251">
                  <c:v>29.495000000000001</c:v>
                </c:pt>
                <c:pt idx="252">
                  <c:v>29.24</c:v>
                </c:pt>
                <c:pt idx="253">
                  <c:v>29.766999999999999</c:v>
                </c:pt>
                <c:pt idx="254">
                  <c:v>29.791</c:v>
                </c:pt>
                <c:pt idx="255">
                  <c:v>29.878</c:v>
                </c:pt>
                <c:pt idx="256">
                  <c:v>29.759</c:v>
                </c:pt>
                <c:pt idx="257">
                  <c:v>29.751000000000001</c:v>
                </c:pt>
                <c:pt idx="258">
                  <c:v>28.777999999999999</c:v>
                </c:pt>
                <c:pt idx="259">
                  <c:v>29.510999999999999</c:v>
                </c:pt>
                <c:pt idx="260">
                  <c:v>29.097000000000001</c:v>
                </c:pt>
                <c:pt idx="261">
                  <c:v>28.076000000000001</c:v>
                </c:pt>
                <c:pt idx="262">
                  <c:v>27.876999999999999</c:v>
                </c:pt>
                <c:pt idx="263">
                  <c:v>27.773</c:v>
                </c:pt>
                <c:pt idx="264">
                  <c:v>27.606000000000002</c:v>
                </c:pt>
                <c:pt idx="265">
                  <c:v>28.06</c:v>
                </c:pt>
                <c:pt idx="266">
                  <c:v>27.335000000000001</c:v>
                </c:pt>
                <c:pt idx="267">
                  <c:v>27.582000000000001</c:v>
                </c:pt>
                <c:pt idx="268">
                  <c:v>24.065000000000001</c:v>
                </c:pt>
                <c:pt idx="269">
                  <c:v>20.541</c:v>
                </c:pt>
                <c:pt idx="270">
                  <c:v>20.286000000000001</c:v>
                </c:pt>
                <c:pt idx="271">
                  <c:v>20.524999999999999</c:v>
                </c:pt>
                <c:pt idx="272">
                  <c:v>21.417999999999999</c:v>
                </c:pt>
                <c:pt idx="273">
                  <c:v>23.204000000000001</c:v>
                </c:pt>
                <c:pt idx="274">
                  <c:v>24.863</c:v>
                </c:pt>
                <c:pt idx="275">
                  <c:v>25.166</c:v>
                </c:pt>
                <c:pt idx="276">
                  <c:v>25.077999999999999</c:v>
                </c:pt>
                <c:pt idx="277">
                  <c:v>25.245000000000001</c:v>
                </c:pt>
                <c:pt idx="278">
                  <c:v>25.635999999999999</c:v>
                </c:pt>
                <c:pt idx="279">
                  <c:v>24.974</c:v>
                </c:pt>
                <c:pt idx="280">
                  <c:v>24.209</c:v>
                </c:pt>
                <c:pt idx="281">
                  <c:v>24.416</c:v>
                </c:pt>
                <c:pt idx="282">
                  <c:v>30.524000000000001</c:v>
                </c:pt>
                <c:pt idx="283">
                  <c:v>38.362000000000002</c:v>
                </c:pt>
                <c:pt idx="284">
                  <c:v>38.020000000000003</c:v>
                </c:pt>
                <c:pt idx="285">
                  <c:v>36.576000000000001</c:v>
                </c:pt>
                <c:pt idx="286">
                  <c:v>44.359000000000002</c:v>
                </c:pt>
                <c:pt idx="287">
                  <c:v>46.121000000000002</c:v>
                </c:pt>
                <c:pt idx="288">
                  <c:v>46.750999999999998</c:v>
                </c:pt>
                <c:pt idx="289">
                  <c:v>43.825000000000003</c:v>
                </c:pt>
                <c:pt idx="290">
                  <c:v>43.625</c:v>
                </c:pt>
                <c:pt idx="291">
                  <c:v>45.012999999999998</c:v>
                </c:pt>
                <c:pt idx="292">
                  <c:v>47.07</c:v>
                </c:pt>
                <c:pt idx="293">
                  <c:v>42.222000000000001</c:v>
                </c:pt>
                <c:pt idx="294">
                  <c:v>42.564999999999998</c:v>
                </c:pt>
                <c:pt idx="295">
                  <c:v>43.521999999999998</c:v>
                </c:pt>
                <c:pt idx="296">
                  <c:v>43.027000000000001</c:v>
                </c:pt>
                <c:pt idx="297">
                  <c:v>42.198</c:v>
                </c:pt>
                <c:pt idx="298">
                  <c:v>42.453000000000003</c:v>
                </c:pt>
                <c:pt idx="299">
                  <c:v>42.134</c:v>
                </c:pt>
                <c:pt idx="300">
                  <c:v>41.320999999999998</c:v>
                </c:pt>
                <c:pt idx="301">
                  <c:v>41.249000000000002</c:v>
                </c:pt>
                <c:pt idx="302">
                  <c:v>41.463999999999999</c:v>
                </c:pt>
                <c:pt idx="303">
                  <c:v>42.9</c:v>
                </c:pt>
                <c:pt idx="304">
                  <c:v>41.688000000000002</c:v>
                </c:pt>
                <c:pt idx="305">
                  <c:v>42.198</c:v>
                </c:pt>
                <c:pt idx="306">
                  <c:v>41.48</c:v>
                </c:pt>
                <c:pt idx="307">
                  <c:v>38.594000000000001</c:v>
                </c:pt>
                <c:pt idx="308">
                  <c:v>35.634999999999998</c:v>
                </c:pt>
                <c:pt idx="309">
                  <c:v>32.454000000000001</c:v>
                </c:pt>
                <c:pt idx="310">
                  <c:v>31.568999999999999</c:v>
                </c:pt>
                <c:pt idx="311">
                  <c:v>30.452000000000002</c:v>
                </c:pt>
                <c:pt idx="312">
                  <c:v>28.969000000000001</c:v>
                </c:pt>
                <c:pt idx="313">
                  <c:v>28.826000000000001</c:v>
                </c:pt>
                <c:pt idx="314">
                  <c:v>29.456</c:v>
                </c:pt>
                <c:pt idx="315">
                  <c:v>30.140999999999998</c:v>
                </c:pt>
                <c:pt idx="316">
                  <c:v>30.835000000000001</c:v>
                </c:pt>
                <c:pt idx="317">
                  <c:v>31.8</c:v>
                </c:pt>
                <c:pt idx="318">
                  <c:v>32.963999999999999</c:v>
                </c:pt>
                <c:pt idx="319">
                  <c:v>33.027999999999999</c:v>
                </c:pt>
                <c:pt idx="320">
                  <c:v>32.979999999999997</c:v>
                </c:pt>
                <c:pt idx="321">
                  <c:v>32.773000000000003</c:v>
                </c:pt>
                <c:pt idx="322">
                  <c:v>32.963999999999999</c:v>
                </c:pt>
                <c:pt idx="323">
                  <c:v>32.518000000000001</c:v>
                </c:pt>
                <c:pt idx="324">
                  <c:v>31.832000000000001</c:v>
                </c:pt>
                <c:pt idx="325">
                  <c:v>30.779</c:v>
                </c:pt>
                <c:pt idx="326">
                  <c:v>31.026</c:v>
                </c:pt>
                <c:pt idx="327">
                  <c:v>31.146000000000001</c:v>
                </c:pt>
                <c:pt idx="328">
                  <c:v>31.648</c:v>
                </c:pt>
                <c:pt idx="329">
                  <c:v>30.971</c:v>
                </c:pt>
                <c:pt idx="330">
                  <c:v>28.164000000000001</c:v>
                </c:pt>
                <c:pt idx="331">
                  <c:v>28.22</c:v>
                </c:pt>
                <c:pt idx="332">
                  <c:v>27.143000000000001</c:v>
                </c:pt>
                <c:pt idx="333">
                  <c:v>26.888000000000002</c:v>
                </c:pt>
                <c:pt idx="334">
                  <c:v>26.824000000000002</c:v>
                </c:pt>
                <c:pt idx="335">
                  <c:v>26.625</c:v>
                </c:pt>
                <c:pt idx="336">
                  <c:v>27.797000000000001</c:v>
                </c:pt>
                <c:pt idx="337">
                  <c:v>29.774999999999999</c:v>
                </c:pt>
                <c:pt idx="338">
                  <c:v>31.114000000000001</c:v>
                </c:pt>
                <c:pt idx="339">
                  <c:v>31.911999999999999</c:v>
                </c:pt>
                <c:pt idx="340">
                  <c:v>32.039000000000001</c:v>
                </c:pt>
                <c:pt idx="341">
                  <c:v>32.829000000000001</c:v>
                </c:pt>
                <c:pt idx="342">
                  <c:v>33.107999999999997</c:v>
                </c:pt>
                <c:pt idx="343">
                  <c:v>33.036000000000001</c:v>
                </c:pt>
                <c:pt idx="344">
                  <c:v>34.024999999999999</c:v>
                </c:pt>
                <c:pt idx="345">
                  <c:v>33.953000000000003</c:v>
                </c:pt>
                <c:pt idx="346">
                  <c:v>34.622999999999998</c:v>
                </c:pt>
                <c:pt idx="347">
                  <c:v>34.454999999999998</c:v>
                </c:pt>
                <c:pt idx="348">
                  <c:v>33.841000000000001</c:v>
                </c:pt>
                <c:pt idx="349">
                  <c:v>35.261000000000003</c:v>
                </c:pt>
                <c:pt idx="350">
                  <c:v>36.21</c:v>
                </c:pt>
                <c:pt idx="351">
                  <c:v>37.39</c:v>
                </c:pt>
                <c:pt idx="352">
                  <c:v>38.003999999999998</c:v>
                </c:pt>
                <c:pt idx="353">
                  <c:v>39.71</c:v>
                </c:pt>
                <c:pt idx="354">
                  <c:v>40.109000000000002</c:v>
                </c:pt>
                <c:pt idx="355">
                  <c:v>40.707000000000001</c:v>
                </c:pt>
                <c:pt idx="356">
                  <c:v>40.523000000000003</c:v>
                </c:pt>
                <c:pt idx="357">
                  <c:v>42.054000000000002</c:v>
                </c:pt>
                <c:pt idx="358">
                  <c:v>42.86</c:v>
                </c:pt>
                <c:pt idx="359">
                  <c:v>43.003</c:v>
                </c:pt>
                <c:pt idx="360">
                  <c:v>42.987000000000002</c:v>
                </c:pt>
                <c:pt idx="361">
                  <c:v>43.585000000000001</c:v>
                </c:pt>
                <c:pt idx="362">
                  <c:v>43.353999999999999</c:v>
                </c:pt>
                <c:pt idx="363">
                  <c:v>38.012</c:v>
                </c:pt>
                <c:pt idx="364">
                  <c:v>28.913</c:v>
                </c:pt>
                <c:pt idx="365">
                  <c:v>28.298999999999999</c:v>
                </c:pt>
                <c:pt idx="366">
                  <c:v>23.148</c:v>
                </c:pt>
                <c:pt idx="367">
                  <c:v>17.454999999999998</c:v>
                </c:pt>
                <c:pt idx="368">
                  <c:v>16.696999999999999</c:v>
                </c:pt>
                <c:pt idx="369">
                  <c:v>16.937000000000001</c:v>
                </c:pt>
                <c:pt idx="370">
                  <c:v>25.405000000000001</c:v>
                </c:pt>
                <c:pt idx="371">
                  <c:v>36.201999999999998</c:v>
                </c:pt>
                <c:pt idx="372">
                  <c:v>41.527999999999999</c:v>
                </c:pt>
                <c:pt idx="373">
                  <c:v>49.908999999999999</c:v>
                </c:pt>
                <c:pt idx="374">
                  <c:v>59.015000000000001</c:v>
                </c:pt>
                <c:pt idx="375">
                  <c:v>60.601999999999997</c:v>
                </c:pt>
                <c:pt idx="376">
                  <c:v>60.832999999999998</c:v>
                </c:pt>
                <c:pt idx="377">
                  <c:v>66.198999999999998</c:v>
                </c:pt>
                <c:pt idx="378">
                  <c:v>69.796000000000006</c:v>
                </c:pt>
                <c:pt idx="379">
                  <c:v>69.611999999999995</c:v>
                </c:pt>
                <c:pt idx="380">
                  <c:v>74.730999999999995</c:v>
                </c:pt>
                <c:pt idx="381">
                  <c:v>77.084000000000003</c:v>
                </c:pt>
                <c:pt idx="382">
                  <c:v>77.052000000000007</c:v>
                </c:pt>
                <c:pt idx="383">
                  <c:v>77.665999999999997</c:v>
                </c:pt>
                <c:pt idx="384">
                  <c:v>74.778999999999996</c:v>
                </c:pt>
                <c:pt idx="385">
                  <c:v>73.376000000000005</c:v>
                </c:pt>
                <c:pt idx="386">
                  <c:v>75.361000000000004</c:v>
                </c:pt>
                <c:pt idx="387">
                  <c:v>72.738</c:v>
                </c:pt>
                <c:pt idx="388">
                  <c:v>71.765000000000001</c:v>
                </c:pt>
                <c:pt idx="389">
                  <c:v>71.477999999999994</c:v>
                </c:pt>
                <c:pt idx="390">
                  <c:v>70.888000000000005</c:v>
                </c:pt>
                <c:pt idx="391">
                  <c:v>66.382999999999996</c:v>
                </c:pt>
                <c:pt idx="392">
                  <c:v>66.12</c:v>
                </c:pt>
                <c:pt idx="393">
                  <c:v>64.605000000000004</c:v>
                </c:pt>
                <c:pt idx="394">
                  <c:v>62.85</c:v>
                </c:pt>
                <c:pt idx="395">
                  <c:v>57.173000000000002</c:v>
                </c:pt>
                <c:pt idx="396">
                  <c:v>55.706000000000003</c:v>
                </c:pt>
                <c:pt idx="397">
                  <c:v>55.274999999999999</c:v>
                </c:pt>
                <c:pt idx="398">
                  <c:v>56.375999999999998</c:v>
                </c:pt>
                <c:pt idx="399">
                  <c:v>53.17</c:v>
                </c:pt>
                <c:pt idx="400">
                  <c:v>49.374000000000002</c:v>
                </c:pt>
                <c:pt idx="401">
                  <c:v>48.042999999999999</c:v>
                </c:pt>
                <c:pt idx="402">
                  <c:v>51.081000000000003</c:v>
                </c:pt>
                <c:pt idx="403">
                  <c:v>51.145000000000003</c:v>
                </c:pt>
                <c:pt idx="404">
                  <c:v>51.295999999999999</c:v>
                </c:pt>
                <c:pt idx="405">
                  <c:v>49.207000000000001</c:v>
                </c:pt>
                <c:pt idx="406">
                  <c:v>50.976999999999997</c:v>
                </c:pt>
                <c:pt idx="407">
                  <c:v>50.618000000000002</c:v>
                </c:pt>
                <c:pt idx="408">
                  <c:v>51.622999999999998</c:v>
                </c:pt>
                <c:pt idx="409">
                  <c:v>49.709000000000003</c:v>
                </c:pt>
                <c:pt idx="410">
                  <c:v>50.003999999999998</c:v>
                </c:pt>
                <c:pt idx="411">
                  <c:v>49.63</c:v>
                </c:pt>
                <c:pt idx="412">
                  <c:v>51.973999999999997</c:v>
                </c:pt>
                <c:pt idx="413">
                  <c:v>49.048000000000002</c:v>
                </c:pt>
                <c:pt idx="414">
                  <c:v>51.511000000000003</c:v>
                </c:pt>
                <c:pt idx="415">
                  <c:v>47.731999999999999</c:v>
                </c:pt>
                <c:pt idx="416">
                  <c:v>47.756</c:v>
                </c:pt>
                <c:pt idx="417">
                  <c:v>48.521000000000001</c:v>
                </c:pt>
                <c:pt idx="418">
                  <c:v>48.768000000000001</c:v>
                </c:pt>
                <c:pt idx="419">
                  <c:v>48.161999999999999</c:v>
                </c:pt>
                <c:pt idx="420">
                  <c:v>51.534999999999997</c:v>
                </c:pt>
                <c:pt idx="421">
                  <c:v>48.552999999999997</c:v>
                </c:pt>
                <c:pt idx="422">
                  <c:v>54.006999999999998</c:v>
                </c:pt>
                <c:pt idx="423">
                  <c:v>53.671999999999997</c:v>
                </c:pt>
                <c:pt idx="424">
                  <c:v>53.991</c:v>
                </c:pt>
                <c:pt idx="425">
                  <c:v>54.006999999999998</c:v>
                </c:pt>
                <c:pt idx="426">
                  <c:v>55.889000000000003</c:v>
                </c:pt>
                <c:pt idx="427">
                  <c:v>54.789000000000001</c:v>
                </c:pt>
                <c:pt idx="428">
                  <c:v>58.186</c:v>
                </c:pt>
                <c:pt idx="429">
                  <c:v>56.017000000000003</c:v>
                </c:pt>
                <c:pt idx="430">
                  <c:v>60.243000000000002</c:v>
                </c:pt>
                <c:pt idx="431">
                  <c:v>61.661999999999999</c:v>
                </c:pt>
                <c:pt idx="432">
                  <c:v>62.5</c:v>
                </c:pt>
                <c:pt idx="433">
                  <c:v>63.814999999999998</c:v>
                </c:pt>
                <c:pt idx="434">
                  <c:v>67.738</c:v>
                </c:pt>
                <c:pt idx="435">
                  <c:v>70.281999999999996</c:v>
                </c:pt>
                <c:pt idx="436">
                  <c:v>74.587999999999994</c:v>
                </c:pt>
                <c:pt idx="437">
                  <c:v>77.658000000000001</c:v>
                </c:pt>
                <c:pt idx="438">
                  <c:v>77.706000000000003</c:v>
                </c:pt>
                <c:pt idx="439">
                  <c:v>77.626000000000005</c:v>
                </c:pt>
                <c:pt idx="440">
                  <c:v>78.894000000000005</c:v>
                </c:pt>
                <c:pt idx="441">
                  <c:v>76.070999999999998</c:v>
                </c:pt>
                <c:pt idx="442">
                  <c:v>75.593000000000004</c:v>
                </c:pt>
                <c:pt idx="443">
                  <c:v>72.570999999999998</c:v>
                </c:pt>
                <c:pt idx="444">
                  <c:v>70.298000000000002</c:v>
                </c:pt>
                <c:pt idx="445">
                  <c:v>70.201999999999998</c:v>
                </c:pt>
                <c:pt idx="446">
                  <c:v>70.680999999999997</c:v>
                </c:pt>
                <c:pt idx="447">
                  <c:v>71.63</c:v>
                </c:pt>
                <c:pt idx="448">
                  <c:v>76.063000000000002</c:v>
                </c:pt>
                <c:pt idx="449">
                  <c:v>77.992999999999995</c:v>
                </c:pt>
                <c:pt idx="450">
                  <c:v>84.347999999999999</c:v>
                </c:pt>
                <c:pt idx="451">
                  <c:v>86.956000000000003</c:v>
                </c:pt>
                <c:pt idx="452">
                  <c:v>88.415000000000006</c:v>
                </c:pt>
                <c:pt idx="453">
                  <c:v>88.694000000000003</c:v>
                </c:pt>
                <c:pt idx="454">
                  <c:v>79.427999999999997</c:v>
                </c:pt>
                <c:pt idx="455">
                  <c:v>70.504999999999995</c:v>
                </c:pt>
                <c:pt idx="456">
                  <c:v>77.585999999999999</c:v>
                </c:pt>
                <c:pt idx="457">
                  <c:v>79.076999999999998</c:v>
                </c:pt>
                <c:pt idx="458">
                  <c:v>82.426000000000002</c:v>
                </c:pt>
                <c:pt idx="459">
                  <c:v>83.063999999999993</c:v>
                </c:pt>
                <c:pt idx="460">
                  <c:v>84.180999999999997</c:v>
                </c:pt>
                <c:pt idx="461">
                  <c:v>100.83</c:v>
                </c:pt>
                <c:pt idx="462">
                  <c:v>117.137</c:v>
                </c:pt>
                <c:pt idx="463">
                  <c:v>118.843</c:v>
                </c:pt>
                <c:pt idx="464">
                  <c:v>122.782</c:v>
                </c:pt>
                <c:pt idx="465">
                  <c:v>128.55500000000001</c:v>
                </c:pt>
                <c:pt idx="466">
                  <c:v>131.80099999999999</c:v>
                </c:pt>
                <c:pt idx="467">
                  <c:v>132.55000000000001</c:v>
                </c:pt>
                <c:pt idx="468">
                  <c:v>133.97</c:v>
                </c:pt>
                <c:pt idx="469">
                  <c:v>133.571</c:v>
                </c:pt>
                <c:pt idx="470">
                  <c:v>130.876</c:v>
                </c:pt>
                <c:pt idx="471">
                  <c:v>130.36500000000001</c:v>
                </c:pt>
                <c:pt idx="472">
                  <c:v>126.107</c:v>
                </c:pt>
                <c:pt idx="473">
                  <c:v>121.889</c:v>
                </c:pt>
                <c:pt idx="474">
                  <c:v>121.34699999999999</c:v>
                </c:pt>
                <c:pt idx="475">
                  <c:v>124.72799999999999</c:v>
                </c:pt>
                <c:pt idx="476">
                  <c:v>126.251</c:v>
                </c:pt>
                <c:pt idx="477">
                  <c:v>131.298</c:v>
                </c:pt>
                <c:pt idx="478">
                  <c:v>134.321</c:v>
                </c:pt>
                <c:pt idx="479">
                  <c:v>141.05799999999999</c:v>
                </c:pt>
                <c:pt idx="480">
                  <c:v>145.61199999999999</c:v>
                </c:pt>
                <c:pt idx="481">
                  <c:v>145.197</c:v>
                </c:pt>
                <c:pt idx="482">
                  <c:v>139.232</c:v>
                </c:pt>
                <c:pt idx="483">
                  <c:v>143.06</c:v>
                </c:pt>
                <c:pt idx="484">
                  <c:v>142.83699999999999</c:v>
                </c:pt>
                <c:pt idx="485">
                  <c:v>143.786</c:v>
                </c:pt>
                <c:pt idx="486">
                  <c:v>140.88300000000001</c:v>
                </c:pt>
                <c:pt idx="487">
                  <c:v>139.846</c:v>
                </c:pt>
                <c:pt idx="488">
                  <c:v>140.93100000000001</c:v>
                </c:pt>
                <c:pt idx="489">
                  <c:v>142.12700000000001</c:v>
                </c:pt>
                <c:pt idx="490">
                  <c:v>148.697</c:v>
                </c:pt>
                <c:pt idx="491">
                  <c:v>154.53399999999999</c:v>
                </c:pt>
                <c:pt idx="492">
                  <c:v>159.351</c:v>
                </c:pt>
                <c:pt idx="493">
                  <c:v>167.65899999999999</c:v>
                </c:pt>
                <c:pt idx="494">
                  <c:v>166.559</c:v>
                </c:pt>
                <c:pt idx="495">
                  <c:v>166.33600000000001</c:v>
                </c:pt>
                <c:pt idx="496">
                  <c:v>170.04400000000001</c:v>
                </c:pt>
                <c:pt idx="497">
                  <c:v>171.79</c:v>
                </c:pt>
                <c:pt idx="498">
                  <c:v>174.102</c:v>
                </c:pt>
                <c:pt idx="499">
                  <c:v>175.84100000000001</c:v>
                </c:pt>
                <c:pt idx="500">
                  <c:v>177.18799999999999</c:v>
                </c:pt>
                <c:pt idx="501">
                  <c:v>179.62</c:v>
                </c:pt>
                <c:pt idx="502">
                  <c:v>180.84</c:v>
                </c:pt>
                <c:pt idx="503">
                  <c:v>185.37700000000001</c:v>
                </c:pt>
                <c:pt idx="504">
                  <c:v>185.63300000000001</c:v>
                </c:pt>
              </c:numCache>
            </c:numRef>
          </c:val>
          <c:smooth val="0"/>
          <c:extLst>
            <c:ext xmlns:c16="http://schemas.microsoft.com/office/drawing/2014/chart" uri="{C3380CC4-5D6E-409C-BE32-E72D297353CC}">
              <c16:uniqueId val="{00000001-1D52-4AF4-98CA-071069331375}"/>
            </c:ext>
          </c:extLst>
        </c:ser>
        <c:dLbls>
          <c:showLegendKey val="0"/>
          <c:showVal val="0"/>
          <c:showCatName val="0"/>
          <c:showSerName val="0"/>
          <c:showPercent val="0"/>
          <c:showBubbleSize val="0"/>
        </c:dLbls>
        <c:marker val="1"/>
        <c:smooth val="0"/>
        <c:axId val="197384064"/>
        <c:axId val="197385600"/>
        <c:extLst>
          <c:ext xmlns:c15="http://schemas.microsoft.com/office/drawing/2012/chart" uri="{02D57815-91ED-43cb-92C2-25804820EDAC}">
            <c15:filteredLineSeries>
              <c15:ser>
                <c:idx val="6"/>
                <c:order val="6"/>
                <c:tx>
                  <c:strRef>
                    <c:extLst>
                      <c:ext uri="{02D57815-91ED-43cb-92C2-25804820EDAC}">
                        <c15:formulaRef>
                          <c15:sqref>'C.A.+R.D.'!$A$1</c15:sqref>
                        </c15:formulaRef>
                      </c:ext>
                    </c:extLst>
                    <c:strCache>
                      <c:ptCount val="1"/>
                      <c:pt idx="0">
                        <c:v>Centro América + R.D.</c:v>
                      </c:pt>
                    </c:strCache>
                  </c:strRef>
                </c:tx>
                <c:spPr>
                  <a:ln w="22225" cap="rnd">
                    <a:solidFill>
                      <a:srgbClr val="FF0000"/>
                    </a:solidFill>
                    <a:round/>
                  </a:ln>
                  <a:effectLst/>
                </c:spPr>
                <c:marker>
                  <c:symbol val="none"/>
                </c:marker>
                <c:cat>
                  <c:numRef>
                    <c:extLst>
                      <c:ext uri="{02D57815-91ED-43cb-92C2-25804820EDAC}">
                        <c15:formulaRef>
                          <c15:sqref>World!$A$94:$A$595</c15:sqref>
                        </c15:formulaRef>
                      </c:ext>
                    </c:extLst>
                    <c:numCache>
                      <c:formatCode>dd/mm/yy;@</c:formatCode>
                      <c:ptCount val="502"/>
                      <c:pt idx="0">
                        <c:v>43922</c:v>
                      </c:pt>
                      <c:pt idx="1">
                        <c:v>43923</c:v>
                      </c:pt>
                      <c:pt idx="2">
                        <c:v>43924</c:v>
                      </c:pt>
                      <c:pt idx="3">
                        <c:v>43925</c:v>
                      </c:pt>
                      <c:pt idx="4">
                        <c:v>43926</c:v>
                      </c:pt>
                      <c:pt idx="5">
                        <c:v>43927</c:v>
                      </c:pt>
                      <c:pt idx="6">
                        <c:v>43928</c:v>
                      </c:pt>
                      <c:pt idx="7">
                        <c:v>43929</c:v>
                      </c:pt>
                      <c:pt idx="8">
                        <c:v>43930</c:v>
                      </c:pt>
                      <c:pt idx="9">
                        <c:v>43931</c:v>
                      </c:pt>
                      <c:pt idx="10">
                        <c:v>43932</c:v>
                      </c:pt>
                      <c:pt idx="11">
                        <c:v>43933</c:v>
                      </c:pt>
                      <c:pt idx="12">
                        <c:v>43934</c:v>
                      </c:pt>
                      <c:pt idx="13">
                        <c:v>43935</c:v>
                      </c:pt>
                      <c:pt idx="14">
                        <c:v>43936</c:v>
                      </c:pt>
                      <c:pt idx="15">
                        <c:v>43937</c:v>
                      </c:pt>
                      <c:pt idx="16">
                        <c:v>43938</c:v>
                      </c:pt>
                      <c:pt idx="17">
                        <c:v>43939</c:v>
                      </c:pt>
                      <c:pt idx="18">
                        <c:v>43940</c:v>
                      </c:pt>
                      <c:pt idx="19">
                        <c:v>43941</c:v>
                      </c:pt>
                      <c:pt idx="20">
                        <c:v>43942</c:v>
                      </c:pt>
                      <c:pt idx="21">
                        <c:v>43943</c:v>
                      </c:pt>
                      <c:pt idx="22">
                        <c:v>43944</c:v>
                      </c:pt>
                      <c:pt idx="23">
                        <c:v>43945</c:v>
                      </c:pt>
                      <c:pt idx="24">
                        <c:v>43946</c:v>
                      </c:pt>
                      <c:pt idx="25">
                        <c:v>43947</c:v>
                      </c:pt>
                      <c:pt idx="26">
                        <c:v>43948</c:v>
                      </c:pt>
                      <c:pt idx="27">
                        <c:v>43949</c:v>
                      </c:pt>
                      <c:pt idx="28">
                        <c:v>43950</c:v>
                      </c:pt>
                      <c:pt idx="29">
                        <c:v>43951</c:v>
                      </c:pt>
                      <c:pt idx="30">
                        <c:v>43952</c:v>
                      </c:pt>
                      <c:pt idx="31">
                        <c:v>43953</c:v>
                      </c:pt>
                      <c:pt idx="32">
                        <c:v>43954</c:v>
                      </c:pt>
                      <c:pt idx="33">
                        <c:v>43955</c:v>
                      </c:pt>
                      <c:pt idx="34">
                        <c:v>43956</c:v>
                      </c:pt>
                      <c:pt idx="35">
                        <c:v>43957</c:v>
                      </c:pt>
                      <c:pt idx="36">
                        <c:v>43958</c:v>
                      </c:pt>
                      <c:pt idx="37">
                        <c:v>43959</c:v>
                      </c:pt>
                      <c:pt idx="38">
                        <c:v>43960</c:v>
                      </c:pt>
                      <c:pt idx="39">
                        <c:v>43961</c:v>
                      </c:pt>
                      <c:pt idx="40">
                        <c:v>43962</c:v>
                      </c:pt>
                      <c:pt idx="41">
                        <c:v>43963</c:v>
                      </c:pt>
                      <c:pt idx="42">
                        <c:v>43964</c:v>
                      </c:pt>
                      <c:pt idx="43">
                        <c:v>43965</c:v>
                      </c:pt>
                      <c:pt idx="44">
                        <c:v>43966</c:v>
                      </c:pt>
                      <c:pt idx="45">
                        <c:v>43967</c:v>
                      </c:pt>
                      <c:pt idx="46">
                        <c:v>43968</c:v>
                      </c:pt>
                      <c:pt idx="47">
                        <c:v>43969</c:v>
                      </c:pt>
                      <c:pt idx="48">
                        <c:v>43970</c:v>
                      </c:pt>
                      <c:pt idx="49">
                        <c:v>43971</c:v>
                      </c:pt>
                      <c:pt idx="50">
                        <c:v>43972</c:v>
                      </c:pt>
                      <c:pt idx="51">
                        <c:v>43973</c:v>
                      </c:pt>
                      <c:pt idx="52">
                        <c:v>43974</c:v>
                      </c:pt>
                      <c:pt idx="53">
                        <c:v>43975</c:v>
                      </c:pt>
                      <c:pt idx="54">
                        <c:v>43976</c:v>
                      </c:pt>
                      <c:pt idx="55">
                        <c:v>43977</c:v>
                      </c:pt>
                      <c:pt idx="56">
                        <c:v>43978</c:v>
                      </c:pt>
                      <c:pt idx="57">
                        <c:v>43979</c:v>
                      </c:pt>
                      <c:pt idx="58">
                        <c:v>43980</c:v>
                      </c:pt>
                      <c:pt idx="59">
                        <c:v>43981</c:v>
                      </c:pt>
                      <c:pt idx="60">
                        <c:v>43982</c:v>
                      </c:pt>
                      <c:pt idx="61">
                        <c:v>43983</c:v>
                      </c:pt>
                      <c:pt idx="62">
                        <c:v>43984</c:v>
                      </c:pt>
                      <c:pt idx="63">
                        <c:v>43985</c:v>
                      </c:pt>
                      <c:pt idx="64">
                        <c:v>43986</c:v>
                      </c:pt>
                      <c:pt idx="65">
                        <c:v>43987</c:v>
                      </c:pt>
                      <c:pt idx="66">
                        <c:v>43988</c:v>
                      </c:pt>
                      <c:pt idx="67">
                        <c:v>43989</c:v>
                      </c:pt>
                      <c:pt idx="68">
                        <c:v>43990</c:v>
                      </c:pt>
                      <c:pt idx="69">
                        <c:v>43991</c:v>
                      </c:pt>
                      <c:pt idx="70">
                        <c:v>43992</c:v>
                      </c:pt>
                      <c:pt idx="71">
                        <c:v>43993</c:v>
                      </c:pt>
                      <c:pt idx="72">
                        <c:v>43994</c:v>
                      </c:pt>
                      <c:pt idx="73">
                        <c:v>43995</c:v>
                      </c:pt>
                      <c:pt idx="74">
                        <c:v>43996</c:v>
                      </c:pt>
                      <c:pt idx="75">
                        <c:v>43997</c:v>
                      </c:pt>
                      <c:pt idx="76">
                        <c:v>43998</c:v>
                      </c:pt>
                      <c:pt idx="77">
                        <c:v>43999</c:v>
                      </c:pt>
                      <c:pt idx="78">
                        <c:v>44000</c:v>
                      </c:pt>
                      <c:pt idx="79">
                        <c:v>44001</c:v>
                      </c:pt>
                      <c:pt idx="80">
                        <c:v>44002</c:v>
                      </c:pt>
                      <c:pt idx="81">
                        <c:v>44003</c:v>
                      </c:pt>
                      <c:pt idx="82">
                        <c:v>44004</c:v>
                      </c:pt>
                      <c:pt idx="83">
                        <c:v>44005</c:v>
                      </c:pt>
                      <c:pt idx="84">
                        <c:v>44006</c:v>
                      </c:pt>
                      <c:pt idx="85">
                        <c:v>44007</c:v>
                      </c:pt>
                      <c:pt idx="86">
                        <c:v>44008</c:v>
                      </c:pt>
                      <c:pt idx="87">
                        <c:v>44009</c:v>
                      </c:pt>
                      <c:pt idx="88">
                        <c:v>44010</c:v>
                      </c:pt>
                      <c:pt idx="89">
                        <c:v>44011</c:v>
                      </c:pt>
                      <c:pt idx="90">
                        <c:v>44012</c:v>
                      </c:pt>
                      <c:pt idx="91">
                        <c:v>44013</c:v>
                      </c:pt>
                      <c:pt idx="92">
                        <c:v>44014</c:v>
                      </c:pt>
                      <c:pt idx="93">
                        <c:v>44015</c:v>
                      </c:pt>
                      <c:pt idx="94">
                        <c:v>44016</c:v>
                      </c:pt>
                      <c:pt idx="95">
                        <c:v>44017</c:v>
                      </c:pt>
                      <c:pt idx="96">
                        <c:v>44018</c:v>
                      </c:pt>
                      <c:pt idx="97">
                        <c:v>44019</c:v>
                      </c:pt>
                      <c:pt idx="98">
                        <c:v>44020</c:v>
                      </c:pt>
                      <c:pt idx="99">
                        <c:v>44021</c:v>
                      </c:pt>
                      <c:pt idx="100">
                        <c:v>44022</c:v>
                      </c:pt>
                      <c:pt idx="101">
                        <c:v>44023</c:v>
                      </c:pt>
                      <c:pt idx="102">
                        <c:v>44024</c:v>
                      </c:pt>
                      <c:pt idx="103">
                        <c:v>44025</c:v>
                      </c:pt>
                      <c:pt idx="104">
                        <c:v>44026</c:v>
                      </c:pt>
                      <c:pt idx="105">
                        <c:v>44027</c:v>
                      </c:pt>
                      <c:pt idx="106">
                        <c:v>44028</c:v>
                      </c:pt>
                      <c:pt idx="107">
                        <c:v>44029</c:v>
                      </c:pt>
                      <c:pt idx="108">
                        <c:v>44030</c:v>
                      </c:pt>
                      <c:pt idx="109">
                        <c:v>44031</c:v>
                      </c:pt>
                      <c:pt idx="110">
                        <c:v>44032</c:v>
                      </c:pt>
                      <c:pt idx="111">
                        <c:v>44033</c:v>
                      </c:pt>
                      <c:pt idx="112">
                        <c:v>44034</c:v>
                      </c:pt>
                      <c:pt idx="113">
                        <c:v>44035</c:v>
                      </c:pt>
                      <c:pt idx="114">
                        <c:v>44036</c:v>
                      </c:pt>
                      <c:pt idx="115">
                        <c:v>44037</c:v>
                      </c:pt>
                      <c:pt idx="116">
                        <c:v>44038</c:v>
                      </c:pt>
                      <c:pt idx="117">
                        <c:v>44039</c:v>
                      </c:pt>
                      <c:pt idx="118">
                        <c:v>44040</c:v>
                      </c:pt>
                      <c:pt idx="119">
                        <c:v>44041</c:v>
                      </c:pt>
                      <c:pt idx="120">
                        <c:v>44042</c:v>
                      </c:pt>
                      <c:pt idx="121">
                        <c:v>44043</c:v>
                      </c:pt>
                      <c:pt idx="122">
                        <c:v>44044</c:v>
                      </c:pt>
                      <c:pt idx="123">
                        <c:v>44045</c:v>
                      </c:pt>
                      <c:pt idx="124">
                        <c:v>44046</c:v>
                      </c:pt>
                      <c:pt idx="125">
                        <c:v>44047</c:v>
                      </c:pt>
                      <c:pt idx="126">
                        <c:v>44048</c:v>
                      </c:pt>
                      <c:pt idx="127">
                        <c:v>44049</c:v>
                      </c:pt>
                      <c:pt idx="128">
                        <c:v>44050</c:v>
                      </c:pt>
                      <c:pt idx="129">
                        <c:v>44051</c:v>
                      </c:pt>
                      <c:pt idx="130">
                        <c:v>44052</c:v>
                      </c:pt>
                      <c:pt idx="131">
                        <c:v>44053</c:v>
                      </c:pt>
                      <c:pt idx="132">
                        <c:v>44054</c:v>
                      </c:pt>
                      <c:pt idx="133">
                        <c:v>44055</c:v>
                      </c:pt>
                      <c:pt idx="134">
                        <c:v>44056</c:v>
                      </c:pt>
                      <c:pt idx="135">
                        <c:v>44057</c:v>
                      </c:pt>
                      <c:pt idx="136">
                        <c:v>44058</c:v>
                      </c:pt>
                      <c:pt idx="137">
                        <c:v>44059</c:v>
                      </c:pt>
                      <c:pt idx="138">
                        <c:v>44060</c:v>
                      </c:pt>
                      <c:pt idx="139">
                        <c:v>44061</c:v>
                      </c:pt>
                      <c:pt idx="140">
                        <c:v>44062</c:v>
                      </c:pt>
                      <c:pt idx="141">
                        <c:v>44063</c:v>
                      </c:pt>
                      <c:pt idx="142">
                        <c:v>44064</c:v>
                      </c:pt>
                      <c:pt idx="143">
                        <c:v>44065</c:v>
                      </c:pt>
                      <c:pt idx="144">
                        <c:v>44066</c:v>
                      </c:pt>
                      <c:pt idx="145">
                        <c:v>44067</c:v>
                      </c:pt>
                      <c:pt idx="146">
                        <c:v>44068</c:v>
                      </c:pt>
                      <c:pt idx="147">
                        <c:v>44069</c:v>
                      </c:pt>
                      <c:pt idx="148">
                        <c:v>44070</c:v>
                      </c:pt>
                      <c:pt idx="149">
                        <c:v>44071</c:v>
                      </c:pt>
                      <c:pt idx="150">
                        <c:v>44072</c:v>
                      </c:pt>
                      <c:pt idx="151">
                        <c:v>44073</c:v>
                      </c:pt>
                      <c:pt idx="152">
                        <c:v>44074</c:v>
                      </c:pt>
                      <c:pt idx="153">
                        <c:v>44075</c:v>
                      </c:pt>
                      <c:pt idx="154">
                        <c:v>44076</c:v>
                      </c:pt>
                      <c:pt idx="155">
                        <c:v>44077</c:v>
                      </c:pt>
                      <c:pt idx="156">
                        <c:v>44078</c:v>
                      </c:pt>
                      <c:pt idx="157">
                        <c:v>44079</c:v>
                      </c:pt>
                      <c:pt idx="158">
                        <c:v>44080</c:v>
                      </c:pt>
                      <c:pt idx="159">
                        <c:v>44081</c:v>
                      </c:pt>
                      <c:pt idx="160">
                        <c:v>44082</c:v>
                      </c:pt>
                      <c:pt idx="161">
                        <c:v>44083</c:v>
                      </c:pt>
                      <c:pt idx="162">
                        <c:v>44084</c:v>
                      </c:pt>
                      <c:pt idx="163">
                        <c:v>44085</c:v>
                      </c:pt>
                      <c:pt idx="164">
                        <c:v>44086</c:v>
                      </c:pt>
                      <c:pt idx="165">
                        <c:v>44087</c:v>
                      </c:pt>
                      <c:pt idx="166">
                        <c:v>44088</c:v>
                      </c:pt>
                      <c:pt idx="167">
                        <c:v>44089</c:v>
                      </c:pt>
                      <c:pt idx="168">
                        <c:v>44090</c:v>
                      </c:pt>
                      <c:pt idx="169">
                        <c:v>44091</c:v>
                      </c:pt>
                      <c:pt idx="170">
                        <c:v>44092</c:v>
                      </c:pt>
                      <c:pt idx="171">
                        <c:v>44093</c:v>
                      </c:pt>
                      <c:pt idx="172">
                        <c:v>44094</c:v>
                      </c:pt>
                      <c:pt idx="173">
                        <c:v>44095</c:v>
                      </c:pt>
                      <c:pt idx="174">
                        <c:v>44096</c:v>
                      </c:pt>
                      <c:pt idx="175">
                        <c:v>44097</c:v>
                      </c:pt>
                      <c:pt idx="176">
                        <c:v>44098</c:v>
                      </c:pt>
                      <c:pt idx="177">
                        <c:v>44099</c:v>
                      </c:pt>
                      <c:pt idx="178">
                        <c:v>44100</c:v>
                      </c:pt>
                      <c:pt idx="179">
                        <c:v>44101</c:v>
                      </c:pt>
                      <c:pt idx="180">
                        <c:v>44102</c:v>
                      </c:pt>
                      <c:pt idx="181">
                        <c:v>44103</c:v>
                      </c:pt>
                      <c:pt idx="182">
                        <c:v>44104</c:v>
                      </c:pt>
                      <c:pt idx="183">
                        <c:v>44105</c:v>
                      </c:pt>
                      <c:pt idx="184">
                        <c:v>44106</c:v>
                      </c:pt>
                      <c:pt idx="185">
                        <c:v>44107</c:v>
                      </c:pt>
                      <c:pt idx="186">
                        <c:v>44108</c:v>
                      </c:pt>
                      <c:pt idx="187">
                        <c:v>44109</c:v>
                      </c:pt>
                      <c:pt idx="188">
                        <c:v>44110</c:v>
                      </c:pt>
                      <c:pt idx="189">
                        <c:v>44111</c:v>
                      </c:pt>
                      <c:pt idx="190">
                        <c:v>44112</c:v>
                      </c:pt>
                      <c:pt idx="191">
                        <c:v>44113</c:v>
                      </c:pt>
                      <c:pt idx="192">
                        <c:v>44114</c:v>
                      </c:pt>
                      <c:pt idx="193">
                        <c:v>44115</c:v>
                      </c:pt>
                      <c:pt idx="194">
                        <c:v>44116</c:v>
                      </c:pt>
                      <c:pt idx="195">
                        <c:v>44117</c:v>
                      </c:pt>
                      <c:pt idx="196">
                        <c:v>44118</c:v>
                      </c:pt>
                      <c:pt idx="197">
                        <c:v>44119</c:v>
                      </c:pt>
                      <c:pt idx="198">
                        <c:v>44120</c:v>
                      </c:pt>
                      <c:pt idx="199">
                        <c:v>44121</c:v>
                      </c:pt>
                      <c:pt idx="200">
                        <c:v>44122</c:v>
                      </c:pt>
                      <c:pt idx="201">
                        <c:v>44123</c:v>
                      </c:pt>
                      <c:pt idx="202">
                        <c:v>44124</c:v>
                      </c:pt>
                      <c:pt idx="203">
                        <c:v>44125</c:v>
                      </c:pt>
                      <c:pt idx="204">
                        <c:v>44126</c:v>
                      </c:pt>
                      <c:pt idx="205">
                        <c:v>44127</c:v>
                      </c:pt>
                      <c:pt idx="206">
                        <c:v>44128</c:v>
                      </c:pt>
                      <c:pt idx="207">
                        <c:v>44129</c:v>
                      </c:pt>
                      <c:pt idx="208">
                        <c:v>44130</c:v>
                      </c:pt>
                      <c:pt idx="209">
                        <c:v>44131</c:v>
                      </c:pt>
                      <c:pt idx="210">
                        <c:v>44132</c:v>
                      </c:pt>
                      <c:pt idx="211">
                        <c:v>44133</c:v>
                      </c:pt>
                      <c:pt idx="212">
                        <c:v>44134</c:v>
                      </c:pt>
                      <c:pt idx="213">
                        <c:v>44135</c:v>
                      </c:pt>
                      <c:pt idx="214">
                        <c:v>44136</c:v>
                      </c:pt>
                      <c:pt idx="215">
                        <c:v>44137</c:v>
                      </c:pt>
                      <c:pt idx="216">
                        <c:v>44138</c:v>
                      </c:pt>
                      <c:pt idx="217">
                        <c:v>44139</c:v>
                      </c:pt>
                      <c:pt idx="218">
                        <c:v>44140</c:v>
                      </c:pt>
                      <c:pt idx="219">
                        <c:v>44141</c:v>
                      </c:pt>
                      <c:pt idx="220">
                        <c:v>44142</c:v>
                      </c:pt>
                      <c:pt idx="221">
                        <c:v>44143</c:v>
                      </c:pt>
                      <c:pt idx="222">
                        <c:v>44144</c:v>
                      </c:pt>
                      <c:pt idx="223">
                        <c:v>44145</c:v>
                      </c:pt>
                      <c:pt idx="224">
                        <c:v>44146</c:v>
                      </c:pt>
                      <c:pt idx="225">
                        <c:v>44147</c:v>
                      </c:pt>
                      <c:pt idx="226">
                        <c:v>44148</c:v>
                      </c:pt>
                      <c:pt idx="227">
                        <c:v>44149</c:v>
                      </c:pt>
                      <c:pt idx="228">
                        <c:v>44150</c:v>
                      </c:pt>
                      <c:pt idx="229">
                        <c:v>44151</c:v>
                      </c:pt>
                      <c:pt idx="230">
                        <c:v>44152</c:v>
                      </c:pt>
                      <c:pt idx="231">
                        <c:v>44153</c:v>
                      </c:pt>
                      <c:pt idx="232">
                        <c:v>44154</c:v>
                      </c:pt>
                      <c:pt idx="233">
                        <c:v>44155</c:v>
                      </c:pt>
                      <c:pt idx="234">
                        <c:v>44156</c:v>
                      </c:pt>
                      <c:pt idx="235">
                        <c:v>44157</c:v>
                      </c:pt>
                      <c:pt idx="236">
                        <c:v>44158</c:v>
                      </c:pt>
                      <c:pt idx="237">
                        <c:v>44159</c:v>
                      </c:pt>
                      <c:pt idx="238">
                        <c:v>44160</c:v>
                      </c:pt>
                      <c:pt idx="239">
                        <c:v>44161</c:v>
                      </c:pt>
                      <c:pt idx="240">
                        <c:v>44162</c:v>
                      </c:pt>
                      <c:pt idx="241">
                        <c:v>44163</c:v>
                      </c:pt>
                      <c:pt idx="242">
                        <c:v>44164</c:v>
                      </c:pt>
                      <c:pt idx="243">
                        <c:v>44165</c:v>
                      </c:pt>
                      <c:pt idx="244">
                        <c:v>44166</c:v>
                      </c:pt>
                      <c:pt idx="245">
                        <c:v>44167</c:v>
                      </c:pt>
                      <c:pt idx="246">
                        <c:v>44168</c:v>
                      </c:pt>
                      <c:pt idx="247">
                        <c:v>44169</c:v>
                      </c:pt>
                      <c:pt idx="248">
                        <c:v>44170</c:v>
                      </c:pt>
                      <c:pt idx="249">
                        <c:v>44171</c:v>
                      </c:pt>
                      <c:pt idx="250">
                        <c:v>44172</c:v>
                      </c:pt>
                      <c:pt idx="251">
                        <c:v>44173</c:v>
                      </c:pt>
                      <c:pt idx="252">
                        <c:v>44174</c:v>
                      </c:pt>
                      <c:pt idx="253">
                        <c:v>44175</c:v>
                      </c:pt>
                      <c:pt idx="254">
                        <c:v>44176</c:v>
                      </c:pt>
                      <c:pt idx="255">
                        <c:v>44177</c:v>
                      </c:pt>
                      <c:pt idx="256">
                        <c:v>44178</c:v>
                      </c:pt>
                      <c:pt idx="257">
                        <c:v>44179</c:v>
                      </c:pt>
                      <c:pt idx="258">
                        <c:v>44180</c:v>
                      </c:pt>
                      <c:pt idx="259">
                        <c:v>44181</c:v>
                      </c:pt>
                      <c:pt idx="260">
                        <c:v>44182</c:v>
                      </c:pt>
                      <c:pt idx="261">
                        <c:v>44183</c:v>
                      </c:pt>
                      <c:pt idx="262">
                        <c:v>44184</c:v>
                      </c:pt>
                      <c:pt idx="263">
                        <c:v>44185</c:v>
                      </c:pt>
                      <c:pt idx="264">
                        <c:v>44186</c:v>
                      </c:pt>
                      <c:pt idx="265">
                        <c:v>44187</c:v>
                      </c:pt>
                      <c:pt idx="266">
                        <c:v>44188</c:v>
                      </c:pt>
                      <c:pt idx="267">
                        <c:v>44189</c:v>
                      </c:pt>
                      <c:pt idx="268">
                        <c:v>44190</c:v>
                      </c:pt>
                      <c:pt idx="269">
                        <c:v>44191</c:v>
                      </c:pt>
                      <c:pt idx="270">
                        <c:v>44192</c:v>
                      </c:pt>
                      <c:pt idx="271">
                        <c:v>44193</c:v>
                      </c:pt>
                      <c:pt idx="272">
                        <c:v>44194</c:v>
                      </c:pt>
                      <c:pt idx="273">
                        <c:v>44195</c:v>
                      </c:pt>
                      <c:pt idx="274">
                        <c:v>44196</c:v>
                      </c:pt>
                      <c:pt idx="275">
                        <c:v>44197</c:v>
                      </c:pt>
                      <c:pt idx="276">
                        <c:v>44198</c:v>
                      </c:pt>
                      <c:pt idx="277">
                        <c:v>44199</c:v>
                      </c:pt>
                      <c:pt idx="278">
                        <c:v>44200</c:v>
                      </c:pt>
                      <c:pt idx="279">
                        <c:v>44201</c:v>
                      </c:pt>
                      <c:pt idx="280">
                        <c:v>44202</c:v>
                      </c:pt>
                      <c:pt idx="281">
                        <c:v>44203</c:v>
                      </c:pt>
                      <c:pt idx="282">
                        <c:v>44204</c:v>
                      </c:pt>
                      <c:pt idx="283">
                        <c:v>44205</c:v>
                      </c:pt>
                      <c:pt idx="284">
                        <c:v>44206</c:v>
                      </c:pt>
                      <c:pt idx="285">
                        <c:v>44207</c:v>
                      </c:pt>
                      <c:pt idx="286">
                        <c:v>44208</c:v>
                      </c:pt>
                      <c:pt idx="287">
                        <c:v>44209</c:v>
                      </c:pt>
                      <c:pt idx="288">
                        <c:v>44210</c:v>
                      </c:pt>
                      <c:pt idx="289">
                        <c:v>44211</c:v>
                      </c:pt>
                      <c:pt idx="290">
                        <c:v>44212</c:v>
                      </c:pt>
                      <c:pt idx="291">
                        <c:v>44213</c:v>
                      </c:pt>
                      <c:pt idx="292">
                        <c:v>44214</c:v>
                      </c:pt>
                      <c:pt idx="293">
                        <c:v>44215</c:v>
                      </c:pt>
                      <c:pt idx="294">
                        <c:v>44216</c:v>
                      </c:pt>
                      <c:pt idx="295">
                        <c:v>44217</c:v>
                      </c:pt>
                      <c:pt idx="296">
                        <c:v>44218</c:v>
                      </c:pt>
                      <c:pt idx="297">
                        <c:v>44219</c:v>
                      </c:pt>
                      <c:pt idx="298">
                        <c:v>44220</c:v>
                      </c:pt>
                      <c:pt idx="299">
                        <c:v>44221</c:v>
                      </c:pt>
                      <c:pt idx="300">
                        <c:v>44222</c:v>
                      </c:pt>
                      <c:pt idx="301">
                        <c:v>44223</c:v>
                      </c:pt>
                      <c:pt idx="302">
                        <c:v>44224</c:v>
                      </c:pt>
                      <c:pt idx="303">
                        <c:v>44225</c:v>
                      </c:pt>
                      <c:pt idx="304">
                        <c:v>44226</c:v>
                      </c:pt>
                      <c:pt idx="305">
                        <c:v>44227</c:v>
                      </c:pt>
                      <c:pt idx="306">
                        <c:v>44228</c:v>
                      </c:pt>
                      <c:pt idx="307">
                        <c:v>44229</c:v>
                      </c:pt>
                      <c:pt idx="308">
                        <c:v>44230</c:v>
                      </c:pt>
                      <c:pt idx="309">
                        <c:v>44231</c:v>
                      </c:pt>
                      <c:pt idx="310">
                        <c:v>44232</c:v>
                      </c:pt>
                      <c:pt idx="311">
                        <c:v>44233</c:v>
                      </c:pt>
                      <c:pt idx="312">
                        <c:v>44234</c:v>
                      </c:pt>
                      <c:pt idx="313">
                        <c:v>44235</c:v>
                      </c:pt>
                      <c:pt idx="314">
                        <c:v>44236</c:v>
                      </c:pt>
                      <c:pt idx="315">
                        <c:v>44237</c:v>
                      </c:pt>
                      <c:pt idx="316">
                        <c:v>44238</c:v>
                      </c:pt>
                      <c:pt idx="317">
                        <c:v>44239</c:v>
                      </c:pt>
                      <c:pt idx="318">
                        <c:v>44240</c:v>
                      </c:pt>
                      <c:pt idx="319">
                        <c:v>44241</c:v>
                      </c:pt>
                      <c:pt idx="320">
                        <c:v>44242</c:v>
                      </c:pt>
                      <c:pt idx="321">
                        <c:v>44243</c:v>
                      </c:pt>
                      <c:pt idx="322">
                        <c:v>44244</c:v>
                      </c:pt>
                      <c:pt idx="323">
                        <c:v>44245</c:v>
                      </c:pt>
                      <c:pt idx="324">
                        <c:v>44246</c:v>
                      </c:pt>
                      <c:pt idx="325">
                        <c:v>44247</c:v>
                      </c:pt>
                      <c:pt idx="326">
                        <c:v>44248</c:v>
                      </c:pt>
                      <c:pt idx="327">
                        <c:v>44249</c:v>
                      </c:pt>
                      <c:pt idx="328">
                        <c:v>44250</c:v>
                      </c:pt>
                      <c:pt idx="329">
                        <c:v>44251</c:v>
                      </c:pt>
                      <c:pt idx="330">
                        <c:v>44252</c:v>
                      </c:pt>
                      <c:pt idx="331">
                        <c:v>44253</c:v>
                      </c:pt>
                      <c:pt idx="332">
                        <c:v>44254</c:v>
                      </c:pt>
                      <c:pt idx="333">
                        <c:v>44255</c:v>
                      </c:pt>
                      <c:pt idx="334">
                        <c:v>44256</c:v>
                      </c:pt>
                      <c:pt idx="335">
                        <c:v>44257</c:v>
                      </c:pt>
                      <c:pt idx="336">
                        <c:v>44258</c:v>
                      </c:pt>
                      <c:pt idx="337">
                        <c:v>44259</c:v>
                      </c:pt>
                      <c:pt idx="338">
                        <c:v>44260</c:v>
                      </c:pt>
                      <c:pt idx="339">
                        <c:v>44261</c:v>
                      </c:pt>
                      <c:pt idx="340">
                        <c:v>44262</c:v>
                      </c:pt>
                      <c:pt idx="341">
                        <c:v>44263</c:v>
                      </c:pt>
                      <c:pt idx="342">
                        <c:v>44264</c:v>
                      </c:pt>
                      <c:pt idx="343">
                        <c:v>44265</c:v>
                      </c:pt>
                      <c:pt idx="344">
                        <c:v>44266</c:v>
                      </c:pt>
                      <c:pt idx="345">
                        <c:v>44267</c:v>
                      </c:pt>
                      <c:pt idx="346">
                        <c:v>44268</c:v>
                      </c:pt>
                      <c:pt idx="347">
                        <c:v>44269</c:v>
                      </c:pt>
                      <c:pt idx="348">
                        <c:v>44270</c:v>
                      </c:pt>
                      <c:pt idx="349">
                        <c:v>44271</c:v>
                      </c:pt>
                      <c:pt idx="350">
                        <c:v>44272</c:v>
                      </c:pt>
                      <c:pt idx="351">
                        <c:v>44273</c:v>
                      </c:pt>
                      <c:pt idx="352">
                        <c:v>44274</c:v>
                      </c:pt>
                      <c:pt idx="353">
                        <c:v>44275</c:v>
                      </c:pt>
                      <c:pt idx="354">
                        <c:v>44276</c:v>
                      </c:pt>
                      <c:pt idx="355">
                        <c:v>44277</c:v>
                      </c:pt>
                      <c:pt idx="356">
                        <c:v>44278</c:v>
                      </c:pt>
                      <c:pt idx="357">
                        <c:v>44279</c:v>
                      </c:pt>
                      <c:pt idx="358">
                        <c:v>44280</c:v>
                      </c:pt>
                      <c:pt idx="359">
                        <c:v>44281</c:v>
                      </c:pt>
                      <c:pt idx="360">
                        <c:v>44282</c:v>
                      </c:pt>
                      <c:pt idx="361">
                        <c:v>44283</c:v>
                      </c:pt>
                      <c:pt idx="362">
                        <c:v>44284</c:v>
                      </c:pt>
                      <c:pt idx="363">
                        <c:v>44285</c:v>
                      </c:pt>
                      <c:pt idx="364">
                        <c:v>44286</c:v>
                      </c:pt>
                      <c:pt idx="365">
                        <c:v>44287</c:v>
                      </c:pt>
                      <c:pt idx="366">
                        <c:v>44288</c:v>
                      </c:pt>
                      <c:pt idx="367">
                        <c:v>44289</c:v>
                      </c:pt>
                      <c:pt idx="368">
                        <c:v>44290</c:v>
                      </c:pt>
                      <c:pt idx="369">
                        <c:v>44291</c:v>
                      </c:pt>
                      <c:pt idx="370">
                        <c:v>44292</c:v>
                      </c:pt>
                      <c:pt idx="371">
                        <c:v>44293</c:v>
                      </c:pt>
                      <c:pt idx="372">
                        <c:v>44294</c:v>
                      </c:pt>
                      <c:pt idx="373">
                        <c:v>44295</c:v>
                      </c:pt>
                      <c:pt idx="374">
                        <c:v>44296</c:v>
                      </c:pt>
                      <c:pt idx="375">
                        <c:v>44297</c:v>
                      </c:pt>
                      <c:pt idx="376">
                        <c:v>44298</c:v>
                      </c:pt>
                      <c:pt idx="377">
                        <c:v>44299</c:v>
                      </c:pt>
                      <c:pt idx="378">
                        <c:v>44300</c:v>
                      </c:pt>
                      <c:pt idx="379">
                        <c:v>44301</c:v>
                      </c:pt>
                      <c:pt idx="380">
                        <c:v>44302</c:v>
                      </c:pt>
                      <c:pt idx="381">
                        <c:v>44303</c:v>
                      </c:pt>
                      <c:pt idx="382">
                        <c:v>44304</c:v>
                      </c:pt>
                      <c:pt idx="383">
                        <c:v>44305</c:v>
                      </c:pt>
                      <c:pt idx="384">
                        <c:v>44306</c:v>
                      </c:pt>
                      <c:pt idx="385">
                        <c:v>44307</c:v>
                      </c:pt>
                      <c:pt idx="386">
                        <c:v>44308</c:v>
                      </c:pt>
                      <c:pt idx="387">
                        <c:v>44309</c:v>
                      </c:pt>
                      <c:pt idx="388">
                        <c:v>44310</c:v>
                      </c:pt>
                      <c:pt idx="389">
                        <c:v>44311</c:v>
                      </c:pt>
                      <c:pt idx="390">
                        <c:v>44312</c:v>
                      </c:pt>
                      <c:pt idx="391">
                        <c:v>44313</c:v>
                      </c:pt>
                      <c:pt idx="392">
                        <c:v>44314</c:v>
                      </c:pt>
                      <c:pt idx="393">
                        <c:v>44315</c:v>
                      </c:pt>
                      <c:pt idx="394">
                        <c:v>44316</c:v>
                      </c:pt>
                      <c:pt idx="395">
                        <c:v>44317</c:v>
                      </c:pt>
                      <c:pt idx="396">
                        <c:v>44318</c:v>
                      </c:pt>
                      <c:pt idx="397">
                        <c:v>44319</c:v>
                      </c:pt>
                      <c:pt idx="398">
                        <c:v>44320</c:v>
                      </c:pt>
                      <c:pt idx="399">
                        <c:v>44321</c:v>
                      </c:pt>
                      <c:pt idx="400">
                        <c:v>44322</c:v>
                      </c:pt>
                      <c:pt idx="401">
                        <c:v>44323</c:v>
                      </c:pt>
                      <c:pt idx="402">
                        <c:v>44324</c:v>
                      </c:pt>
                      <c:pt idx="403">
                        <c:v>44325</c:v>
                      </c:pt>
                      <c:pt idx="404">
                        <c:v>44326</c:v>
                      </c:pt>
                      <c:pt idx="405">
                        <c:v>44327</c:v>
                      </c:pt>
                      <c:pt idx="406">
                        <c:v>44328</c:v>
                      </c:pt>
                      <c:pt idx="407">
                        <c:v>44329</c:v>
                      </c:pt>
                      <c:pt idx="408">
                        <c:v>44330</c:v>
                      </c:pt>
                      <c:pt idx="409">
                        <c:v>44331</c:v>
                      </c:pt>
                      <c:pt idx="410">
                        <c:v>44332</c:v>
                      </c:pt>
                      <c:pt idx="411">
                        <c:v>44333</c:v>
                      </c:pt>
                      <c:pt idx="412">
                        <c:v>44334</c:v>
                      </c:pt>
                      <c:pt idx="413">
                        <c:v>44335</c:v>
                      </c:pt>
                      <c:pt idx="414">
                        <c:v>44336</c:v>
                      </c:pt>
                      <c:pt idx="415">
                        <c:v>44337</c:v>
                      </c:pt>
                      <c:pt idx="416">
                        <c:v>44338</c:v>
                      </c:pt>
                      <c:pt idx="417">
                        <c:v>44339</c:v>
                      </c:pt>
                      <c:pt idx="418">
                        <c:v>44340</c:v>
                      </c:pt>
                      <c:pt idx="419">
                        <c:v>44341</c:v>
                      </c:pt>
                      <c:pt idx="420">
                        <c:v>44342</c:v>
                      </c:pt>
                      <c:pt idx="421">
                        <c:v>44343</c:v>
                      </c:pt>
                      <c:pt idx="422">
                        <c:v>44344</c:v>
                      </c:pt>
                      <c:pt idx="423">
                        <c:v>44345</c:v>
                      </c:pt>
                      <c:pt idx="424">
                        <c:v>44346</c:v>
                      </c:pt>
                      <c:pt idx="425">
                        <c:v>44347</c:v>
                      </c:pt>
                      <c:pt idx="426">
                        <c:v>44348</c:v>
                      </c:pt>
                      <c:pt idx="427">
                        <c:v>44349</c:v>
                      </c:pt>
                      <c:pt idx="428">
                        <c:v>44350</c:v>
                      </c:pt>
                      <c:pt idx="429">
                        <c:v>44351</c:v>
                      </c:pt>
                      <c:pt idx="430">
                        <c:v>44352</c:v>
                      </c:pt>
                      <c:pt idx="431">
                        <c:v>44353</c:v>
                      </c:pt>
                      <c:pt idx="432">
                        <c:v>44354</c:v>
                      </c:pt>
                      <c:pt idx="433">
                        <c:v>44355</c:v>
                      </c:pt>
                      <c:pt idx="434">
                        <c:v>44356</c:v>
                      </c:pt>
                      <c:pt idx="435">
                        <c:v>44357</c:v>
                      </c:pt>
                      <c:pt idx="436">
                        <c:v>44358</c:v>
                      </c:pt>
                      <c:pt idx="437">
                        <c:v>44359</c:v>
                      </c:pt>
                      <c:pt idx="438">
                        <c:v>44360</c:v>
                      </c:pt>
                      <c:pt idx="439">
                        <c:v>44361</c:v>
                      </c:pt>
                      <c:pt idx="440">
                        <c:v>44362</c:v>
                      </c:pt>
                      <c:pt idx="441">
                        <c:v>44363</c:v>
                      </c:pt>
                      <c:pt idx="442">
                        <c:v>44364</c:v>
                      </c:pt>
                      <c:pt idx="443">
                        <c:v>44365</c:v>
                      </c:pt>
                      <c:pt idx="444">
                        <c:v>44366</c:v>
                      </c:pt>
                      <c:pt idx="445">
                        <c:v>44367</c:v>
                      </c:pt>
                      <c:pt idx="446">
                        <c:v>44368</c:v>
                      </c:pt>
                      <c:pt idx="447">
                        <c:v>44369</c:v>
                      </c:pt>
                      <c:pt idx="448">
                        <c:v>44370</c:v>
                      </c:pt>
                      <c:pt idx="449">
                        <c:v>44371</c:v>
                      </c:pt>
                      <c:pt idx="450">
                        <c:v>44372</c:v>
                      </c:pt>
                      <c:pt idx="451">
                        <c:v>44373</c:v>
                      </c:pt>
                      <c:pt idx="452">
                        <c:v>44374</c:v>
                      </c:pt>
                      <c:pt idx="453">
                        <c:v>44375</c:v>
                      </c:pt>
                      <c:pt idx="454">
                        <c:v>44376</c:v>
                      </c:pt>
                      <c:pt idx="455">
                        <c:v>44377</c:v>
                      </c:pt>
                      <c:pt idx="456">
                        <c:v>44378</c:v>
                      </c:pt>
                      <c:pt idx="457">
                        <c:v>44379</c:v>
                      </c:pt>
                      <c:pt idx="458">
                        <c:v>44380</c:v>
                      </c:pt>
                      <c:pt idx="459">
                        <c:v>44381</c:v>
                      </c:pt>
                      <c:pt idx="460">
                        <c:v>44382</c:v>
                      </c:pt>
                      <c:pt idx="461">
                        <c:v>44383</c:v>
                      </c:pt>
                      <c:pt idx="462">
                        <c:v>44384</c:v>
                      </c:pt>
                      <c:pt idx="463">
                        <c:v>44385</c:v>
                      </c:pt>
                      <c:pt idx="464">
                        <c:v>44386</c:v>
                      </c:pt>
                      <c:pt idx="465">
                        <c:v>44387</c:v>
                      </c:pt>
                      <c:pt idx="466">
                        <c:v>44388</c:v>
                      </c:pt>
                      <c:pt idx="467">
                        <c:v>44389</c:v>
                      </c:pt>
                      <c:pt idx="468">
                        <c:v>44390</c:v>
                      </c:pt>
                      <c:pt idx="469">
                        <c:v>44391</c:v>
                      </c:pt>
                      <c:pt idx="470">
                        <c:v>44392</c:v>
                      </c:pt>
                      <c:pt idx="471">
                        <c:v>44393</c:v>
                      </c:pt>
                      <c:pt idx="472">
                        <c:v>44394</c:v>
                      </c:pt>
                      <c:pt idx="473">
                        <c:v>44395</c:v>
                      </c:pt>
                      <c:pt idx="474">
                        <c:v>44396</c:v>
                      </c:pt>
                      <c:pt idx="475">
                        <c:v>44397</c:v>
                      </c:pt>
                      <c:pt idx="476">
                        <c:v>44398</c:v>
                      </c:pt>
                      <c:pt idx="477">
                        <c:v>44399</c:v>
                      </c:pt>
                      <c:pt idx="478">
                        <c:v>44400</c:v>
                      </c:pt>
                      <c:pt idx="479">
                        <c:v>44401</c:v>
                      </c:pt>
                      <c:pt idx="480">
                        <c:v>44402</c:v>
                      </c:pt>
                      <c:pt idx="481">
                        <c:v>44403</c:v>
                      </c:pt>
                      <c:pt idx="482">
                        <c:v>44404</c:v>
                      </c:pt>
                      <c:pt idx="483">
                        <c:v>44405</c:v>
                      </c:pt>
                      <c:pt idx="484">
                        <c:v>44406</c:v>
                      </c:pt>
                      <c:pt idx="485">
                        <c:v>44407</c:v>
                      </c:pt>
                      <c:pt idx="486">
                        <c:v>44408</c:v>
                      </c:pt>
                      <c:pt idx="487">
                        <c:v>44409</c:v>
                      </c:pt>
                      <c:pt idx="488">
                        <c:v>44410</c:v>
                      </c:pt>
                      <c:pt idx="489">
                        <c:v>44411</c:v>
                      </c:pt>
                      <c:pt idx="490">
                        <c:v>44412</c:v>
                      </c:pt>
                      <c:pt idx="491">
                        <c:v>44413</c:v>
                      </c:pt>
                      <c:pt idx="492">
                        <c:v>44414</c:v>
                      </c:pt>
                      <c:pt idx="493">
                        <c:v>44415</c:v>
                      </c:pt>
                      <c:pt idx="494">
                        <c:v>44416</c:v>
                      </c:pt>
                      <c:pt idx="495">
                        <c:v>44417</c:v>
                      </c:pt>
                      <c:pt idx="496">
                        <c:v>44418</c:v>
                      </c:pt>
                      <c:pt idx="497">
                        <c:v>44419</c:v>
                      </c:pt>
                      <c:pt idx="498">
                        <c:v>44420</c:v>
                      </c:pt>
                      <c:pt idx="499">
                        <c:v>44421</c:v>
                      </c:pt>
                      <c:pt idx="500">
                        <c:v>44422</c:v>
                      </c:pt>
                      <c:pt idx="501">
                        <c:v>44423</c:v>
                      </c:pt>
                    </c:numCache>
                  </c:numRef>
                </c:cat>
                <c:val>
                  <c:numRef>
                    <c:extLst>
                      <c:ext uri="{02D57815-91ED-43cb-92C2-25804820EDAC}">
                        <c15:formulaRef>
                          <c15:sqref>'C.A.+R.D.'!$K$94:$K$372</c15:sqref>
                        </c15:formulaRef>
                      </c:ext>
                    </c:extLst>
                    <c:numCache>
                      <c:formatCode>General</c:formatCode>
                      <c:ptCount val="279"/>
                      <c:pt idx="0">
                        <c:v>24.815000000000001</c:v>
                      </c:pt>
                      <c:pt idx="1">
                        <c:v>19.552</c:v>
                      </c:pt>
                      <c:pt idx="2">
                        <c:v>15.122999999999999</c:v>
                      </c:pt>
                      <c:pt idx="3">
                        <c:v>10.126000000000001</c:v>
                      </c:pt>
                      <c:pt idx="4">
                        <c:v>28.901</c:v>
                      </c:pt>
                      <c:pt idx="5">
                        <c:v>14.812999999999999</c:v>
                      </c:pt>
                      <c:pt idx="6">
                        <c:v>17.427</c:v>
                      </c:pt>
                      <c:pt idx="7">
                        <c:v>21.596</c:v>
                      </c:pt>
                      <c:pt idx="8">
                        <c:v>34.472999999999999</c:v>
                      </c:pt>
                      <c:pt idx="9">
                        <c:v>36.537999999999997</c:v>
                      </c:pt>
                      <c:pt idx="10">
                        <c:v>18.472999999999999</c:v>
                      </c:pt>
                      <c:pt idx="11">
                        <c:v>25.042999999999999</c:v>
                      </c:pt>
                      <c:pt idx="12">
                        <c:v>24.084000000000003</c:v>
                      </c:pt>
                      <c:pt idx="13">
                        <c:v>15.622</c:v>
                      </c:pt>
                      <c:pt idx="14">
                        <c:v>35.286000000000001</c:v>
                      </c:pt>
                      <c:pt idx="15">
                        <c:v>18.509999999999998</c:v>
                      </c:pt>
                      <c:pt idx="16">
                        <c:v>40.198</c:v>
                      </c:pt>
                      <c:pt idx="17">
                        <c:v>25.134</c:v>
                      </c:pt>
                      <c:pt idx="18">
                        <c:v>37.374000000000002</c:v>
                      </c:pt>
                      <c:pt idx="19">
                        <c:v>31.484999999999999</c:v>
                      </c:pt>
                      <c:pt idx="20">
                        <c:v>11.823</c:v>
                      </c:pt>
                      <c:pt idx="21">
                        <c:v>30.648</c:v>
                      </c:pt>
                      <c:pt idx="22">
                        <c:v>30.242999999999999</c:v>
                      </c:pt>
                      <c:pt idx="23">
                        <c:v>32.722999999999999</c:v>
                      </c:pt>
                      <c:pt idx="24">
                        <c:v>23.681000000000001</c:v>
                      </c:pt>
                      <c:pt idx="25">
                        <c:v>25.016999999999996</c:v>
                      </c:pt>
                      <c:pt idx="26">
                        <c:v>23.92</c:v>
                      </c:pt>
                      <c:pt idx="27">
                        <c:v>20.440000000000001</c:v>
                      </c:pt>
                      <c:pt idx="28">
                        <c:v>33.400999999999996</c:v>
                      </c:pt>
                      <c:pt idx="29">
                        <c:v>39.278999999999996</c:v>
                      </c:pt>
                      <c:pt idx="30">
                        <c:v>40.623000000000005</c:v>
                      </c:pt>
                      <c:pt idx="31">
                        <c:v>54.948999999999998</c:v>
                      </c:pt>
                      <c:pt idx="32">
                        <c:v>48.153999999999996</c:v>
                      </c:pt>
                      <c:pt idx="33">
                        <c:v>50.438999999999993</c:v>
                      </c:pt>
                      <c:pt idx="34">
                        <c:v>41.352999999999994</c:v>
                      </c:pt>
                      <c:pt idx="35">
                        <c:v>59.652000000000001</c:v>
                      </c:pt>
                      <c:pt idx="36">
                        <c:v>61.406999999999996</c:v>
                      </c:pt>
                      <c:pt idx="37">
                        <c:v>47.198999999999998</c:v>
                      </c:pt>
                      <c:pt idx="38">
                        <c:v>64.191000000000003</c:v>
                      </c:pt>
                      <c:pt idx="39">
                        <c:v>80.490000000000009</c:v>
                      </c:pt>
                      <c:pt idx="40">
                        <c:v>55.245999999999995</c:v>
                      </c:pt>
                      <c:pt idx="41">
                        <c:v>35.361000000000004</c:v>
                      </c:pt>
                      <c:pt idx="42">
                        <c:v>61.109000000000002</c:v>
                      </c:pt>
                      <c:pt idx="43">
                        <c:v>42.124000000000002</c:v>
                      </c:pt>
                      <c:pt idx="44">
                        <c:v>77.599999999999994</c:v>
                      </c:pt>
                      <c:pt idx="45">
                        <c:v>61.942000000000007</c:v>
                      </c:pt>
                      <c:pt idx="46">
                        <c:v>40.201000000000001</c:v>
                      </c:pt>
                      <c:pt idx="47">
                        <c:v>73.703000000000003</c:v>
                      </c:pt>
                      <c:pt idx="48">
                        <c:v>124.908</c:v>
                      </c:pt>
                      <c:pt idx="49">
                        <c:v>44.983000000000004</c:v>
                      </c:pt>
                      <c:pt idx="50">
                        <c:v>71.11</c:v>
                      </c:pt>
                      <c:pt idx="51">
                        <c:v>85.736999999999995</c:v>
                      </c:pt>
                      <c:pt idx="52">
                        <c:v>73.140999999999991</c:v>
                      </c:pt>
                      <c:pt idx="53">
                        <c:v>120.503</c:v>
                      </c:pt>
                      <c:pt idx="54">
                        <c:v>82.564999999999998</c:v>
                      </c:pt>
                      <c:pt idx="55">
                        <c:v>132.376</c:v>
                      </c:pt>
                      <c:pt idx="56">
                        <c:v>92.929999999999993</c:v>
                      </c:pt>
                      <c:pt idx="57">
                        <c:v>70.688000000000002</c:v>
                      </c:pt>
                      <c:pt idx="58">
                        <c:v>74.408000000000001</c:v>
                      </c:pt>
                      <c:pt idx="59">
                        <c:v>99.596000000000004</c:v>
                      </c:pt>
                      <c:pt idx="60">
                        <c:v>85.657000000000011</c:v>
                      </c:pt>
                      <c:pt idx="61">
                        <c:v>72.027999999999992</c:v>
                      </c:pt>
                      <c:pt idx="62">
                        <c:v>116.46600000000001</c:v>
                      </c:pt>
                      <c:pt idx="63">
                        <c:v>70.942999999999998</c:v>
                      </c:pt>
                      <c:pt idx="64">
                        <c:v>85.873999999999995</c:v>
                      </c:pt>
                      <c:pt idx="65">
                        <c:v>80.681000000000012</c:v>
                      </c:pt>
                      <c:pt idx="66">
                        <c:v>100.58199999999999</c:v>
                      </c:pt>
                      <c:pt idx="67">
                        <c:v>92.665000000000006</c:v>
                      </c:pt>
                      <c:pt idx="68">
                        <c:v>104.28899999999999</c:v>
                      </c:pt>
                      <c:pt idx="69">
                        <c:v>168.047</c:v>
                      </c:pt>
                      <c:pt idx="70">
                        <c:v>128.63000000000002</c:v>
                      </c:pt>
                      <c:pt idx="71">
                        <c:v>138.53799999999998</c:v>
                      </c:pt>
                      <c:pt idx="72">
                        <c:v>154.06</c:v>
                      </c:pt>
                      <c:pt idx="73">
                        <c:v>141.63799999999998</c:v>
                      </c:pt>
                      <c:pt idx="74">
                        <c:v>124.84099999999999</c:v>
                      </c:pt>
                      <c:pt idx="75">
                        <c:v>106.66200000000001</c:v>
                      </c:pt>
                      <c:pt idx="76">
                        <c:v>192.87100000000001</c:v>
                      </c:pt>
                      <c:pt idx="77">
                        <c:v>167.959</c:v>
                      </c:pt>
                      <c:pt idx="78">
                        <c:v>162.65</c:v>
                      </c:pt>
                      <c:pt idx="79">
                        <c:v>170.42100000000002</c:v>
                      </c:pt>
                      <c:pt idx="80">
                        <c:v>221.04399999999998</c:v>
                      </c:pt>
                      <c:pt idx="81">
                        <c:v>191.55</c:v>
                      </c:pt>
                      <c:pt idx="82">
                        <c:v>198.602</c:v>
                      </c:pt>
                      <c:pt idx="83">
                        <c:v>250.16000000000003</c:v>
                      </c:pt>
                      <c:pt idx="84">
                        <c:v>199.19200000000001</c:v>
                      </c:pt>
                      <c:pt idx="85">
                        <c:v>233.786</c:v>
                      </c:pt>
                      <c:pt idx="86">
                        <c:v>190.244</c:v>
                      </c:pt>
                      <c:pt idx="87">
                        <c:v>273.30099999999999</c:v>
                      </c:pt>
                      <c:pt idx="88">
                        <c:v>269.34899999999999</c:v>
                      </c:pt>
                      <c:pt idx="89">
                        <c:v>206.01600000000002</c:v>
                      </c:pt>
                      <c:pt idx="90">
                        <c:v>313.21899999999999</c:v>
                      </c:pt>
                      <c:pt idx="91">
                        <c:v>301.30700000000002</c:v>
                      </c:pt>
                      <c:pt idx="92">
                        <c:v>314.221</c:v>
                      </c:pt>
                      <c:pt idx="93">
                        <c:v>354.07900000000006</c:v>
                      </c:pt>
                      <c:pt idx="94">
                        <c:v>342.06099999999998</c:v>
                      </c:pt>
                      <c:pt idx="95">
                        <c:v>374.52099999999996</c:v>
                      </c:pt>
                      <c:pt idx="96">
                        <c:v>264.75</c:v>
                      </c:pt>
                      <c:pt idx="97">
                        <c:v>290.99099999999999</c:v>
                      </c:pt>
                      <c:pt idx="98">
                        <c:v>305.74699999999996</c:v>
                      </c:pt>
                      <c:pt idx="99">
                        <c:v>391.66199999999998</c:v>
                      </c:pt>
                      <c:pt idx="100">
                        <c:v>341.50600000000003</c:v>
                      </c:pt>
                      <c:pt idx="101">
                        <c:v>332.846</c:v>
                      </c:pt>
                      <c:pt idx="102">
                        <c:v>339.44</c:v>
                      </c:pt>
                      <c:pt idx="103">
                        <c:v>294.00200000000001</c:v>
                      </c:pt>
                      <c:pt idx="104">
                        <c:v>373.03200000000004</c:v>
                      </c:pt>
                      <c:pt idx="105">
                        <c:v>438.57599999999996</c:v>
                      </c:pt>
                      <c:pt idx="106">
                        <c:v>389.03599999999994</c:v>
                      </c:pt>
                      <c:pt idx="107">
                        <c:v>385.07900000000006</c:v>
                      </c:pt>
                      <c:pt idx="108">
                        <c:v>632.35</c:v>
                      </c:pt>
                      <c:pt idx="109">
                        <c:v>426.43599999999998</c:v>
                      </c:pt>
                      <c:pt idx="110">
                        <c:v>338.15199999999993</c:v>
                      </c:pt>
                      <c:pt idx="111">
                        <c:v>374.32499999999999</c:v>
                      </c:pt>
                      <c:pt idx="112">
                        <c:v>410.41899999999998</c:v>
                      </c:pt>
                      <c:pt idx="113">
                        <c:v>497.42200000000003</c:v>
                      </c:pt>
                      <c:pt idx="114">
                        <c:v>431.99</c:v>
                      </c:pt>
                      <c:pt idx="115">
                        <c:v>572.81200000000001</c:v>
                      </c:pt>
                      <c:pt idx="116">
                        <c:v>487.928</c:v>
                      </c:pt>
                      <c:pt idx="117">
                        <c:v>358.86099999999999</c:v>
                      </c:pt>
                      <c:pt idx="118">
                        <c:v>382.839</c:v>
                      </c:pt>
                      <c:pt idx="119">
                        <c:v>401.23099999999999</c:v>
                      </c:pt>
                      <c:pt idx="120">
                        <c:v>432.73300000000006</c:v>
                      </c:pt>
                      <c:pt idx="121">
                        <c:v>438.98500000000001</c:v>
                      </c:pt>
                      <c:pt idx="122">
                        <c:v>433.45399999999995</c:v>
                      </c:pt>
                      <c:pt idx="123">
                        <c:v>362.322</c:v>
                      </c:pt>
                      <c:pt idx="124">
                        <c:v>298.738</c:v>
                      </c:pt>
                      <c:pt idx="125">
                        <c:v>390.22699999999998</c:v>
                      </c:pt>
                      <c:pt idx="126">
                        <c:v>451.89499999999998</c:v>
                      </c:pt>
                      <c:pt idx="127">
                        <c:v>387.125</c:v>
                      </c:pt>
                      <c:pt idx="128">
                        <c:v>484.59299999999996</c:v>
                      </c:pt>
                      <c:pt idx="129">
                        <c:v>419.673</c:v>
                      </c:pt>
                      <c:pt idx="130">
                        <c:v>323.34499999999997</c:v>
                      </c:pt>
                      <c:pt idx="131">
                        <c:v>318.48900000000003</c:v>
                      </c:pt>
                      <c:pt idx="132">
                        <c:v>381.315</c:v>
                      </c:pt>
                      <c:pt idx="133">
                        <c:v>358.08199999999999</c:v>
                      </c:pt>
                      <c:pt idx="134">
                        <c:v>453.70599999999996</c:v>
                      </c:pt>
                      <c:pt idx="135">
                        <c:v>438.50800000000004</c:v>
                      </c:pt>
                      <c:pt idx="136">
                        <c:v>403.774</c:v>
                      </c:pt>
                      <c:pt idx="137">
                        <c:v>325.214</c:v>
                      </c:pt>
                      <c:pt idx="138">
                        <c:v>275.38799999999998</c:v>
                      </c:pt>
                      <c:pt idx="139">
                        <c:v>334.92999999999995</c:v>
                      </c:pt>
                      <c:pt idx="140">
                        <c:v>403.35599999999999</c:v>
                      </c:pt>
                      <c:pt idx="141">
                        <c:v>364.33100000000002</c:v>
                      </c:pt>
                      <c:pt idx="142">
                        <c:v>433.48699999999997</c:v>
                      </c:pt>
                      <c:pt idx="143">
                        <c:v>396.23600000000005</c:v>
                      </c:pt>
                      <c:pt idx="144">
                        <c:v>302.77300000000002</c:v>
                      </c:pt>
                      <c:pt idx="145">
                        <c:v>313.55799999999999</c:v>
                      </c:pt>
                      <c:pt idx="146">
                        <c:v>378.62099999999998</c:v>
                      </c:pt>
                      <c:pt idx="147">
                        <c:v>389.06100000000004</c:v>
                      </c:pt>
                      <c:pt idx="148">
                        <c:v>419.80500000000001</c:v>
                      </c:pt>
                      <c:pt idx="149">
                        <c:v>468.30399999999997</c:v>
                      </c:pt>
                      <c:pt idx="150">
                        <c:v>415.26399999999995</c:v>
                      </c:pt>
                      <c:pt idx="151">
                        <c:v>128.44499999999999</c:v>
                      </c:pt>
                      <c:pt idx="152">
                        <c:v>463.77000000000004</c:v>
                      </c:pt>
                      <c:pt idx="153">
                        <c:v>362.65899999999999</c:v>
                      </c:pt>
                      <c:pt idx="154">
                        <c:v>411.09199999999998</c:v>
                      </c:pt>
                      <c:pt idx="155">
                        <c:v>437.17199999999997</c:v>
                      </c:pt>
                      <c:pt idx="156">
                        <c:v>357.83100000000002</c:v>
                      </c:pt>
                      <c:pt idx="157">
                        <c:v>538.38200000000006</c:v>
                      </c:pt>
                      <c:pt idx="158">
                        <c:v>119.94399999999999</c:v>
                      </c:pt>
                      <c:pt idx="159">
                        <c:v>446.541</c:v>
                      </c:pt>
                      <c:pt idx="160">
                        <c:v>369.13799999999998</c:v>
                      </c:pt>
                      <c:pt idx="161">
                        <c:v>437.38300000000004</c:v>
                      </c:pt>
                      <c:pt idx="162">
                        <c:v>404.04999999999995</c:v>
                      </c:pt>
                      <c:pt idx="163">
                        <c:v>403.60300000000001</c:v>
                      </c:pt>
                      <c:pt idx="164">
                        <c:v>528.78899999999999</c:v>
                      </c:pt>
                      <c:pt idx="165">
                        <c:v>144.17000000000002</c:v>
                      </c:pt>
                      <c:pt idx="166">
                        <c:v>526.90499999999997</c:v>
                      </c:pt>
                      <c:pt idx="167">
                        <c:v>278.56</c:v>
                      </c:pt>
                      <c:pt idx="168">
                        <c:v>466.85399999999998</c:v>
                      </c:pt>
                      <c:pt idx="169">
                        <c:v>413.28899999999999</c:v>
                      </c:pt>
                      <c:pt idx="170">
                        <c:v>462.87600000000009</c:v>
                      </c:pt>
                      <c:pt idx="171">
                        <c:v>463.34399999999999</c:v>
                      </c:pt>
                      <c:pt idx="172">
                        <c:v>137.62299999999999</c:v>
                      </c:pt>
                      <c:pt idx="173">
                        <c:v>513.89800000000002</c:v>
                      </c:pt>
                      <c:pt idx="174">
                        <c:v>375.04499999999996</c:v>
                      </c:pt>
                      <c:pt idx="175">
                        <c:v>395.04899999999998</c:v>
                      </c:pt>
                      <c:pt idx="176">
                        <c:v>428.10399999999998</c:v>
                      </c:pt>
                      <c:pt idx="177">
                        <c:v>461.23599999999999</c:v>
                      </c:pt>
                      <c:pt idx="178">
                        <c:v>392.70599999999996</c:v>
                      </c:pt>
                      <c:pt idx="179">
                        <c:v>94.462999999999994</c:v>
                      </c:pt>
                      <c:pt idx="180">
                        <c:v>489.654</c:v>
                      </c:pt>
                      <c:pt idx="181">
                        <c:v>333.43300000000005</c:v>
                      </c:pt>
                      <c:pt idx="182">
                        <c:v>394.61300000000006</c:v>
                      </c:pt>
                      <c:pt idx="183">
                        <c:v>380.08499999999998</c:v>
                      </c:pt>
                      <c:pt idx="184">
                        <c:v>359.59700000000004</c:v>
                      </c:pt>
                      <c:pt idx="185">
                        <c:v>436.041</c:v>
                      </c:pt>
                      <c:pt idx="186">
                        <c:v>162.16499999999999</c:v>
                      </c:pt>
                      <c:pt idx="187">
                        <c:v>500.54100000000005</c:v>
                      </c:pt>
                      <c:pt idx="188">
                        <c:v>360.13499999999999</c:v>
                      </c:pt>
                      <c:pt idx="189">
                        <c:v>435.79300000000001</c:v>
                      </c:pt>
                      <c:pt idx="190">
                        <c:v>453.75699999999995</c:v>
                      </c:pt>
                      <c:pt idx="191">
                        <c:v>425.45100000000002</c:v>
                      </c:pt>
                      <c:pt idx="192">
                        <c:v>417.39</c:v>
                      </c:pt>
                      <c:pt idx="193">
                        <c:v>184.399</c:v>
                      </c:pt>
                      <c:pt idx="194">
                        <c:v>423.66300000000001</c:v>
                      </c:pt>
                      <c:pt idx="195">
                        <c:v>346.92599999999999</c:v>
                      </c:pt>
                      <c:pt idx="196">
                        <c:v>508.12200000000001</c:v>
                      </c:pt>
                      <c:pt idx="197">
                        <c:v>453.214</c:v>
                      </c:pt>
                      <c:pt idx="198">
                        <c:v>399.58500000000004</c:v>
                      </c:pt>
                      <c:pt idx="199">
                        <c:v>426.61899999999997</c:v>
                      </c:pt>
                      <c:pt idx="200">
                        <c:v>173.709</c:v>
                      </c:pt>
                      <c:pt idx="201">
                        <c:v>445.79200000000003</c:v>
                      </c:pt>
                      <c:pt idx="202">
                        <c:v>374.87199999999996</c:v>
                      </c:pt>
                      <c:pt idx="203">
                        <c:v>452.93399999999997</c:v>
                      </c:pt>
                      <c:pt idx="204">
                        <c:v>385.24799999999999</c:v>
                      </c:pt>
                      <c:pt idx="205">
                        <c:v>302.78999999999996</c:v>
                      </c:pt>
                      <c:pt idx="206">
                        <c:v>541.98799999999994</c:v>
                      </c:pt>
                      <c:pt idx="207">
                        <c:v>105.04599999999999</c:v>
                      </c:pt>
                      <c:pt idx="208">
                        <c:v>432.77499999999998</c:v>
                      </c:pt>
                      <c:pt idx="209">
                        <c:v>300.62200000000001</c:v>
                      </c:pt>
                      <c:pt idx="210">
                        <c:v>393.42</c:v>
                      </c:pt>
                      <c:pt idx="211">
                        <c:v>433.68100000000004</c:v>
                      </c:pt>
                      <c:pt idx="212">
                        <c:v>398.19100000000003</c:v>
                      </c:pt>
                      <c:pt idx="213">
                        <c:v>313.64499999999998</c:v>
                      </c:pt>
                      <c:pt idx="214">
                        <c:v>259.71000000000004</c:v>
                      </c:pt>
                      <c:pt idx="215">
                        <c:v>295.81</c:v>
                      </c:pt>
                      <c:pt idx="216">
                        <c:v>242.83</c:v>
                      </c:pt>
                      <c:pt idx="217">
                        <c:v>344.70600000000002</c:v>
                      </c:pt>
                      <c:pt idx="218">
                        <c:v>459.01799999999997</c:v>
                      </c:pt>
                      <c:pt idx="219">
                        <c:v>337.93700000000001</c:v>
                      </c:pt>
                      <c:pt idx="220">
                        <c:v>322.64100000000002</c:v>
                      </c:pt>
                      <c:pt idx="221">
                        <c:v>61.335999999999999</c:v>
                      </c:pt>
                      <c:pt idx="222">
                        <c:v>338.26800000000003</c:v>
                      </c:pt>
                      <c:pt idx="223">
                        <c:v>317.66899999999998</c:v>
                      </c:pt>
                      <c:pt idx="224">
                        <c:v>323.23099999999999</c:v>
                      </c:pt>
                      <c:pt idx="225">
                        <c:v>471.56299999999993</c:v>
                      </c:pt>
                      <c:pt idx="226">
                        <c:v>436.55100000000004</c:v>
                      </c:pt>
                      <c:pt idx="227">
                        <c:v>384.245</c:v>
                      </c:pt>
                      <c:pt idx="228">
                        <c:v>110.49299999999999</c:v>
                      </c:pt>
                      <c:pt idx="229">
                        <c:v>382.88300000000004</c:v>
                      </c:pt>
                      <c:pt idx="230">
                        <c:v>315.21299999999997</c:v>
                      </c:pt>
                      <c:pt idx="231">
                        <c:v>403.52300000000002</c:v>
                      </c:pt>
                      <c:pt idx="232">
                        <c:v>394.31199999999995</c:v>
                      </c:pt>
                      <c:pt idx="233">
                        <c:v>355.08499999999998</c:v>
                      </c:pt>
                      <c:pt idx="234">
                        <c:v>216.983</c:v>
                      </c:pt>
                      <c:pt idx="235">
                        <c:v>118.93299999999999</c:v>
                      </c:pt>
                      <c:pt idx="236">
                        <c:v>686.93200000000002</c:v>
                      </c:pt>
                      <c:pt idx="237">
                        <c:v>295.23599999999999</c:v>
                      </c:pt>
                      <c:pt idx="238">
                        <c:v>414.45300000000003</c:v>
                      </c:pt>
                      <c:pt idx="239">
                        <c:v>476.45000000000005</c:v>
                      </c:pt>
                      <c:pt idx="240">
                        <c:v>495.03500000000003</c:v>
                      </c:pt>
                      <c:pt idx="241">
                        <c:v>156.19200000000001</c:v>
                      </c:pt>
                      <c:pt idx="242">
                        <c:v>123.10799999999999</c:v>
                      </c:pt>
                      <c:pt idx="243">
                        <c:v>589.00200000000007</c:v>
                      </c:pt>
                      <c:pt idx="244">
                        <c:v>293.44200000000001</c:v>
                      </c:pt>
                      <c:pt idx="245">
                        <c:v>440.03700000000003</c:v>
                      </c:pt>
                      <c:pt idx="246">
                        <c:v>398.84100000000001</c:v>
                      </c:pt>
                      <c:pt idx="247">
                        <c:v>426.12400000000002</c:v>
                      </c:pt>
                      <c:pt idx="248">
                        <c:v>140.60400000000001</c:v>
                      </c:pt>
                      <c:pt idx="249">
                        <c:v>255.613</c:v>
                      </c:pt>
                      <c:pt idx="250">
                        <c:v>640.15</c:v>
                      </c:pt>
                      <c:pt idx="251">
                        <c:v>396.23999999999995</c:v>
                      </c:pt>
                      <c:pt idx="252">
                        <c:v>471.245</c:v>
                      </c:pt>
                      <c:pt idx="253">
                        <c:v>443.72699999999998</c:v>
                      </c:pt>
                      <c:pt idx="254">
                        <c:v>382.32799999999997</c:v>
                      </c:pt>
                      <c:pt idx="255">
                        <c:v>270.08800000000002</c:v>
                      </c:pt>
                      <c:pt idx="256">
                        <c:v>144.166</c:v>
                      </c:pt>
                      <c:pt idx="257">
                        <c:v>591.91100000000006</c:v>
                      </c:pt>
                      <c:pt idx="258">
                        <c:v>345.51400000000001</c:v>
                      </c:pt>
                      <c:pt idx="259">
                        <c:v>429.68400000000003</c:v>
                      </c:pt>
                      <c:pt idx="260">
                        <c:v>336.947</c:v>
                      </c:pt>
                      <c:pt idx="261">
                        <c:v>379.82600000000002</c:v>
                      </c:pt>
                      <c:pt idx="262">
                        <c:v>257.41000000000003</c:v>
                      </c:pt>
                      <c:pt idx="263">
                        <c:v>256.613</c:v>
                      </c:pt>
                      <c:pt idx="264">
                        <c:v>604.78399999999999</c:v>
                      </c:pt>
                      <c:pt idx="265">
                        <c:v>340.92399999999998</c:v>
                      </c:pt>
                      <c:pt idx="266">
                        <c:v>365.363</c:v>
                      </c:pt>
                      <c:pt idx="267">
                        <c:v>478.673</c:v>
                      </c:pt>
                      <c:pt idx="268">
                        <c:v>200.58799999999999</c:v>
                      </c:pt>
                      <c:pt idx="269">
                        <c:v>132.727</c:v>
                      </c:pt>
                      <c:pt idx="270">
                        <c:v>83.662000000000006</c:v>
                      </c:pt>
                      <c:pt idx="271">
                        <c:v>795.53000000000009</c:v>
                      </c:pt>
                      <c:pt idx="272">
                        <c:v>459.42500000000007</c:v>
                      </c:pt>
                      <c:pt idx="273">
                        <c:v>512.35800000000006</c:v>
                      </c:pt>
                      <c:pt idx="274">
                        <c:v>487.71699999999998</c:v>
                      </c:pt>
                      <c:pt idx="275">
                        <c:v>260.40699999999998</c:v>
                      </c:pt>
                      <c:pt idx="276">
                        <c:v>90.490000000000009</c:v>
                      </c:pt>
                      <c:pt idx="277">
                        <c:v>195.29900000000001</c:v>
                      </c:pt>
                      <c:pt idx="278">
                        <c:v>856.63700000000006</c:v>
                      </c:pt>
                    </c:numCache>
                  </c:numRef>
                </c:val>
                <c:smooth val="0"/>
                <c:extLst>
                  <c:ext xmlns:c16="http://schemas.microsoft.com/office/drawing/2014/chart" uri="{C3380CC4-5D6E-409C-BE32-E72D297353CC}">
                    <c16:uniqueId val="{00000007-1D52-4AF4-98CA-071069331375}"/>
                  </c:ext>
                </c:extLst>
              </c15:ser>
            </c15:filteredLineSeries>
          </c:ext>
        </c:extLst>
      </c:lineChart>
      <c:dateAx>
        <c:axId val="197384064"/>
        <c:scaling>
          <c:orientation val="minMax"/>
        </c:scaling>
        <c:delete val="0"/>
        <c:axPos val="b"/>
        <c:numFmt formatCode="dd/mm/yy;@"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600" b="0" i="0" u="none" strike="noStrike" kern="1200" cap="none" spc="0" normalizeH="0" baseline="0">
                <a:solidFill>
                  <a:schemeClr val="dk1">
                    <a:lumMod val="65000"/>
                    <a:lumOff val="35000"/>
                  </a:schemeClr>
                </a:solidFill>
                <a:latin typeface="+mn-lt"/>
                <a:ea typeface="+mn-ea"/>
                <a:cs typeface="+mn-cs"/>
              </a:defRPr>
            </a:pPr>
            <a:endParaRPr lang="es-GT"/>
          </a:p>
        </c:txPr>
        <c:crossAx val="197385600"/>
        <c:crosses val="autoZero"/>
        <c:auto val="1"/>
        <c:lblOffset val="100"/>
        <c:baseTimeUnit val="days"/>
      </c:dateAx>
      <c:valAx>
        <c:axId val="197385600"/>
        <c:scaling>
          <c:orientation val="minMax"/>
          <c:max val="200"/>
          <c:min val="0"/>
        </c:scaling>
        <c:delete val="0"/>
        <c:axPos val="l"/>
        <c:majorGridlines>
          <c:spPr>
            <a:ln w="9525" cap="flat" cmpd="sng" algn="ctr">
              <a:solidFill>
                <a:schemeClr val="dk1">
                  <a:lumMod val="15000"/>
                  <a:lumOff val="85000"/>
                  <a:alpha val="54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dk1">
                    <a:lumMod val="65000"/>
                    <a:lumOff val="35000"/>
                  </a:schemeClr>
                </a:solidFill>
                <a:latin typeface="+mn-lt"/>
                <a:ea typeface="+mn-ea"/>
                <a:cs typeface="+mn-cs"/>
              </a:defRPr>
            </a:pPr>
            <a:endParaRPr lang="es-GT"/>
          </a:p>
        </c:txPr>
        <c:crossAx val="197384064"/>
        <c:crosses val="autoZero"/>
        <c:crossBetween val="between"/>
      </c:valAx>
      <c:spPr>
        <a:noFill/>
        <a:ln>
          <a:noFill/>
        </a:ln>
        <a:effectLst/>
      </c:spPr>
    </c:plotArea>
    <c:plotVisOnly val="1"/>
    <c:dispBlanksAs val="gap"/>
    <c:showDLblsOverMax val="0"/>
  </c:chart>
  <c:spPr>
    <a:solidFill>
      <a:schemeClr val="lt1"/>
    </a:solidFill>
    <a:ln w="9525" cap="flat" cmpd="sng" algn="ctr">
      <a:noFill/>
      <a:round/>
    </a:ln>
    <a:effectLst/>
  </c:spPr>
  <c:txPr>
    <a:bodyPr/>
    <a:lstStyle/>
    <a:p>
      <a:pPr>
        <a:defRPr/>
      </a:pPr>
      <a:endParaRPr lang="es-GT"/>
    </a:p>
  </c:txPr>
  <c:externalData r:id="rId1">
    <c:autoUpdate val="0"/>
  </c:externalData>
  <c:userShapes r:id="rId2"/>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MX"/>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indent="0" algn="ctr" defTabSz="914400" rtl="0" eaLnBrk="1" fontAlgn="auto" latinLnBrk="0" hangingPunct="1">
              <a:lnSpc>
                <a:spcPct val="100000"/>
              </a:lnSpc>
              <a:spcBef>
                <a:spcPts val="0"/>
              </a:spcBef>
              <a:spcAft>
                <a:spcPts val="0"/>
              </a:spcAft>
              <a:buClrTx/>
              <a:buSzTx/>
              <a:buFontTx/>
              <a:buNone/>
              <a:tabLst/>
              <a:defRPr sz="1400" b="1" i="0" u="none" strike="noStrike" kern="1200" cap="none" spc="0" normalizeH="0" baseline="0">
                <a:solidFill>
                  <a:sysClr val="windowText" lastClr="000000">
                    <a:lumMod val="50000"/>
                    <a:lumOff val="50000"/>
                  </a:sysClr>
                </a:solidFill>
                <a:latin typeface="+mj-lt"/>
                <a:ea typeface="+mj-ea"/>
                <a:cs typeface="+mj-cs"/>
              </a:defRPr>
            </a:pPr>
            <a:r>
              <a:rPr lang="es-GT" sz="1300" dirty="0">
                <a:solidFill>
                  <a:srgbClr val="0B3963"/>
                </a:solidFill>
              </a:rPr>
              <a:t>Guatemala:</a:t>
            </a:r>
            <a:r>
              <a:rPr lang="es-GT" sz="1300" baseline="0" dirty="0">
                <a:solidFill>
                  <a:srgbClr val="0B3963"/>
                </a:solidFill>
              </a:rPr>
              <a:t> </a:t>
            </a:r>
            <a:r>
              <a:rPr lang="es-GT" sz="1300" dirty="0">
                <a:solidFill>
                  <a:srgbClr val="0B3963"/>
                </a:solidFill>
              </a:rPr>
              <a:t>La Evolución sobre los</a:t>
            </a:r>
            <a:r>
              <a:rPr lang="es-GT" sz="1300" baseline="0" dirty="0">
                <a:solidFill>
                  <a:srgbClr val="0B3963"/>
                </a:solidFill>
              </a:rPr>
              <a:t> </a:t>
            </a:r>
            <a:r>
              <a:rPr lang="es-GT" sz="1300" dirty="0">
                <a:solidFill>
                  <a:srgbClr val="0B3963"/>
                </a:solidFill>
              </a:rPr>
              <a:t>Fallecidos Nuevos</a:t>
            </a:r>
            <a:r>
              <a:rPr lang="es-GT" sz="1300" baseline="0" dirty="0">
                <a:solidFill>
                  <a:srgbClr val="0B3963"/>
                </a:solidFill>
              </a:rPr>
              <a:t> </a:t>
            </a:r>
            <a:r>
              <a:rPr lang="es-GT" sz="1300" dirty="0">
                <a:solidFill>
                  <a:srgbClr val="0B3963"/>
                </a:solidFill>
              </a:rPr>
              <a:t>(Promedio</a:t>
            </a:r>
            <a:r>
              <a:rPr lang="es-GT" sz="1300" baseline="0" dirty="0">
                <a:solidFill>
                  <a:srgbClr val="0B3963"/>
                </a:solidFill>
              </a:rPr>
              <a:t> Móvil de 7 días)</a:t>
            </a:r>
            <a:endParaRPr lang="es-GT" sz="1300" dirty="0">
              <a:solidFill>
                <a:srgbClr val="0B3963"/>
              </a:solidFill>
            </a:endParaRPr>
          </a:p>
        </c:rich>
      </c:tx>
      <c:layout>
        <c:manualLayout>
          <c:xMode val="edge"/>
          <c:yMode val="edge"/>
          <c:x val="0.15042995012229288"/>
          <c:y val="4.3616381900918695E-3"/>
        </c:manualLayout>
      </c:layout>
      <c:overlay val="0"/>
      <c:spPr>
        <a:noFill/>
        <a:ln>
          <a:noFill/>
        </a:ln>
        <a:effectLst/>
      </c:spPr>
    </c:title>
    <c:autoTitleDeleted val="0"/>
    <c:plotArea>
      <c:layout>
        <c:manualLayout>
          <c:layoutTarget val="inner"/>
          <c:xMode val="edge"/>
          <c:yMode val="edge"/>
          <c:x val="8.4435682398782033E-2"/>
          <c:y val="0.22535608996509524"/>
          <c:w val="0.87037390653626812"/>
          <c:h val="0.61070308194312017"/>
        </c:manualLayout>
      </c:layout>
      <c:barChart>
        <c:barDir val="col"/>
        <c:grouping val="clustered"/>
        <c:varyColors val="0"/>
        <c:ser>
          <c:idx val="7"/>
          <c:order val="7"/>
          <c:spPr>
            <a:solidFill>
              <a:schemeClr val="bg1">
                <a:lumMod val="95000"/>
                <a:alpha val="50000"/>
              </a:schemeClr>
            </a:solidFill>
            <a:ln>
              <a:solidFill>
                <a:schemeClr val="bg1">
                  <a:lumMod val="95000"/>
                  <a:alpha val="50000"/>
                </a:schemeClr>
              </a:solidFill>
            </a:ln>
            <a:effectLst/>
          </c:spPr>
          <c:invertIfNegative val="0"/>
          <c:cat>
            <c:numRef>
              <c:f>World!$A$94:$A$598</c:f>
              <c:numCache>
                <c:formatCode>dd/mm/yy;@</c:formatCode>
                <c:ptCount val="505"/>
                <c:pt idx="0">
                  <c:v>43922</c:v>
                </c:pt>
                <c:pt idx="1">
                  <c:v>43923</c:v>
                </c:pt>
                <c:pt idx="2">
                  <c:v>43924</c:v>
                </c:pt>
                <c:pt idx="3">
                  <c:v>43925</c:v>
                </c:pt>
                <c:pt idx="4">
                  <c:v>43926</c:v>
                </c:pt>
                <c:pt idx="5">
                  <c:v>43927</c:v>
                </c:pt>
                <c:pt idx="6">
                  <c:v>43928</c:v>
                </c:pt>
                <c:pt idx="7">
                  <c:v>43929</c:v>
                </c:pt>
                <c:pt idx="8">
                  <c:v>43930</c:v>
                </c:pt>
                <c:pt idx="9">
                  <c:v>43931</c:v>
                </c:pt>
                <c:pt idx="10">
                  <c:v>43932</c:v>
                </c:pt>
                <c:pt idx="11">
                  <c:v>43933</c:v>
                </c:pt>
                <c:pt idx="12">
                  <c:v>43934</c:v>
                </c:pt>
                <c:pt idx="13">
                  <c:v>43935</c:v>
                </c:pt>
                <c:pt idx="14">
                  <c:v>43936</c:v>
                </c:pt>
                <c:pt idx="15">
                  <c:v>43937</c:v>
                </c:pt>
                <c:pt idx="16">
                  <c:v>43938</c:v>
                </c:pt>
                <c:pt idx="17">
                  <c:v>43939</c:v>
                </c:pt>
                <c:pt idx="18">
                  <c:v>43940</c:v>
                </c:pt>
                <c:pt idx="19">
                  <c:v>43941</c:v>
                </c:pt>
                <c:pt idx="20">
                  <c:v>43942</c:v>
                </c:pt>
                <c:pt idx="21">
                  <c:v>43943</c:v>
                </c:pt>
                <c:pt idx="22">
                  <c:v>43944</c:v>
                </c:pt>
                <c:pt idx="23">
                  <c:v>43945</c:v>
                </c:pt>
                <c:pt idx="24">
                  <c:v>43946</c:v>
                </c:pt>
                <c:pt idx="25">
                  <c:v>43947</c:v>
                </c:pt>
                <c:pt idx="26">
                  <c:v>43948</c:v>
                </c:pt>
                <c:pt idx="27">
                  <c:v>43949</c:v>
                </c:pt>
                <c:pt idx="28">
                  <c:v>43950</c:v>
                </c:pt>
                <c:pt idx="29">
                  <c:v>43951</c:v>
                </c:pt>
                <c:pt idx="30">
                  <c:v>43952</c:v>
                </c:pt>
                <c:pt idx="31">
                  <c:v>43953</c:v>
                </c:pt>
                <c:pt idx="32">
                  <c:v>43954</c:v>
                </c:pt>
                <c:pt idx="33">
                  <c:v>43955</c:v>
                </c:pt>
                <c:pt idx="34">
                  <c:v>43956</c:v>
                </c:pt>
                <c:pt idx="35">
                  <c:v>43957</c:v>
                </c:pt>
                <c:pt idx="36">
                  <c:v>43958</c:v>
                </c:pt>
                <c:pt idx="37">
                  <c:v>43959</c:v>
                </c:pt>
                <c:pt idx="38">
                  <c:v>43960</c:v>
                </c:pt>
                <c:pt idx="39">
                  <c:v>43961</c:v>
                </c:pt>
                <c:pt idx="40">
                  <c:v>43962</c:v>
                </c:pt>
                <c:pt idx="41">
                  <c:v>43963</c:v>
                </c:pt>
                <c:pt idx="42">
                  <c:v>43964</c:v>
                </c:pt>
                <c:pt idx="43">
                  <c:v>43965</c:v>
                </c:pt>
                <c:pt idx="44">
                  <c:v>43966</c:v>
                </c:pt>
                <c:pt idx="45">
                  <c:v>43967</c:v>
                </c:pt>
                <c:pt idx="46">
                  <c:v>43968</c:v>
                </c:pt>
                <c:pt idx="47">
                  <c:v>43969</c:v>
                </c:pt>
                <c:pt idx="48">
                  <c:v>43970</c:v>
                </c:pt>
                <c:pt idx="49">
                  <c:v>43971</c:v>
                </c:pt>
                <c:pt idx="50">
                  <c:v>43972</c:v>
                </c:pt>
                <c:pt idx="51">
                  <c:v>43973</c:v>
                </c:pt>
                <c:pt idx="52">
                  <c:v>43974</c:v>
                </c:pt>
                <c:pt idx="53">
                  <c:v>43975</c:v>
                </c:pt>
                <c:pt idx="54">
                  <c:v>43976</c:v>
                </c:pt>
                <c:pt idx="55">
                  <c:v>43977</c:v>
                </c:pt>
                <c:pt idx="56">
                  <c:v>43978</c:v>
                </c:pt>
                <c:pt idx="57">
                  <c:v>43979</c:v>
                </c:pt>
                <c:pt idx="58">
                  <c:v>43980</c:v>
                </c:pt>
                <c:pt idx="59">
                  <c:v>43981</c:v>
                </c:pt>
                <c:pt idx="60">
                  <c:v>43982</c:v>
                </c:pt>
                <c:pt idx="61">
                  <c:v>43983</c:v>
                </c:pt>
                <c:pt idx="62">
                  <c:v>43984</c:v>
                </c:pt>
                <c:pt idx="63">
                  <c:v>43985</c:v>
                </c:pt>
                <c:pt idx="64">
                  <c:v>43986</c:v>
                </c:pt>
                <c:pt idx="65">
                  <c:v>43987</c:v>
                </c:pt>
                <c:pt idx="66">
                  <c:v>43988</c:v>
                </c:pt>
                <c:pt idx="67">
                  <c:v>43989</c:v>
                </c:pt>
                <c:pt idx="68">
                  <c:v>43990</c:v>
                </c:pt>
                <c:pt idx="69">
                  <c:v>43991</c:v>
                </c:pt>
                <c:pt idx="70">
                  <c:v>43992</c:v>
                </c:pt>
                <c:pt idx="71">
                  <c:v>43993</c:v>
                </c:pt>
                <c:pt idx="72">
                  <c:v>43994</c:v>
                </c:pt>
                <c:pt idx="73">
                  <c:v>43995</c:v>
                </c:pt>
                <c:pt idx="74">
                  <c:v>43996</c:v>
                </c:pt>
                <c:pt idx="75">
                  <c:v>43997</c:v>
                </c:pt>
                <c:pt idx="76">
                  <c:v>43998</c:v>
                </c:pt>
                <c:pt idx="77">
                  <c:v>43999</c:v>
                </c:pt>
                <c:pt idx="78">
                  <c:v>44000</c:v>
                </c:pt>
                <c:pt idx="79">
                  <c:v>44001</c:v>
                </c:pt>
                <c:pt idx="80">
                  <c:v>44002</c:v>
                </c:pt>
                <c:pt idx="81">
                  <c:v>44003</c:v>
                </c:pt>
                <c:pt idx="82">
                  <c:v>44004</c:v>
                </c:pt>
                <c:pt idx="83">
                  <c:v>44005</c:v>
                </c:pt>
                <c:pt idx="84">
                  <c:v>44006</c:v>
                </c:pt>
                <c:pt idx="85">
                  <c:v>44007</c:v>
                </c:pt>
                <c:pt idx="86">
                  <c:v>44008</c:v>
                </c:pt>
                <c:pt idx="87">
                  <c:v>44009</c:v>
                </c:pt>
                <c:pt idx="88">
                  <c:v>44010</c:v>
                </c:pt>
                <c:pt idx="89">
                  <c:v>44011</c:v>
                </c:pt>
                <c:pt idx="90">
                  <c:v>44012</c:v>
                </c:pt>
                <c:pt idx="91">
                  <c:v>44013</c:v>
                </c:pt>
                <c:pt idx="92">
                  <c:v>44014</c:v>
                </c:pt>
                <c:pt idx="93">
                  <c:v>44015</c:v>
                </c:pt>
                <c:pt idx="94">
                  <c:v>44016</c:v>
                </c:pt>
                <c:pt idx="95">
                  <c:v>44017</c:v>
                </c:pt>
                <c:pt idx="96">
                  <c:v>44018</c:v>
                </c:pt>
                <c:pt idx="97">
                  <c:v>44019</c:v>
                </c:pt>
                <c:pt idx="98">
                  <c:v>44020</c:v>
                </c:pt>
                <c:pt idx="99">
                  <c:v>44021</c:v>
                </c:pt>
                <c:pt idx="100">
                  <c:v>44022</c:v>
                </c:pt>
                <c:pt idx="101">
                  <c:v>44023</c:v>
                </c:pt>
                <c:pt idx="102">
                  <c:v>44024</c:v>
                </c:pt>
                <c:pt idx="103">
                  <c:v>44025</c:v>
                </c:pt>
                <c:pt idx="104">
                  <c:v>44026</c:v>
                </c:pt>
                <c:pt idx="105">
                  <c:v>44027</c:v>
                </c:pt>
                <c:pt idx="106">
                  <c:v>44028</c:v>
                </c:pt>
                <c:pt idx="107">
                  <c:v>44029</c:v>
                </c:pt>
                <c:pt idx="108">
                  <c:v>44030</c:v>
                </c:pt>
                <c:pt idx="109">
                  <c:v>44031</c:v>
                </c:pt>
                <c:pt idx="110">
                  <c:v>44032</c:v>
                </c:pt>
                <c:pt idx="111">
                  <c:v>44033</c:v>
                </c:pt>
                <c:pt idx="112">
                  <c:v>44034</c:v>
                </c:pt>
                <c:pt idx="113">
                  <c:v>44035</c:v>
                </c:pt>
                <c:pt idx="114">
                  <c:v>44036</c:v>
                </c:pt>
                <c:pt idx="115">
                  <c:v>44037</c:v>
                </c:pt>
                <c:pt idx="116">
                  <c:v>44038</c:v>
                </c:pt>
                <c:pt idx="117">
                  <c:v>44039</c:v>
                </c:pt>
                <c:pt idx="118">
                  <c:v>44040</c:v>
                </c:pt>
                <c:pt idx="119">
                  <c:v>44041</c:v>
                </c:pt>
                <c:pt idx="120">
                  <c:v>44042</c:v>
                </c:pt>
                <c:pt idx="121">
                  <c:v>44043</c:v>
                </c:pt>
                <c:pt idx="122">
                  <c:v>44044</c:v>
                </c:pt>
                <c:pt idx="123">
                  <c:v>44045</c:v>
                </c:pt>
                <c:pt idx="124">
                  <c:v>44046</c:v>
                </c:pt>
                <c:pt idx="125">
                  <c:v>44047</c:v>
                </c:pt>
                <c:pt idx="126">
                  <c:v>44048</c:v>
                </c:pt>
                <c:pt idx="127">
                  <c:v>44049</c:v>
                </c:pt>
                <c:pt idx="128">
                  <c:v>44050</c:v>
                </c:pt>
                <c:pt idx="129">
                  <c:v>44051</c:v>
                </c:pt>
                <c:pt idx="130">
                  <c:v>44052</c:v>
                </c:pt>
                <c:pt idx="131">
                  <c:v>44053</c:v>
                </c:pt>
                <c:pt idx="132">
                  <c:v>44054</c:v>
                </c:pt>
                <c:pt idx="133">
                  <c:v>44055</c:v>
                </c:pt>
                <c:pt idx="134">
                  <c:v>44056</c:v>
                </c:pt>
                <c:pt idx="135">
                  <c:v>44057</c:v>
                </c:pt>
                <c:pt idx="136">
                  <c:v>44058</c:v>
                </c:pt>
                <c:pt idx="137">
                  <c:v>44059</c:v>
                </c:pt>
                <c:pt idx="138">
                  <c:v>44060</c:v>
                </c:pt>
                <c:pt idx="139">
                  <c:v>44061</c:v>
                </c:pt>
                <c:pt idx="140">
                  <c:v>44062</c:v>
                </c:pt>
                <c:pt idx="141">
                  <c:v>44063</c:v>
                </c:pt>
                <c:pt idx="142">
                  <c:v>44064</c:v>
                </c:pt>
                <c:pt idx="143">
                  <c:v>44065</c:v>
                </c:pt>
                <c:pt idx="144">
                  <c:v>44066</c:v>
                </c:pt>
                <c:pt idx="145">
                  <c:v>44067</c:v>
                </c:pt>
                <c:pt idx="146">
                  <c:v>44068</c:v>
                </c:pt>
                <c:pt idx="147">
                  <c:v>44069</c:v>
                </c:pt>
                <c:pt idx="148">
                  <c:v>44070</c:v>
                </c:pt>
                <c:pt idx="149">
                  <c:v>44071</c:v>
                </c:pt>
                <c:pt idx="150">
                  <c:v>44072</c:v>
                </c:pt>
                <c:pt idx="151">
                  <c:v>44073</c:v>
                </c:pt>
                <c:pt idx="152">
                  <c:v>44074</c:v>
                </c:pt>
                <c:pt idx="153">
                  <c:v>44075</c:v>
                </c:pt>
                <c:pt idx="154">
                  <c:v>44076</c:v>
                </c:pt>
                <c:pt idx="155">
                  <c:v>44077</c:v>
                </c:pt>
                <c:pt idx="156">
                  <c:v>44078</c:v>
                </c:pt>
                <c:pt idx="157">
                  <c:v>44079</c:v>
                </c:pt>
                <c:pt idx="158">
                  <c:v>44080</c:v>
                </c:pt>
                <c:pt idx="159">
                  <c:v>44081</c:v>
                </c:pt>
                <c:pt idx="160">
                  <c:v>44082</c:v>
                </c:pt>
                <c:pt idx="161">
                  <c:v>44083</c:v>
                </c:pt>
                <c:pt idx="162">
                  <c:v>44084</c:v>
                </c:pt>
                <c:pt idx="163">
                  <c:v>44085</c:v>
                </c:pt>
                <c:pt idx="164">
                  <c:v>44086</c:v>
                </c:pt>
                <c:pt idx="165">
                  <c:v>44087</c:v>
                </c:pt>
                <c:pt idx="166">
                  <c:v>44088</c:v>
                </c:pt>
                <c:pt idx="167">
                  <c:v>44089</c:v>
                </c:pt>
                <c:pt idx="168">
                  <c:v>44090</c:v>
                </c:pt>
                <c:pt idx="169">
                  <c:v>44091</c:v>
                </c:pt>
                <c:pt idx="170">
                  <c:v>44092</c:v>
                </c:pt>
                <c:pt idx="171">
                  <c:v>44093</c:v>
                </c:pt>
                <c:pt idx="172">
                  <c:v>44094</c:v>
                </c:pt>
                <c:pt idx="173">
                  <c:v>44095</c:v>
                </c:pt>
                <c:pt idx="174">
                  <c:v>44096</c:v>
                </c:pt>
                <c:pt idx="175">
                  <c:v>44097</c:v>
                </c:pt>
                <c:pt idx="176">
                  <c:v>44098</c:v>
                </c:pt>
                <c:pt idx="177">
                  <c:v>44099</c:v>
                </c:pt>
                <c:pt idx="178">
                  <c:v>44100</c:v>
                </c:pt>
                <c:pt idx="179">
                  <c:v>44101</c:v>
                </c:pt>
                <c:pt idx="180">
                  <c:v>44102</c:v>
                </c:pt>
                <c:pt idx="181">
                  <c:v>44103</c:v>
                </c:pt>
                <c:pt idx="182">
                  <c:v>44104</c:v>
                </c:pt>
                <c:pt idx="183">
                  <c:v>44105</c:v>
                </c:pt>
                <c:pt idx="184">
                  <c:v>44106</c:v>
                </c:pt>
                <c:pt idx="185">
                  <c:v>44107</c:v>
                </c:pt>
                <c:pt idx="186">
                  <c:v>44108</c:v>
                </c:pt>
                <c:pt idx="187">
                  <c:v>44109</c:v>
                </c:pt>
                <c:pt idx="188">
                  <c:v>44110</c:v>
                </c:pt>
                <c:pt idx="189">
                  <c:v>44111</c:v>
                </c:pt>
                <c:pt idx="190">
                  <c:v>44112</c:v>
                </c:pt>
                <c:pt idx="191">
                  <c:v>44113</c:v>
                </c:pt>
                <c:pt idx="192">
                  <c:v>44114</c:v>
                </c:pt>
                <c:pt idx="193">
                  <c:v>44115</c:v>
                </c:pt>
                <c:pt idx="194">
                  <c:v>44116</c:v>
                </c:pt>
                <c:pt idx="195">
                  <c:v>44117</c:v>
                </c:pt>
                <c:pt idx="196">
                  <c:v>44118</c:v>
                </c:pt>
                <c:pt idx="197">
                  <c:v>44119</c:v>
                </c:pt>
                <c:pt idx="198">
                  <c:v>44120</c:v>
                </c:pt>
                <c:pt idx="199">
                  <c:v>44121</c:v>
                </c:pt>
                <c:pt idx="200">
                  <c:v>44122</c:v>
                </c:pt>
                <c:pt idx="201">
                  <c:v>44123</c:v>
                </c:pt>
                <c:pt idx="202">
                  <c:v>44124</c:v>
                </c:pt>
                <c:pt idx="203">
                  <c:v>44125</c:v>
                </c:pt>
                <c:pt idx="204">
                  <c:v>44126</c:v>
                </c:pt>
                <c:pt idx="205">
                  <c:v>44127</c:v>
                </c:pt>
                <c:pt idx="206">
                  <c:v>44128</c:v>
                </c:pt>
                <c:pt idx="207">
                  <c:v>44129</c:v>
                </c:pt>
                <c:pt idx="208">
                  <c:v>44130</c:v>
                </c:pt>
                <c:pt idx="209">
                  <c:v>44131</c:v>
                </c:pt>
                <c:pt idx="210">
                  <c:v>44132</c:v>
                </c:pt>
                <c:pt idx="211">
                  <c:v>44133</c:v>
                </c:pt>
                <c:pt idx="212">
                  <c:v>44134</c:v>
                </c:pt>
                <c:pt idx="213">
                  <c:v>44135</c:v>
                </c:pt>
                <c:pt idx="214">
                  <c:v>44136</c:v>
                </c:pt>
                <c:pt idx="215">
                  <c:v>44137</c:v>
                </c:pt>
                <c:pt idx="216">
                  <c:v>44138</c:v>
                </c:pt>
                <c:pt idx="217">
                  <c:v>44139</c:v>
                </c:pt>
                <c:pt idx="218">
                  <c:v>44140</c:v>
                </c:pt>
                <c:pt idx="219">
                  <c:v>44141</c:v>
                </c:pt>
                <c:pt idx="220">
                  <c:v>44142</c:v>
                </c:pt>
                <c:pt idx="221">
                  <c:v>44143</c:v>
                </c:pt>
                <c:pt idx="222">
                  <c:v>44144</c:v>
                </c:pt>
                <c:pt idx="223">
                  <c:v>44145</c:v>
                </c:pt>
                <c:pt idx="224">
                  <c:v>44146</c:v>
                </c:pt>
                <c:pt idx="225">
                  <c:v>44147</c:v>
                </c:pt>
                <c:pt idx="226">
                  <c:v>44148</c:v>
                </c:pt>
                <c:pt idx="227">
                  <c:v>44149</c:v>
                </c:pt>
                <c:pt idx="228">
                  <c:v>44150</c:v>
                </c:pt>
                <c:pt idx="229">
                  <c:v>44151</c:v>
                </c:pt>
                <c:pt idx="230">
                  <c:v>44152</c:v>
                </c:pt>
                <c:pt idx="231">
                  <c:v>44153</c:v>
                </c:pt>
                <c:pt idx="232">
                  <c:v>44154</c:v>
                </c:pt>
                <c:pt idx="233">
                  <c:v>44155</c:v>
                </c:pt>
                <c:pt idx="234">
                  <c:v>44156</c:v>
                </c:pt>
                <c:pt idx="235">
                  <c:v>44157</c:v>
                </c:pt>
                <c:pt idx="236">
                  <c:v>44158</c:v>
                </c:pt>
                <c:pt idx="237">
                  <c:v>44159</c:v>
                </c:pt>
                <c:pt idx="238">
                  <c:v>44160</c:v>
                </c:pt>
                <c:pt idx="239">
                  <c:v>44161</c:v>
                </c:pt>
                <c:pt idx="240">
                  <c:v>44162</c:v>
                </c:pt>
                <c:pt idx="241">
                  <c:v>44163</c:v>
                </c:pt>
                <c:pt idx="242">
                  <c:v>44164</c:v>
                </c:pt>
                <c:pt idx="243">
                  <c:v>44165</c:v>
                </c:pt>
                <c:pt idx="244">
                  <c:v>44166</c:v>
                </c:pt>
                <c:pt idx="245">
                  <c:v>44167</c:v>
                </c:pt>
                <c:pt idx="246">
                  <c:v>44168</c:v>
                </c:pt>
                <c:pt idx="247">
                  <c:v>44169</c:v>
                </c:pt>
                <c:pt idx="248">
                  <c:v>44170</c:v>
                </c:pt>
                <c:pt idx="249">
                  <c:v>44171</c:v>
                </c:pt>
                <c:pt idx="250">
                  <c:v>44172</c:v>
                </c:pt>
                <c:pt idx="251">
                  <c:v>44173</c:v>
                </c:pt>
                <c:pt idx="252">
                  <c:v>44174</c:v>
                </c:pt>
                <c:pt idx="253">
                  <c:v>44175</c:v>
                </c:pt>
                <c:pt idx="254">
                  <c:v>44176</c:v>
                </c:pt>
                <c:pt idx="255">
                  <c:v>44177</c:v>
                </c:pt>
                <c:pt idx="256">
                  <c:v>44178</c:v>
                </c:pt>
                <c:pt idx="257">
                  <c:v>44179</c:v>
                </c:pt>
                <c:pt idx="258">
                  <c:v>44180</c:v>
                </c:pt>
                <c:pt idx="259">
                  <c:v>44181</c:v>
                </c:pt>
                <c:pt idx="260">
                  <c:v>44182</c:v>
                </c:pt>
                <c:pt idx="261">
                  <c:v>44183</c:v>
                </c:pt>
                <c:pt idx="262">
                  <c:v>44184</c:v>
                </c:pt>
                <c:pt idx="263">
                  <c:v>44185</c:v>
                </c:pt>
                <c:pt idx="264">
                  <c:v>44186</c:v>
                </c:pt>
                <c:pt idx="265">
                  <c:v>44187</c:v>
                </c:pt>
                <c:pt idx="266">
                  <c:v>44188</c:v>
                </c:pt>
                <c:pt idx="267">
                  <c:v>44189</c:v>
                </c:pt>
                <c:pt idx="268">
                  <c:v>44190</c:v>
                </c:pt>
                <c:pt idx="269">
                  <c:v>44191</c:v>
                </c:pt>
                <c:pt idx="270">
                  <c:v>44192</c:v>
                </c:pt>
                <c:pt idx="271">
                  <c:v>44193</c:v>
                </c:pt>
                <c:pt idx="272">
                  <c:v>44194</c:v>
                </c:pt>
                <c:pt idx="273">
                  <c:v>44195</c:v>
                </c:pt>
                <c:pt idx="274">
                  <c:v>44196</c:v>
                </c:pt>
                <c:pt idx="275">
                  <c:v>44197</c:v>
                </c:pt>
                <c:pt idx="276">
                  <c:v>44198</c:v>
                </c:pt>
                <c:pt idx="277">
                  <c:v>44199</c:v>
                </c:pt>
                <c:pt idx="278">
                  <c:v>44200</c:v>
                </c:pt>
                <c:pt idx="279">
                  <c:v>44201</c:v>
                </c:pt>
                <c:pt idx="280">
                  <c:v>44202</c:v>
                </c:pt>
                <c:pt idx="281">
                  <c:v>44203</c:v>
                </c:pt>
                <c:pt idx="282">
                  <c:v>44204</c:v>
                </c:pt>
                <c:pt idx="283">
                  <c:v>44205</c:v>
                </c:pt>
                <c:pt idx="284">
                  <c:v>44206</c:v>
                </c:pt>
                <c:pt idx="285">
                  <c:v>44207</c:v>
                </c:pt>
                <c:pt idx="286">
                  <c:v>44208</c:v>
                </c:pt>
                <c:pt idx="287">
                  <c:v>44209</c:v>
                </c:pt>
                <c:pt idx="288">
                  <c:v>44210</c:v>
                </c:pt>
                <c:pt idx="289">
                  <c:v>44211</c:v>
                </c:pt>
                <c:pt idx="290">
                  <c:v>44212</c:v>
                </c:pt>
                <c:pt idx="291">
                  <c:v>44213</c:v>
                </c:pt>
                <c:pt idx="292">
                  <c:v>44214</c:v>
                </c:pt>
                <c:pt idx="293">
                  <c:v>44215</c:v>
                </c:pt>
                <c:pt idx="294">
                  <c:v>44216</c:v>
                </c:pt>
                <c:pt idx="295">
                  <c:v>44217</c:v>
                </c:pt>
                <c:pt idx="296">
                  <c:v>44218</c:v>
                </c:pt>
                <c:pt idx="297">
                  <c:v>44219</c:v>
                </c:pt>
                <c:pt idx="298">
                  <c:v>44220</c:v>
                </c:pt>
                <c:pt idx="299">
                  <c:v>44221</c:v>
                </c:pt>
                <c:pt idx="300">
                  <c:v>44222</c:v>
                </c:pt>
                <c:pt idx="301">
                  <c:v>44223</c:v>
                </c:pt>
                <c:pt idx="302">
                  <c:v>44224</c:v>
                </c:pt>
                <c:pt idx="303">
                  <c:v>44225</c:v>
                </c:pt>
                <c:pt idx="304">
                  <c:v>44226</c:v>
                </c:pt>
                <c:pt idx="305">
                  <c:v>44227</c:v>
                </c:pt>
                <c:pt idx="306">
                  <c:v>44228</c:v>
                </c:pt>
                <c:pt idx="307">
                  <c:v>44229</c:v>
                </c:pt>
                <c:pt idx="308">
                  <c:v>44230</c:v>
                </c:pt>
                <c:pt idx="309">
                  <c:v>44231</c:v>
                </c:pt>
                <c:pt idx="310">
                  <c:v>44232</c:v>
                </c:pt>
                <c:pt idx="311">
                  <c:v>44233</c:v>
                </c:pt>
                <c:pt idx="312">
                  <c:v>44234</c:v>
                </c:pt>
                <c:pt idx="313">
                  <c:v>44235</c:v>
                </c:pt>
                <c:pt idx="314">
                  <c:v>44236</c:v>
                </c:pt>
                <c:pt idx="315">
                  <c:v>44237</c:v>
                </c:pt>
                <c:pt idx="316">
                  <c:v>44238</c:v>
                </c:pt>
                <c:pt idx="317">
                  <c:v>44239</c:v>
                </c:pt>
                <c:pt idx="318">
                  <c:v>44240</c:v>
                </c:pt>
                <c:pt idx="319">
                  <c:v>44241</c:v>
                </c:pt>
                <c:pt idx="320">
                  <c:v>44242</c:v>
                </c:pt>
                <c:pt idx="321">
                  <c:v>44243</c:v>
                </c:pt>
                <c:pt idx="322">
                  <c:v>44244</c:v>
                </c:pt>
                <c:pt idx="323">
                  <c:v>44245</c:v>
                </c:pt>
                <c:pt idx="324">
                  <c:v>44246</c:v>
                </c:pt>
                <c:pt idx="325">
                  <c:v>44247</c:v>
                </c:pt>
                <c:pt idx="326">
                  <c:v>44248</c:v>
                </c:pt>
                <c:pt idx="327">
                  <c:v>44249</c:v>
                </c:pt>
                <c:pt idx="328">
                  <c:v>44250</c:v>
                </c:pt>
                <c:pt idx="329">
                  <c:v>44251</c:v>
                </c:pt>
                <c:pt idx="330">
                  <c:v>44252</c:v>
                </c:pt>
                <c:pt idx="331">
                  <c:v>44253</c:v>
                </c:pt>
                <c:pt idx="332">
                  <c:v>44254</c:v>
                </c:pt>
                <c:pt idx="333">
                  <c:v>44255</c:v>
                </c:pt>
                <c:pt idx="334">
                  <c:v>44256</c:v>
                </c:pt>
                <c:pt idx="335">
                  <c:v>44257</c:v>
                </c:pt>
                <c:pt idx="336">
                  <c:v>44258</c:v>
                </c:pt>
                <c:pt idx="337">
                  <c:v>44259</c:v>
                </c:pt>
                <c:pt idx="338">
                  <c:v>44260</c:v>
                </c:pt>
                <c:pt idx="339">
                  <c:v>44261</c:v>
                </c:pt>
                <c:pt idx="340">
                  <c:v>44262</c:v>
                </c:pt>
                <c:pt idx="341">
                  <c:v>44263</c:v>
                </c:pt>
                <c:pt idx="342">
                  <c:v>44264</c:v>
                </c:pt>
                <c:pt idx="343">
                  <c:v>44265</c:v>
                </c:pt>
                <c:pt idx="344">
                  <c:v>44266</c:v>
                </c:pt>
                <c:pt idx="345">
                  <c:v>44267</c:v>
                </c:pt>
                <c:pt idx="346">
                  <c:v>44268</c:v>
                </c:pt>
                <c:pt idx="347">
                  <c:v>44269</c:v>
                </c:pt>
                <c:pt idx="348">
                  <c:v>44270</c:v>
                </c:pt>
                <c:pt idx="349">
                  <c:v>44271</c:v>
                </c:pt>
                <c:pt idx="350">
                  <c:v>44272</c:v>
                </c:pt>
                <c:pt idx="351">
                  <c:v>44273</c:v>
                </c:pt>
                <c:pt idx="352">
                  <c:v>44274</c:v>
                </c:pt>
                <c:pt idx="353">
                  <c:v>44275</c:v>
                </c:pt>
                <c:pt idx="354">
                  <c:v>44276</c:v>
                </c:pt>
                <c:pt idx="355">
                  <c:v>44277</c:v>
                </c:pt>
                <c:pt idx="356">
                  <c:v>44278</c:v>
                </c:pt>
                <c:pt idx="357">
                  <c:v>44279</c:v>
                </c:pt>
                <c:pt idx="358">
                  <c:v>44280</c:v>
                </c:pt>
                <c:pt idx="359">
                  <c:v>44281</c:v>
                </c:pt>
                <c:pt idx="360">
                  <c:v>44282</c:v>
                </c:pt>
                <c:pt idx="361">
                  <c:v>44283</c:v>
                </c:pt>
                <c:pt idx="362">
                  <c:v>44284</c:v>
                </c:pt>
                <c:pt idx="363">
                  <c:v>44285</c:v>
                </c:pt>
                <c:pt idx="364">
                  <c:v>44286</c:v>
                </c:pt>
                <c:pt idx="365">
                  <c:v>44287</c:v>
                </c:pt>
                <c:pt idx="366">
                  <c:v>44288</c:v>
                </c:pt>
                <c:pt idx="367">
                  <c:v>44289</c:v>
                </c:pt>
                <c:pt idx="368">
                  <c:v>44290</c:v>
                </c:pt>
                <c:pt idx="369">
                  <c:v>44291</c:v>
                </c:pt>
                <c:pt idx="370">
                  <c:v>44292</c:v>
                </c:pt>
                <c:pt idx="371">
                  <c:v>44293</c:v>
                </c:pt>
                <c:pt idx="372">
                  <c:v>44294</c:v>
                </c:pt>
                <c:pt idx="373">
                  <c:v>44295</c:v>
                </c:pt>
                <c:pt idx="374">
                  <c:v>44296</c:v>
                </c:pt>
                <c:pt idx="375">
                  <c:v>44297</c:v>
                </c:pt>
                <c:pt idx="376">
                  <c:v>44298</c:v>
                </c:pt>
                <c:pt idx="377">
                  <c:v>44299</c:v>
                </c:pt>
                <c:pt idx="378">
                  <c:v>44300</c:v>
                </c:pt>
                <c:pt idx="379">
                  <c:v>44301</c:v>
                </c:pt>
                <c:pt idx="380">
                  <c:v>44302</c:v>
                </c:pt>
                <c:pt idx="381">
                  <c:v>44303</c:v>
                </c:pt>
                <c:pt idx="382">
                  <c:v>44304</c:v>
                </c:pt>
                <c:pt idx="383">
                  <c:v>44305</c:v>
                </c:pt>
                <c:pt idx="384">
                  <c:v>44306</c:v>
                </c:pt>
                <c:pt idx="385">
                  <c:v>44307</c:v>
                </c:pt>
                <c:pt idx="386">
                  <c:v>44308</c:v>
                </c:pt>
                <c:pt idx="387">
                  <c:v>44309</c:v>
                </c:pt>
                <c:pt idx="388">
                  <c:v>44310</c:v>
                </c:pt>
                <c:pt idx="389">
                  <c:v>44311</c:v>
                </c:pt>
                <c:pt idx="390">
                  <c:v>44312</c:v>
                </c:pt>
                <c:pt idx="391">
                  <c:v>44313</c:v>
                </c:pt>
                <c:pt idx="392">
                  <c:v>44314</c:v>
                </c:pt>
                <c:pt idx="393">
                  <c:v>44315</c:v>
                </c:pt>
                <c:pt idx="394">
                  <c:v>44316</c:v>
                </c:pt>
                <c:pt idx="395">
                  <c:v>44317</c:v>
                </c:pt>
                <c:pt idx="396">
                  <c:v>44318</c:v>
                </c:pt>
                <c:pt idx="397">
                  <c:v>44319</c:v>
                </c:pt>
                <c:pt idx="398">
                  <c:v>44320</c:v>
                </c:pt>
                <c:pt idx="399">
                  <c:v>44321</c:v>
                </c:pt>
                <c:pt idx="400">
                  <c:v>44322</c:v>
                </c:pt>
                <c:pt idx="401">
                  <c:v>44323</c:v>
                </c:pt>
                <c:pt idx="402">
                  <c:v>44324</c:v>
                </c:pt>
                <c:pt idx="403">
                  <c:v>44325</c:v>
                </c:pt>
                <c:pt idx="404">
                  <c:v>44326</c:v>
                </c:pt>
                <c:pt idx="405">
                  <c:v>44327</c:v>
                </c:pt>
                <c:pt idx="406">
                  <c:v>44328</c:v>
                </c:pt>
                <c:pt idx="407">
                  <c:v>44329</c:v>
                </c:pt>
                <c:pt idx="408">
                  <c:v>44330</c:v>
                </c:pt>
                <c:pt idx="409">
                  <c:v>44331</c:v>
                </c:pt>
                <c:pt idx="410">
                  <c:v>44332</c:v>
                </c:pt>
                <c:pt idx="411">
                  <c:v>44333</c:v>
                </c:pt>
                <c:pt idx="412">
                  <c:v>44334</c:v>
                </c:pt>
                <c:pt idx="413">
                  <c:v>44335</c:v>
                </c:pt>
                <c:pt idx="414">
                  <c:v>44336</c:v>
                </c:pt>
                <c:pt idx="415">
                  <c:v>44337</c:v>
                </c:pt>
                <c:pt idx="416">
                  <c:v>44338</c:v>
                </c:pt>
                <c:pt idx="417">
                  <c:v>44339</c:v>
                </c:pt>
                <c:pt idx="418">
                  <c:v>44340</c:v>
                </c:pt>
                <c:pt idx="419">
                  <c:v>44341</c:v>
                </c:pt>
                <c:pt idx="420">
                  <c:v>44342</c:v>
                </c:pt>
                <c:pt idx="421">
                  <c:v>44343</c:v>
                </c:pt>
                <c:pt idx="422">
                  <c:v>44344</c:v>
                </c:pt>
                <c:pt idx="423">
                  <c:v>44345</c:v>
                </c:pt>
                <c:pt idx="424">
                  <c:v>44346</c:v>
                </c:pt>
                <c:pt idx="425">
                  <c:v>44347</c:v>
                </c:pt>
                <c:pt idx="426">
                  <c:v>44348</c:v>
                </c:pt>
                <c:pt idx="427">
                  <c:v>44349</c:v>
                </c:pt>
                <c:pt idx="428">
                  <c:v>44350</c:v>
                </c:pt>
                <c:pt idx="429">
                  <c:v>44351</c:v>
                </c:pt>
                <c:pt idx="430">
                  <c:v>44352</c:v>
                </c:pt>
                <c:pt idx="431">
                  <c:v>44353</c:v>
                </c:pt>
                <c:pt idx="432">
                  <c:v>44354</c:v>
                </c:pt>
                <c:pt idx="433">
                  <c:v>44355</c:v>
                </c:pt>
                <c:pt idx="434">
                  <c:v>44356</c:v>
                </c:pt>
                <c:pt idx="435">
                  <c:v>44357</c:v>
                </c:pt>
                <c:pt idx="436">
                  <c:v>44358</c:v>
                </c:pt>
                <c:pt idx="437">
                  <c:v>44359</c:v>
                </c:pt>
                <c:pt idx="438">
                  <c:v>44360</c:v>
                </c:pt>
                <c:pt idx="439">
                  <c:v>44361</c:v>
                </c:pt>
                <c:pt idx="440">
                  <c:v>44362</c:v>
                </c:pt>
                <c:pt idx="441">
                  <c:v>44363</c:v>
                </c:pt>
                <c:pt idx="442">
                  <c:v>44364</c:v>
                </c:pt>
                <c:pt idx="443">
                  <c:v>44365</c:v>
                </c:pt>
                <c:pt idx="444">
                  <c:v>44366</c:v>
                </c:pt>
                <c:pt idx="445">
                  <c:v>44367</c:v>
                </c:pt>
                <c:pt idx="446">
                  <c:v>44368</c:v>
                </c:pt>
                <c:pt idx="447">
                  <c:v>44369</c:v>
                </c:pt>
                <c:pt idx="448">
                  <c:v>44370</c:v>
                </c:pt>
                <c:pt idx="449">
                  <c:v>44371</c:v>
                </c:pt>
                <c:pt idx="450">
                  <c:v>44372</c:v>
                </c:pt>
                <c:pt idx="451">
                  <c:v>44373</c:v>
                </c:pt>
                <c:pt idx="452">
                  <c:v>44374</c:v>
                </c:pt>
                <c:pt idx="453">
                  <c:v>44375</c:v>
                </c:pt>
                <c:pt idx="454">
                  <c:v>44376</c:v>
                </c:pt>
                <c:pt idx="455">
                  <c:v>44377</c:v>
                </c:pt>
                <c:pt idx="456">
                  <c:v>44378</c:v>
                </c:pt>
                <c:pt idx="457">
                  <c:v>44379</c:v>
                </c:pt>
                <c:pt idx="458">
                  <c:v>44380</c:v>
                </c:pt>
                <c:pt idx="459">
                  <c:v>44381</c:v>
                </c:pt>
                <c:pt idx="460">
                  <c:v>44382</c:v>
                </c:pt>
                <c:pt idx="461">
                  <c:v>44383</c:v>
                </c:pt>
                <c:pt idx="462">
                  <c:v>44384</c:v>
                </c:pt>
                <c:pt idx="463">
                  <c:v>44385</c:v>
                </c:pt>
                <c:pt idx="464">
                  <c:v>44386</c:v>
                </c:pt>
                <c:pt idx="465">
                  <c:v>44387</c:v>
                </c:pt>
                <c:pt idx="466">
                  <c:v>44388</c:v>
                </c:pt>
                <c:pt idx="467">
                  <c:v>44389</c:v>
                </c:pt>
                <c:pt idx="468">
                  <c:v>44390</c:v>
                </c:pt>
                <c:pt idx="469">
                  <c:v>44391</c:v>
                </c:pt>
                <c:pt idx="470">
                  <c:v>44392</c:v>
                </c:pt>
                <c:pt idx="471">
                  <c:v>44393</c:v>
                </c:pt>
                <c:pt idx="472">
                  <c:v>44394</c:v>
                </c:pt>
                <c:pt idx="473">
                  <c:v>44395</c:v>
                </c:pt>
                <c:pt idx="474">
                  <c:v>44396</c:v>
                </c:pt>
                <c:pt idx="475">
                  <c:v>44397</c:v>
                </c:pt>
                <c:pt idx="476">
                  <c:v>44398</c:v>
                </c:pt>
                <c:pt idx="477">
                  <c:v>44399</c:v>
                </c:pt>
                <c:pt idx="478">
                  <c:v>44400</c:v>
                </c:pt>
                <c:pt idx="479">
                  <c:v>44401</c:v>
                </c:pt>
                <c:pt idx="480">
                  <c:v>44402</c:v>
                </c:pt>
                <c:pt idx="481">
                  <c:v>44403</c:v>
                </c:pt>
                <c:pt idx="482">
                  <c:v>44404</c:v>
                </c:pt>
                <c:pt idx="483">
                  <c:v>44405</c:v>
                </c:pt>
                <c:pt idx="484">
                  <c:v>44406</c:v>
                </c:pt>
                <c:pt idx="485">
                  <c:v>44407</c:v>
                </c:pt>
                <c:pt idx="486">
                  <c:v>44408</c:v>
                </c:pt>
                <c:pt idx="487">
                  <c:v>44409</c:v>
                </c:pt>
                <c:pt idx="488">
                  <c:v>44410</c:v>
                </c:pt>
                <c:pt idx="489">
                  <c:v>44411</c:v>
                </c:pt>
                <c:pt idx="490">
                  <c:v>44412</c:v>
                </c:pt>
                <c:pt idx="491">
                  <c:v>44413</c:v>
                </c:pt>
                <c:pt idx="492">
                  <c:v>44414</c:v>
                </c:pt>
                <c:pt idx="493">
                  <c:v>44415</c:v>
                </c:pt>
                <c:pt idx="494">
                  <c:v>44416</c:v>
                </c:pt>
                <c:pt idx="495">
                  <c:v>44417</c:v>
                </c:pt>
                <c:pt idx="496">
                  <c:v>44418</c:v>
                </c:pt>
                <c:pt idx="497">
                  <c:v>44419</c:v>
                </c:pt>
                <c:pt idx="498">
                  <c:v>44420</c:v>
                </c:pt>
                <c:pt idx="499">
                  <c:v>44421</c:v>
                </c:pt>
                <c:pt idx="500">
                  <c:v>44422</c:v>
                </c:pt>
                <c:pt idx="501">
                  <c:v>44423</c:v>
                </c:pt>
                <c:pt idx="502">
                  <c:v>44424</c:v>
                </c:pt>
                <c:pt idx="503">
                  <c:v>44425</c:v>
                </c:pt>
                <c:pt idx="504">
                  <c:v>44426</c:v>
                </c:pt>
              </c:numCache>
            </c:numRef>
          </c:cat>
          <c:val>
            <c:numRef>
              <c:f>'C.A.+R.D.'!$B$94:$B$598</c:f>
              <c:numCache>
                <c:formatCode>General</c:formatCode>
                <c:ptCount val="505"/>
                <c:pt idx="105" formatCode="0">
                  <c:v>900</c:v>
                </c:pt>
                <c:pt idx="106" formatCode="0">
                  <c:v>900</c:v>
                </c:pt>
                <c:pt idx="107" formatCode="0">
                  <c:v>900</c:v>
                </c:pt>
                <c:pt idx="108" formatCode="0">
                  <c:v>900</c:v>
                </c:pt>
                <c:pt idx="109" formatCode="0">
                  <c:v>900</c:v>
                </c:pt>
                <c:pt idx="110" formatCode="0">
                  <c:v>900</c:v>
                </c:pt>
                <c:pt idx="111" formatCode="0">
                  <c:v>900</c:v>
                </c:pt>
                <c:pt idx="112" formatCode="0">
                  <c:v>900</c:v>
                </c:pt>
                <c:pt idx="113" formatCode="0">
                  <c:v>900</c:v>
                </c:pt>
                <c:pt idx="114" formatCode="0">
                  <c:v>900</c:v>
                </c:pt>
                <c:pt idx="115" formatCode="0">
                  <c:v>900</c:v>
                </c:pt>
                <c:pt idx="116" formatCode="0">
                  <c:v>900</c:v>
                </c:pt>
                <c:pt idx="117" formatCode="0">
                  <c:v>900</c:v>
                </c:pt>
                <c:pt idx="118" formatCode="0">
                  <c:v>900</c:v>
                </c:pt>
                <c:pt idx="119" formatCode="0">
                  <c:v>900</c:v>
                </c:pt>
                <c:pt idx="120" formatCode="0">
                  <c:v>900</c:v>
                </c:pt>
                <c:pt idx="121" formatCode="0">
                  <c:v>900</c:v>
                </c:pt>
                <c:pt idx="122" formatCode="0">
                  <c:v>900</c:v>
                </c:pt>
                <c:pt idx="123" formatCode="0">
                  <c:v>900</c:v>
                </c:pt>
                <c:pt idx="124" formatCode="0">
                  <c:v>900</c:v>
                </c:pt>
                <c:pt idx="125" formatCode="0">
                  <c:v>900</c:v>
                </c:pt>
                <c:pt idx="126" formatCode="0">
                  <c:v>900</c:v>
                </c:pt>
                <c:pt idx="127" formatCode="0">
                  <c:v>900</c:v>
                </c:pt>
                <c:pt idx="128" formatCode="0">
                  <c:v>900</c:v>
                </c:pt>
                <c:pt idx="129" formatCode="0">
                  <c:v>900</c:v>
                </c:pt>
                <c:pt idx="130" formatCode="0">
                  <c:v>900</c:v>
                </c:pt>
                <c:pt idx="131" formatCode="0">
                  <c:v>900</c:v>
                </c:pt>
                <c:pt idx="132" formatCode="0">
                  <c:v>900</c:v>
                </c:pt>
                <c:pt idx="133" formatCode="0">
                  <c:v>900</c:v>
                </c:pt>
                <c:pt idx="134" formatCode="0">
                  <c:v>900</c:v>
                </c:pt>
                <c:pt idx="135" formatCode="0">
                  <c:v>900</c:v>
                </c:pt>
                <c:pt idx="136" formatCode="0">
                  <c:v>900</c:v>
                </c:pt>
                <c:pt idx="137" formatCode="0">
                  <c:v>900</c:v>
                </c:pt>
                <c:pt idx="138" formatCode="0">
                  <c:v>900</c:v>
                </c:pt>
                <c:pt idx="139" formatCode="0">
                  <c:v>900</c:v>
                </c:pt>
                <c:pt idx="140" formatCode="0">
                  <c:v>900</c:v>
                </c:pt>
                <c:pt idx="141" formatCode="0">
                  <c:v>900</c:v>
                </c:pt>
                <c:pt idx="142" formatCode="0">
                  <c:v>900</c:v>
                </c:pt>
                <c:pt idx="143" formatCode="0">
                  <c:v>900</c:v>
                </c:pt>
                <c:pt idx="144" formatCode="0">
                  <c:v>900</c:v>
                </c:pt>
                <c:pt idx="145" formatCode="0">
                  <c:v>900</c:v>
                </c:pt>
                <c:pt idx="146" formatCode="0">
                  <c:v>900</c:v>
                </c:pt>
                <c:pt idx="147" formatCode="0">
                  <c:v>900</c:v>
                </c:pt>
                <c:pt idx="148" formatCode="0">
                  <c:v>900</c:v>
                </c:pt>
                <c:pt idx="149" formatCode="0">
                  <c:v>900</c:v>
                </c:pt>
                <c:pt idx="150" formatCode="0">
                  <c:v>900</c:v>
                </c:pt>
                <c:pt idx="151" formatCode="0">
                  <c:v>900</c:v>
                </c:pt>
                <c:pt idx="152" formatCode="0">
                  <c:v>900</c:v>
                </c:pt>
                <c:pt idx="153" formatCode="0">
                  <c:v>900</c:v>
                </c:pt>
                <c:pt idx="154" formatCode="0">
                  <c:v>900</c:v>
                </c:pt>
                <c:pt idx="155" formatCode="0">
                  <c:v>900</c:v>
                </c:pt>
                <c:pt idx="156" formatCode="0">
                  <c:v>900</c:v>
                </c:pt>
                <c:pt idx="157" formatCode="0">
                  <c:v>900</c:v>
                </c:pt>
                <c:pt idx="158" formatCode="0">
                  <c:v>900</c:v>
                </c:pt>
                <c:pt idx="159" formatCode="0">
                  <c:v>900</c:v>
                </c:pt>
                <c:pt idx="160" formatCode="0">
                  <c:v>900</c:v>
                </c:pt>
                <c:pt idx="161" formatCode="0">
                  <c:v>900</c:v>
                </c:pt>
                <c:pt idx="162" formatCode="0">
                  <c:v>900</c:v>
                </c:pt>
                <c:pt idx="163" formatCode="0">
                  <c:v>900</c:v>
                </c:pt>
                <c:pt idx="164" formatCode="0">
                  <c:v>900</c:v>
                </c:pt>
                <c:pt idx="165" formatCode="0">
                  <c:v>900</c:v>
                </c:pt>
                <c:pt idx="166" formatCode="0">
                  <c:v>900</c:v>
                </c:pt>
                <c:pt idx="167" formatCode="0">
                  <c:v>900</c:v>
                </c:pt>
                <c:pt idx="250" formatCode="0">
                  <c:v>900</c:v>
                </c:pt>
                <c:pt idx="251" formatCode="0">
                  <c:v>900</c:v>
                </c:pt>
                <c:pt idx="252" formatCode="0">
                  <c:v>900</c:v>
                </c:pt>
                <c:pt idx="253" formatCode="0">
                  <c:v>900</c:v>
                </c:pt>
                <c:pt idx="254" formatCode="0">
                  <c:v>900</c:v>
                </c:pt>
                <c:pt idx="255" formatCode="0">
                  <c:v>900</c:v>
                </c:pt>
                <c:pt idx="256" formatCode="0">
                  <c:v>900</c:v>
                </c:pt>
                <c:pt idx="257" formatCode="0">
                  <c:v>900</c:v>
                </c:pt>
                <c:pt idx="258" formatCode="0">
                  <c:v>900</c:v>
                </c:pt>
                <c:pt idx="259" formatCode="0">
                  <c:v>900</c:v>
                </c:pt>
                <c:pt idx="260" formatCode="0">
                  <c:v>900</c:v>
                </c:pt>
                <c:pt idx="261" formatCode="0">
                  <c:v>900</c:v>
                </c:pt>
                <c:pt idx="262" formatCode="0">
                  <c:v>900</c:v>
                </c:pt>
                <c:pt idx="263" formatCode="0">
                  <c:v>900</c:v>
                </c:pt>
                <c:pt idx="264" formatCode="0">
                  <c:v>900</c:v>
                </c:pt>
                <c:pt idx="265" formatCode="0">
                  <c:v>900</c:v>
                </c:pt>
                <c:pt idx="266" formatCode="0">
                  <c:v>900</c:v>
                </c:pt>
                <c:pt idx="267" formatCode="0">
                  <c:v>900</c:v>
                </c:pt>
                <c:pt idx="268" formatCode="0">
                  <c:v>900</c:v>
                </c:pt>
                <c:pt idx="269" formatCode="0">
                  <c:v>900</c:v>
                </c:pt>
                <c:pt idx="270" formatCode="0">
                  <c:v>900</c:v>
                </c:pt>
                <c:pt idx="271" formatCode="0">
                  <c:v>900</c:v>
                </c:pt>
                <c:pt idx="272" formatCode="0">
                  <c:v>900</c:v>
                </c:pt>
                <c:pt idx="273" formatCode="0">
                  <c:v>900</c:v>
                </c:pt>
                <c:pt idx="274" formatCode="0">
                  <c:v>900</c:v>
                </c:pt>
                <c:pt idx="275" formatCode="0">
                  <c:v>900</c:v>
                </c:pt>
                <c:pt idx="276" formatCode="0">
                  <c:v>900</c:v>
                </c:pt>
                <c:pt idx="277" formatCode="0">
                  <c:v>900</c:v>
                </c:pt>
                <c:pt idx="278" formatCode="0">
                  <c:v>900</c:v>
                </c:pt>
                <c:pt idx="279" formatCode="0">
                  <c:v>900</c:v>
                </c:pt>
                <c:pt idx="280" formatCode="0">
                  <c:v>900</c:v>
                </c:pt>
                <c:pt idx="281" formatCode="0">
                  <c:v>900</c:v>
                </c:pt>
                <c:pt idx="282" formatCode="0">
                  <c:v>900</c:v>
                </c:pt>
                <c:pt idx="283" formatCode="0">
                  <c:v>900</c:v>
                </c:pt>
                <c:pt idx="284" formatCode="0">
                  <c:v>900</c:v>
                </c:pt>
                <c:pt idx="285" formatCode="0">
                  <c:v>900</c:v>
                </c:pt>
                <c:pt idx="286" formatCode="0">
                  <c:v>900</c:v>
                </c:pt>
                <c:pt idx="287" formatCode="0">
                  <c:v>900</c:v>
                </c:pt>
                <c:pt idx="288" formatCode="0">
                  <c:v>900</c:v>
                </c:pt>
                <c:pt idx="289" formatCode="0">
                  <c:v>900</c:v>
                </c:pt>
                <c:pt idx="290" formatCode="0">
                  <c:v>900</c:v>
                </c:pt>
                <c:pt idx="291" formatCode="0">
                  <c:v>900</c:v>
                </c:pt>
                <c:pt idx="292" formatCode="0">
                  <c:v>900</c:v>
                </c:pt>
                <c:pt idx="293" formatCode="0">
                  <c:v>900</c:v>
                </c:pt>
                <c:pt idx="294" formatCode="0">
                  <c:v>900</c:v>
                </c:pt>
                <c:pt idx="295" formatCode="0">
                  <c:v>900</c:v>
                </c:pt>
                <c:pt idx="296" formatCode="0">
                  <c:v>900</c:v>
                </c:pt>
                <c:pt idx="297" formatCode="0">
                  <c:v>900</c:v>
                </c:pt>
                <c:pt idx="298" formatCode="0">
                  <c:v>900</c:v>
                </c:pt>
                <c:pt idx="299" formatCode="0">
                  <c:v>900</c:v>
                </c:pt>
                <c:pt idx="300" formatCode="0">
                  <c:v>900</c:v>
                </c:pt>
                <c:pt idx="301" formatCode="0">
                  <c:v>900</c:v>
                </c:pt>
                <c:pt idx="302" formatCode="0">
                  <c:v>900</c:v>
                </c:pt>
                <c:pt idx="303" formatCode="0">
                  <c:v>900</c:v>
                </c:pt>
                <c:pt idx="304" formatCode="0">
                  <c:v>900</c:v>
                </c:pt>
                <c:pt idx="305" formatCode="0">
                  <c:v>900</c:v>
                </c:pt>
                <c:pt idx="306" formatCode="0">
                  <c:v>0</c:v>
                </c:pt>
                <c:pt idx="307" formatCode="0">
                  <c:v>0</c:v>
                </c:pt>
                <c:pt idx="308" formatCode="0">
                  <c:v>0</c:v>
                </c:pt>
                <c:pt idx="309" formatCode="0">
                  <c:v>0</c:v>
                </c:pt>
                <c:pt idx="310" formatCode="0">
                  <c:v>0</c:v>
                </c:pt>
                <c:pt idx="311" formatCode="0">
                  <c:v>0</c:v>
                </c:pt>
                <c:pt idx="312" formatCode="0">
                  <c:v>0</c:v>
                </c:pt>
                <c:pt idx="313" formatCode="0">
                  <c:v>0</c:v>
                </c:pt>
                <c:pt idx="314" formatCode="0">
                  <c:v>0</c:v>
                </c:pt>
                <c:pt idx="315" formatCode="0">
                  <c:v>0</c:v>
                </c:pt>
                <c:pt idx="316" formatCode="0">
                  <c:v>0</c:v>
                </c:pt>
                <c:pt idx="317" formatCode="0">
                  <c:v>0</c:v>
                </c:pt>
                <c:pt idx="318" formatCode="0">
                  <c:v>0</c:v>
                </c:pt>
                <c:pt idx="319" formatCode="0">
                  <c:v>0</c:v>
                </c:pt>
                <c:pt idx="320" formatCode="0">
                  <c:v>0</c:v>
                </c:pt>
                <c:pt idx="321" formatCode="0">
                  <c:v>0</c:v>
                </c:pt>
                <c:pt idx="322" formatCode="0">
                  <c:v>0</c:v>
                </c:pt>
                <c:pt idx="323" formatCode="0">
                  <c:v>0</c:v>
                </c:pt>
                <c:pt idx="324" formatCode="0">
                  <c:v>0</c:v>
                </c:pt>
                <c:pt idx="325" formatCode="0">
                  <c:v>0</c:v>
                </c:pt>
                <c:pt idx="326" formatCode="0">
                  <c:v>0</c:v>
                </c:pt>
                <c:pt idx="327" formatCode="0">
                  <c:v>0</c:v>
                </c:pt>
                <c:pt idx="328" formatCode="0">
                  <c:v>0</c:v>
                </c:pt>
                <c:pt idx="329" formatCode="0">
                  <c:v>0</c:v>
                </c:pt>
                <c:pt idx="330" formatCode="0">
                  <c:v>0</c:v>
                </c:pt>
                <c:pt idx="331" formatCode="0">
                  <c:v>0</c:v>
                </c:pt>
                <c:pt idx="332" formatCode="0">
                  <c:v>0</c:v>
                </c:pt>
                <c:pt idx="333" formatCode="0">
                  <c:v>0</c:v>
                </c:pt>
                <c:pt idx="334" formatCode="0">
                  <c:v>900</c:v>
                </c:pt>
                <c:pt idx="335" formatCode="0">
                  <c:v>900</c:v>
                </c:pt>
                <c:pt idx="336" formatCode="0">
                  <c:v>900</c:v>
                </c:pt>
                <c:pt idx="337" formatCode="0">
                  <c:v>900</c:v>
                </c:pt>
                <c:pt idx="338" formatCode="0">
                  <c:v>900</c:v>
                </c:pt>
                <c:pt idx="339" formatCode="0">
                  <c:v>900</c:v>
                </c:pt>
                <c:pt idx="340" formatCode="0">
                  <c:v>900</c:v>
                </c:pt>
                <c:pt idx="341" formatCode="0">
                  <c:v>900</c:v>
                </c:pt>
                <c:pt idx="342" formatCode="0">
                  <c:v>900</c:v>
                </c:pt>
                <c:pt idx="343" formatCode="0">
                  <c:v>900</c:v>
                </c:pt>
                <c:pt idx="344" formatCode="0">
                  <c:v>900</c:v>
                </c:pt>
                <c:pt idx="345" formatCode="0">
                  <c:v>900</c:v>
                </c:pt>
                <c:pt idx="346" formatCode="0">
                  <c:v>900</c:v>
                </c:pt>
                <c:pt idx="347" formatCode="0">
                  <c:v>900</c:v>
                </c:pt>
                <c:pt idx="348" formatCode="0">
                  <c:v>900</c:v>
                </c:pt>
                <c:pt idx="349" formatCode="0">
                  <c:v>900</c:v>
                </c:pt>
                <c:pt idx="350" formatCode="0">
                  <c:v>900</c:v>
                </c:pt>
                <c:pt idx="351" formatCode="0">
                  <c:v>900</c:v>
                </c:pt>
                <c:pt idx="352" formatCode="0">
                  <c:v>900</c:v>
                </c:pt>
                <c:pt idx="353" formatCode="0">
                  <c:v>900</c:v>
                </c:pt>
                <c:pt idx="354" formatCode="0">
                  <c:v>900</c:v>
                </c:pt>
                <c:pt idx="355" formatCode="0">
                  <c:v>900</c:v>
                </c:pt>
                <c:pt idx="356" formatCode="0">
                  <c:v>900</c:v>
                </c:pt>
                <c:pt idx="357" formatCode="0">
                  <c:v>900</c:v>
                </c:pt>
                <c:pt idx="358" formatCode="0">
                  <c:v>900</c:v>
                </c:pt>
                <c:pt idx="359" formatCode="0">
                  <c:v>900</c:v>
                </c:pt>
                <c:pt idx="360" formatCode="0">
                  <c:v>900</c:v>
                </c:pt>
                <c:pt idx="361" formatCode="0">
                  <c:v>900</c:v>
                </c:pt>
                <c:pt idx="362" formatCode="0">
                  <c:v>900</c:v>
                </c:pt>
                <c:pt idx="363" formatCode="0">
                  <c:v>900</c:v>
                </c:pt>
                <c:pt idx="364" formatCode="0">
                  <c:v>900</c:v>
                </c:pt>
                <c:pt idx="365" formatCode="0">
                  <c:v>900</c:v>
                </c:pt>
                <c:pt idx="366" formatCode="0">
                  <c:v>900</c:v>
                </c:pt>
                <c:pt idx="367" formatCode="0">
                  <c:v>900</c:v>
                </c:pt>
                <c:pt idx="368" formatCode="0">
                  <c:v>900</c:v>
                </c:pt>
                <c:pt idx="369" formatCode="0">
                  <c:v>900</c:v>
                </c:pt>
                <c:pt idx="370" formatCode="0">
                  <c:v>900</c:v>
                </c:pt>
                <c:pt idx="371" formatCode="0">
                  <c:v>900</c:v>
                </c:pt>
                <c:pt idx="372" formatCode="0">
                  <c:v>900</c:v>
                </c:pt>
                <c:pt idx="373" formatCode="0">
                  <c:v>900</c:v>
                </c:pt>
                <c:pt idx="374" formatCode="0">
                  <c:v>900</c:v>
                </c:pt>
                <c:pt idx="375" formatCode="0">
                  <c:v>900</c:v>
                </c:pt>
                <c:pt idx="376" formatCode="0">
                  <c:v>900</c:v>
                </c:pt>
                <c:pt idx="377" formatCode="0">
                  <c:v>900</c:v>
                </c:pt>
                <c:pt idx="378" formatCode="0">
                  <c:v>900</c:v>
                </c:pt>
                <c:pt idx="379" formatCode="0">
                  <c:v>900</c:v>
                </c:pt>
                <c:pt idx="380" formatCode="0">
                  <c:v>900</c:v>
                </c:pt>
                <c:pt idx="381" formatCode="0">
                  <c:v>900</c:v>
                </c:pt>
                <c:pt idx="382" formatCode="0">
                  <c:v>900</c:v>
                </c:pt>
                <c:pt idx="383" formatCode="0">
                  <c:v>900</c:v>
                </c:pt>
                <c:pt idx="384" formatCode="0">
                  <c:v>900</c:v>
                </c:pt>
                <c:pt idx="385" formatCode="0">
                  <c:v>900</c:v>
                </c:pt>
                <c:pt idx="386" formatCode="0">
                  <c:v>900</c:v>
                </c:pt>
                <c:pt idx="387" formatCode="0">
                  <c:v>900</c:v>
                </c:pt>
                <c:pt idx="388" formatCode="0">
                  <c:v>900</c:v>
                </c:pt>
                <c:pt idx="389" formatCode="0">
                  <c:v>900</c:v>
                </c:pt>
                <c:pt idx="390" formatCode="0">
                  <c:v>900</c:v>
                </c:pt>
                <c:pt idx="391" formatCode="0">
                  <c:v>900</c:v>
                </c:pt>
                <c:pt idx="392" formatCode="0">
                  <c:v>900</c:v>
                </c:pt>
                <c:pt idx="393" formatCode="0">
                  <c:v>900</c:v>
                </c:pt>
                <c:pt idx="394" formatCode="0">
                  <c:v>900</c:v>
                </c:pt>
                <c:pt idx="395" formatCode="0">
                  <c:v>900</c:v>
                </c:pt>
                <c:pt idx="396" formatCode="0">
                  <c:v>900</c:v>
                </c:pt>
                <c:pt idx="397" formatCode="0">
                  <c:v>900</c:v>
                </c:pt>
                <c:pt idx="398" formatCode="0">
                  <c:v>900</c:v>
                </c:pt>
                <c:pt idx="399" formatCode="0">
                  <c:v>900</c:v>
                </c:pt>
                <c:pt idx="400" formatCode="0">
                  <c:v>900</c:v>
                </c:pt>
                <c:pt idx="401" formatCode="0">
                  <c:v>900</c:v>
                </c:pt>
                <c:pt idx="402" formatCode="0">
                  <c:v>900</c:v>
                </c:pt>
                <c:pt idx="403" formatCode="0">
                  <c:v>900</c:v>
                </c:pt>
                <c:pt idx="404" formatCode="0">
                  <c:v>900</c:v>
                </c:pt>
                <c:pt idx="405" formatCode="0">
                  <c:v>900</c:v>
                </c:pt>
                <c:pt idx="406" formatCode="0">
                  <c:v>900</c:v>
                </c:pt>
                <c:pt idx="407" formatCode="0">
                  <c:v>900</c:v>
                </c:pt>
                <c:pt idx="408" formatCode="0">
                  <c:v>900</c:v>
                </c:pt>
                <c:pt idx="409" formatCode="0">
                  <c:v>900</c:v>
                </c:pt>
                <c:pt idx="410" formatCode="0">
                  <c:v>900</c:v>
                </c:pt>
                <c:pt idx="411" formatCode="0">
                  <c:v>900</c:v>
                </c:pt>
                <c:pt idx="412" formatCode="0">
                  <c:v>900</c:v>
                </c:pt>
                <c:pt idx="413" formatCode="0">
                  <c:v>900</c:v>
                </c:pt>
                <c:pt idx="414" formatCode="0">
                  <c:v>900</c:v>
                </c:pt>
                <c:pt idx="415" formatCode="0">
                  <c:v>900</c:v>
                </c:pt>
                <c:pt idx="416" formatCode="0">
                  <c:v>900</c:v>
                </c:pt>
                <c:pt idx="417" formatCode="0">
                  <c:v>900</c:v>
                </c:pt>
                <c:pt idx="418" formatCode="0">
                  <c:v>900</c:v>
                </c:pt>
                <c:pt idx="419" formatCode="0">
                  <c:v>900</c:v>
                </c:pt>
                <c:pt idx="420" formatCode="0">
                  <c:v>900</c:v>
                </c:pt>
                <c:pt idx="421" formatCode="0">
                  <c:v>900</c:v>
                </c:pt>
                <c:pt idx="422" formatCode="0">
                  <c:v>900</c:v>
                </c:pt>
                <c:pt idx="423" formatCode="0">
                  <c:v>900</c:v>
                </c:pt>
                <c:pt idx="424" formatCode="0">
                  <c:v>900</c:v>
                </c:pt>
                <c:pt idx="425" formatCode="0">
                  <c:v>900</c:v>
                </c:pt>
                <c:pt idx="426" formatCode="0">
                  <c:v>900</c:v>
                </c:pt>
                <c:pt idx="427" formatCode="0">
                  <c:v>900</c:v>
                </c:pt>
                <c:pt idx="428" formatCode="0">
                  <c:v>900</c:v>
                </c:pt>
                <c:pt idx="429" formatCode="0">
                  <c:v>900</c:v>
                </c:pt>
                <c:pt idx="430" formatCode="0">
                  <c:v>900</c:v>
                </c:pt>
                <c:pt idx="431" formatCode="0">
                  <c:v>900</c:v>
                </c:pt>
                <c:pt idx="432" formatCode="0">
                  <c:v>900</c:v>
                </c:pt>
                <c:pt idx="433" formatCode="0">
                  <c:v>900</c:v>
                </c:pt>
                <c:pt idx="434" formatCode="0">
                  <c:v>900</c:v>
                </c:pt>
                <c:pt idx="435" formatCode="0">
                  <c:v>900</c:v>
                </c:pt>
                <c:pt idx="436" formatCode="0">
                  <c:v>900</c:v>
                </c:pt>
                <c:pt idx="437" formatCode="0">
                  <c:v>900</c:v>
                </c:pt>
                <c:pt idx="438" formatCode="0">
                  <c:v>900</c:v>
                </c:pt>
                <c:pt idx="439" formatCode="0">
                  <c:v>900</c:v>
                </c:pt>
                <c:pt idx="440" formatCode="0">
                  <c:v>900</c:v>
                </c:pt>
                <c:pt idx="441" formatCode="0">
                  <c:v>900</c:v>
                </c:pt>
                <c:pt idx="442" formatCode="0">
                  <c:v>900</c:v>
                </c:pt>
                <c:pt idx="443" formatCode="0">
                  <c:v>900</c:v>
                </c:pt>
                <c:pt idx="444" formatCode="0">
                  <c:v>900</c:v>
                </c:pt>
                <c:pt idx="445" formatCode="0">
                  <c:v>900</c:v>
                </c:pt>
                <c:pt idx="446" formatCode="0">
                  <c:v>900</c:v>
                </c:pt>
                <c:pt idx="447" formatCode="0">
                  <c:v>900</c:v>
                </c:pt>
                <c:pt idx="448" formatCode="0">
                  <c:v>900</c:v>
                </c:pt>
                <c:pt idx="449" formatCode="0">
                  <c:v>900</c:v>
                </c:pt>
                <c:pt idx="450" formatCode="0">
                  <c:v>900</c:v>
                </c:pt>
                <c:pt idx="451" formatCode="0">
                  <c:v>900</c:v>
                </c:pt>
                <c:pt idx="452" formatCode="0">
                  <c:v>900</c:v>
                </c:pt>
                <c:pt idx="453" formatCode="0">
                  <c:v>900</c:v>
                </c:pt>
                <c:pt idx="454" formatCode="0">
                  <c:v>900</c:v>
                </c:pt>
                <c:pt idx="455" formatCode="0">
                  <c:v>900</c:v>
                </c:pt>
                <c:pt idx="456" formatCode="0">
                  <c:v>900</c:v>
                </c:pt>
                <c:pt idx="457" formatCode="0">
                  <c:v>900</c:v>
                </c:pt>
                <c:pt idx="458" formatCode="0">
                  <c:v>900</c:v>
                </c:pt>
                <c:pt idx="459" formatCode="0">
                  <c:v>900</c:v>
                </c:pt>
                <c:pt idx="460" formatCode="0">
                  <c:v>900</c:v>
                </c:pt>
                <c:pt idx="461" formatCode="0">
                  <c:v>900</c:v>
                </c:pt>
                <c:pt idx="462" formatCode="0">
                  <c:v>900</c:v>
                </c:pt>
                <c:pt idx="463" formatCode="0">
                  <c:v>900</c:v>
                </c:pt>
                <c:pt idx="464" formatCode="0">
                  <c:v>900</c:v>
                </c:pt>
                <c:pt idx="465" formatCode="0">
                  <c:v>900</c:v>
                </c:pt>
                <c:pt idx="466" formatCode="0">
                  <c:v>900</c:v>
                </c:pt>
                <c:pt idx="467" formatCode="0">
                  <c:v>900</c:v>
                </c:pt>
                <c:pt idx="468" formatCode="0">
                  <c:v>900</c:v>
                </c:pt>
                <c:pt idx="469" formatCode="0">
                  <c:v>900</c:v>
                </c:pt>
                <c:pt idx="470" formatCode="0">
                  <c:v>900</c:v>
                </c:pt>
                <c:pt idx="471" formatCode="0">
                  <c:v>900</c:v>
                </c:pt>
                <c:pt idx="472" formatCode="0">
                  <c:v>900</c:v>
                </c:pt>
                <c:pt idx="473" formatCode="0">
                  <c:v>900</c:v>
                </c:pt>
                <c:pt idx="474" formatCode="0">
                  <c:v>900</c:v>
                </c:pt>
                <c:pt idx="475" formatCode="0">
                  <c:v>900</c:v>
                </c:pt>
                <c:pt idx="476" formatCode="0">
                  <c:v>900</c:v>
                </c:pt>
                <c:pt idx="477" formatCode="0">
                  <c:v>900</c:v>
                </c:pt>
                <c:pt idx="478" formatCode="0">
                  <c:v>900</c:v>
                </c:pt>
                <c:pt idx="479" formatCode="0">
                  <c:v>900</c:v>
                </c:pt>
                <c:pt idx="480" formatCode="0">
                  <c:v>900</c:v>
                </c:pt>
                <c:pt idx="481" formatCode="0">
                  <c:v>900</c:v>
                </c:pt>
                <c:pt idx="482" formatCode="0">
                  <c:v>900</c:v>
                </c:pt>
                <c:pt idx="483" formatCode="0">
                  <c:v>900</c:v>
                </c:pt>
                <c:pt idx="484" formatCode="0">
                  <c:v>900</c:v>
                </c:pt>
                <c:pt idx="485" formatCode="0">
                  <c:v>900</c:v>
                </c:pt>
                <c:pt idx="486" formatCode="0">
                  <c:v>900</c:v>
                </c:pt>
                <c:pt idx="487" formatCode="0">
                  <c:v>900</c:v>
                </c:pt>
                <c:pt idx="488" formatCode="0">
                  <c:v>900</c:v>
                </c:pt>
                <c:pt idx="489" formatCode="0">
                  <c:v>900</c:v>
                </c:pt>
                <c:pt idx="490" formatCode="0">
                  <c:v>900</c:v>
                </c:pt>
                <c:pt idx="491" formatCode="0">
                  <c:v>900</c:v>
                </c:pt>
                <c:pt idx="492" formatCode="0">
                  <c:v>900</c:v>
                </c:pt>
                <c:pt idx="493" formatCode="0">
                  <c:v>900</c:v>
                </c:pt>
                <c:pt idx="494" formatCode="0">
                  <c:v>900</c:v>
                </c:pt>
                <c:pt idx="495" formatCode="0">
                  <c:v>900</c:v>
                </c:pt>
                <c:pt idx="496" formatCode="0">
                  <c:v>900</c:v>
                </c:pt>
                <c:pt idx="497" formatCode="0">
                  <c:v>900</c:v>
                </c:pt>
                <c:pt idx="498" formatCode="0">
                  <c:v>900</c:v>
                </c:pt>
                <c:pt idx="499" formatCode="0">
                  <c:v>900</c:v>
                </c:pt>
                <c:pt idx="500" formatCode="0">
                  <c:v>900</c:v>
                </c:pt>
                <c:pt idx="501" formatCode="0">
                  <c:v>900</c:v>
                </c:pt>
                <c:pt idx="502" formatCode="0">
                  <c:v>900</c:v>
                </c:pt>
                <c:pt idx="503" formatCode="0">
                  <c:v>900</c:v>
                </c:pt>
                <c:pt idx="504" formatCode="0">
                  <c:v>900</c:v>
                </c:pt>
              </c:numCache>
            </c:numRef>
          </c:val>
          <c:extLst>
            <c:ext xmlns:c16="http://schemas.microsoft.com/office/drawing/2014/chart" uri="{C3380CC4-5D6E-409C-BE32-E72D297353CC}">
              <c16:uniqueId val="{00000000-ABFF-4F69-A778-B65D06386B92}"/>
            </c:ext>
          </c:extLst>
        </c:ser>
        <c:dLbls>
          <c:showLegendKey val="0"/>
          <c:showVal val="0"/>
          <c:showCatName val="0"/>
          <c:showSerName val="0"/>
          <c:showPercent val="0"/>
          <c:showBubbleSize val="0"/>
        </c:dLbls>
        <c:gapWidth val="150"/>
        <c:axId val="206300672"/>
        <c:axId val="206302208"/>
        <c:extLst>
          <c:ext xmlns:c15="http://schemas.microsoft.com/office/drawing/2012/chart" uri="{02D57815-91ED-43cb-92C2-25804820EDAC}">
            <c15:filteredBarSeries>
              <c15:ser>
                <c:idx val="0"/>
                <c:order val="1"/>
                <c:tx>
                  <c:strRef>
                    <c:extLst>
                      <c:ext uri="{02D57815-91ED-43cb-92C2-25804820EDAC}">
                        <c15:formulaRef>
                          <c15:sqref>Detalle!#REF!</c15:sqref>
                        </c15:formulaRef>
                      </c:ext>
                    </c:extLst>
                    <c:strCache>
                      <c:ptCount val="1"/>
                      <c:pt idx="0">
                        <c:v>#REF!</c:v>
                      </c:pt>
                    </c:strCache>
                  </c:strRef>
                </c:tx>
                <c:spPr>
                  <a:solidFill>
                    <a:schemeClr val="accent1"/>
                  </a:solidFill>
                  <a:ln>
                    <a:noFill/>
                  </a:ln>
                  <a:effectLst/>
                </c:spPr>
                <c:invertIfNegative val="0"/>
                <c:cat>
                  <c:numRef>
                    <c:extLst>
                      <c:ext uri="{02D57815-91ED-43cb-92C2-25804820EDAC}">
                        <c15:formulaRef>
                          <c15:sqref>World!$A$94:$A$598</c15:sqref>
                        </c15:formulaRef>
                      </c:ext>
                    </c:extLst>
                    <c:numCache>
                      <c:formatCode>dd/mm/yy;@</c:formatCode>
                      <c:ptCount val="505"/>
                      <c:pt idx="0">
                        <c:v>43922</c:v>
                      </c:pt>
                      <c:pt idx="1">
                        <c:v>43923</c:v>
                      </c:pt>
                      <c:pt idx="2">
                        <c:v>43924</c:v>
                      </c:pt>
                      <c:pt idx="3">
                        <c:v>43925</c:v>
                      </c:pt>
                      <c:pt idx="4">
                        <c:v>43926</c:v>
                      </c:pt>
                      <c:pt idx="5">
                        <c:v>43927</c:v>
                      </c:pt>
                      <c:pt idx="6">
                        <c:v>43928</c:v>
                      </c:pt>
                      <c:pt idx="7">
                        <c:v>43929</c:v>
                      </c:pt>
                      <c:pt idx="8">
                        <c:v>43930</c:v>
                      </c:pt>
                      <c:pt idx="9">
                        <c:v>43931</c:v>
                      </c:pt>
                      <c:pt idx="10">
                        <c:v>43932</c:v>
                      </c:pt>
                      <c:pt idx="11">
                        <c:v>43933</c:v>
                      </c:pt>
                      <c:pt idx="12">
                        <c:v>43934</c:v>
                      </c:pt>
                      <c:pt idx="13">
                        <c:v>43935</c:v>
                      </c:pt>
                      <c:pt idx="14">
                        <c:v>43936</c:v>
                      </c:pt>
                      <c:pt idx="15">
                        <c:v>43937</c:v>
                      </c:pt>
                      <c:pt idx="16">
                        <c:v>43938</c:v>
                      </c:pt>
                      <c:pt idx="17">
                        <c:v>43939</c:v>
                      </c:pt>
                      <c:pt idx="18">
                        <c:v>43940</c:v>
                      </c:pt>
                      <c:pt idx="19">
                        <c:v>43941</c:v>
                      </c:pt>
                      <c:pt idx="20">
                        <c:v>43942</c:v>
                      </c:pt>
                      <c:pt idx="21">
                        <c:v>43943</c:v>
                      </c:pt>
                      <c:pt idx="22">
                        <c:v>43944</c:v>
                      </c:pt>
                      <c:pt idx="23">
                        <c:v>43945</c:v>
                      </c:pt>
                      <c:pt idx="24">
                        <c:v>43946</c:v>
                      </c:pt>
                      <c:pt idx="25">
                        <c:v>43947</c:v>
                      </c:pt>
                      <c:pt idx="26">
                        <c:v>43948</c:v>
                      </c:pt>
                      <c:pt idx="27">
                        <c:v>43949</c:v>
                      </c:pt>
                      <c:pt idx="28">
                        <c:v>43950</c:v>
                      </c:pt>
                      <c:pt idx="29">
                        <c:v>43951</c:v>
                      </c:pt>
                      <c:pt idx="30">
                        <c:v>43952</c:v>
                      </c:pt>
                      <c:pt idx="31">
                        <c:v>43953</c:v>
                      </c:pt>
                      <c:pt idx="32">
                        <c:v>43954</c:v>
                      </c:pt>
                      <c:pt idx="33">
                        <c:v>43955</c:v>
                      </c:pt>
                      <c:pt idx="34">
                        <c:v>43956</c:v>
                      </c:pt>
                      <c:pt idx="35">
                        <c:v>43957</c:v>
                      </c:pt>
                      <c:pt idx="36">
                        <c:v>43958</c:v>
                      </c:pt>
                      <c:pt idx="37">
                        <c:v>43959</c:v>
                      </c:pt>
                      <c:pt idx="38">
                        <c:v>43960</c:v>
                      </c:pt>
                      <c:pt idx="39">
                        <c:v>43961</c:v>
                      </c:pt>
                      <c:pt idx="40">
                        <c:v>43962</c:v>
                      </c:pt>
                      <c:pt idx="41">
                        <c:v>43963</c:v>
                      </c:pt>
                      <c:pt idx="42">
                        <c:v>43964</c:v>
                      </c:pt>
                      <c:pt idx="43">
                        <c:v>43965</c:v>
                      </c:pt>
                      <c:pt idx="44">
                        <c:v>43966</c:v>
                      </c:pt>
                      <c:pt idx="45">
                        <c:v>43967</c:v>
                      </c:pt>
                      <c:pt idx="46">
                        <c:v>43968</c:v>
                      </c:pt>
                      <c:pt idx="47">
                        <c:v>43969</c:v>
                      </c:pt>
                      <c:pt idx="48">
                        <c:v>43970</c:v>
                      </c:pt>
                      <c:pt idx="49">
                        <c:v>43971</c:v>
                      </c:pt>
                      <c:pt idx="50">
                        <c:v>43972</c:v>
                      </c:pt>
                      <c:pt idx="51">
                        <c:v>43973</c:v>
                      </c:pt>
                      <c:pt idx="52">
                        <c:v>43974</c:v>
                      </c:pt>
                      <c:pt idx="53">
                        <c:v>43975</c:v>
                      </c:pt>
                      <c:pt idx="54">
                        <c:v>43976</c:v>
                      </c:pt>
                      <c:pt idx="55">
                        <c:v>43977</c:v>
                      </c:pt>
                      <c:pt idx="56">
                        <c:v>43978</c:v>
                      </c:pt>
                      <c:pt idx="57">
                        <c:v>43979</c:v>
                      </c:pt>
                      <c:pt idx="58">
                        <c:v>43980</c:v>
                      </c:pt>
                      <c:pt idx="59">
                        <c:v>43981</c:v>
                      </c:pt>
                      <c:pt idx="60">
                        <c:v>43982</c:v>
                      </c:pt>
                      <c:pt idx="61">
                        <c:v>43983</c:v>
                      </c:pt>
                      <c:pt idx="62">
                        <c:v>43984</c:v>
                      </c:pt>
                      <c:pt idx="63">
                        <c:v>43985</c:v>
                      </c:pt>
                      <c:pt idx="64">
                        <c:v>43986</c:v>
                      </c:pt>
                      <c:pt idx="65">
                        <c:v>43987</c:v>
                      </c:pt>
                      <c:pt idx="66">
                        <c:v>43988</c:v>
                      </c:pt>
                      <c:pt idx="67">
                        <c:v>43989</c:v>
                      </c:pt>
                      <c:pt idx="68">
                        <c:v>43990</c:v>
                      </c:pt>
                      <c:pt idx="69">
                        <c:v>43991</c:v>
                      </c:pt>
                      <c:pt idx="70">
                        <c:v>43992</c:v>
                      </c:pt>
                      <c:pt idx="71">
                        <c:v>43993</c:v>
                      </c:pt>
                      <c:pt idx="72">
                        <c:v>43994</c:v>
                      </c:pt>
                      <c:pt idx="73">
                        <c:v>43995</c:v>
                      </c:pt>
                      <c:pt idx="74">
                        <c:v>43996</c:v>
                      </c:pt>
                      <c:pt idx="75">
                        <c:v>43997</c:v>
                      </c:pt>
                      <c:pt idx="76">
                        <c:v>43998</c:v>
                      </c:pt>
                      <c:pt idx="77">
                        <c:v>43999</c:v>
                      </c:pt>
                      <c:pt idx="78">
                        <c:v>44000</c:v>
                      </c:pt>
                      <c:pt idx="79">
                        <c:v>44001</c:v>
                      </c:pt>
                      <c:pt idx="80">
                        <c:v>44002</c:v>
                      </c:pt>
                      <c:pt idx="81">
                        <c:v>44003</c:v>
                      </c:pt>
                      <c:pt idx="82">
                        <c:v>44004</c:v>
                      </c:pt>
                      <c:pt idx="83">
                        <c:v>44005</c:v>
                      </c:pt>
                      <c:pt idx="84">
                        <c:v>44006</c:v>
                      </c:pt>
                      <c:pt idx="85">
                        <c:v>44007</c:v>
                      </c:pt>
                      <c:pt idx="86">
                        <c:v>44008</c:v>
                      </c:pt>
                      <c:pt idx="87">
                        <c:v>44009</c:v>
                      </c:pt>
                      <c:pt idx="88">
                        <c:v>44010</c:v>
                      </c:pt>
                      <c:pt idx="89">
                        <c:v>44011</c:v>
                      </c:pt>
                      <c:pt idx="90">
                        <c:v>44012</c:v>
                      </c:pt>
                      <c:pt idx="91">
                        <c:v>44013</c:v>
                      </c:pt>
                      <c:pt idx="92">
                        <c:v>44014</c:v>
                      </c:pt>
                      <c:pt idx="93">
                        <c:v>44015</c:v>
                      </c:pt>
                      <c:pt idx="94">
                        <c:v>44016</c:v>
                      </c:pt>
                      <c:pt idx="95">
                        <c:v>44017</c:v>
                      </c:pt>
                      <c:pt idx="96">
                        <c:v>44018</c:v>
                      </c:pt>
                      <c:pt idx="97">
                        <c:v>44019</c:v>
                      </c:pt>
                      <c:pt idx="98">
                        <c:v>44020</c:v>
                      </c:pt>
                      <c:pt idx="99">
                        <c:v>44021</c:v>
                      </c:pt>
                      <c:pt idx="100">
                        <c:v>44022</c:v>
                      </c:pt>
                      <c:pt idx="101">
                        <c:v>44023</c:v>
                      </c:pt>
                      <c:pt idx="102">
                        <c:v>44024</c:v>
                      </c:pt>
                      <c:pt idx="103">
                        <c:v>44025</c:v>
                      </c:pt>
                      <c:pt idx="104">
                        <c:v>44026</c:v>
                      </c:pt>
                      <c:pt idx="105">
                        <c:v>44027</c:v>
                      </c:pt>
                      <c:pt idx="106">
                        <c:v>44028</c:v>
                      </c:pt>
                      <c:pt idx="107">
                        <c:v>44029</c:v>
                      </c:pt>
                      <c:pt idx="108">
                        <c:v>44030</c:v>
                      </c:pt>
                      <c:pt idx="109">
                        <c:v>44031</c:v>
                      </c:pt>
                      <c:pt idx="110">
                        <c:v>44032</c:v>
                      </c:pt>
                      <c:pt idx="111">
                        <c:v>44033</c:v>
                      </c:pt>
                      <c:pt idx="112">
                        <c:v>44034</c:v>
                      </c:pt>
                      <c:pt idx="113">
                        <c:v>44035</c:v>
                      </c:pt>
                      <c:pt idx="114">
                        <c:v>44036</c:v>
                      </c:pt>
                      <c:pt idx="115">
                        <c:v>44037</c:v>
                      </c:pt>
                      <c:pt idx="116">
                        <c:v>44038</c:v>
                      </c:pt>
                      <c:pt idx="117">
                        <c:v>44039</c:v>
                      </c:pt>
                      <c:pt idx="118">
                        <c:v>44040</c:v>
                      </c:pt>
                      <c:pt idx="119">
                        <c:v>44041</c:v>
                      </c:pt>
                      <c:pt idx="120">
                        <c:v>44042</c:v>
                      </c:pt>
                      <c:pt idx="121">
                        <c:v>44043</c:v>
                      </c:pt>
                      <c:pt idx="122">
                        <c:v>44044</c:v>
                      </c:pt>
                      <c:pt idx="123">
                        <c:v>44045</c:v>
                      </c:pt>
                      <c:pt idx="124">
                        <c:v>44046</c:v>
                      </c:pt>
                      <c:pt idx="125">
                        <c:v>44047</c:v>
                      </c:pt>
                      <c:pt idx="126">
                        <c:v>44048</c:v>
                      </c:pt>
                      <c:pt idx="127">
                        <c:v>44049</c:v>
                      </c:pt>
                      <c:pt idx="128">
                        <c:v>44050</c:v>
                      </c:pt>
                      <c:pt idx="129">
                        <c:v>44051</c:v>
                      </c:pt>
                      <c:pt idx="130">
                        <c:v>44052</c:v>
                      </c:pt>
                      <c:pt idx="131">
                        <c:v>44053</c:v>
                      </c:pt>
                      <c:pt idx="132">
                        <c:v>44054</c:v>
                      </c:pt>
                      <c:pt idx="133">
                        <c:v>44055</c:v>
                      </c:pt>
                      <c:pt idx="134">
                        <c:v>44056</c:v>
                      </c:pt>
                      <c:pt idx="135">
                        <c:v>44057</c:v>
                      </c:pt>
                      <c:pt idx="136">
                        <c:v>44058</c:v>
                      </c:pt>
                      <c:pt idx="137">
                        <c:v>44059</c:v>
                      </c:pt>
                      <c:pt idx="138">
                        <c:v>44060</c:v>
                      </c:pt>
                      <c:pt idx="139">
                        <c:v>44061</c:v>
                      </c:pt>
                      <c:pt idx="140">
                        <c:v>44062</c:v>
                      </c:pt>
                      <c:pt idx="141">
                        <c:v>44063</c:v>
                      </c:pt>
                      <c:pt idx="142">
                        <c:v>44064</c:v>
                      </c:pt>
                      <c:pt idx="143">
                        <c:v>44065</c:v>
                      </c:pt>
                      <c:pt idx="144">
                        <c:v>44066</c:v>
                      </c:pt>
                      <c:pt idx="145">
                        <c:v>44067</c:v>
                      </c:pt>
                      <c:pt idx="146">
                        <c:v>44068</c:v>
                      </c:pt>
                      <c:pt idx="147">
                        <c:v>44069</c:v>
                      </c:pt>
                      <c:pt idx="148">
                        <c:v>44070</c:v>
                      </c:pt>
                      <c:pt idx="149">
                        <c:v>44071</c:v>
                      </c:pt>
                      <c:pt idx="150">
                        <c:v>44072</c:v>
                      </c:pt>
                      <c:pt idx="151">
                        <c:v>44073</c:v>
                      </c:pt>
                      <c:pt idx="152">
                        <c:v>44074</c:v>
                      </c:pt>
                      <c:pt idx="153">
                        <c:v>44075</c:v>
                      </c:pt>
                      <c:pt idx="154">
                        <c:v>44076</c:v>
                      </c:pt>
                      <c:pt idx="155">
                        <c:v>44077</c:v>
                      </c:pt>
                      <c:pt idx="156">
                        <c:v>44078</c:v>
                      </c:pt>
                      <c:pt idx="157">
                        <c:v>44079</c:v>
                      </c:pt>
                      <c:pt idx="158">
                        <c:v>44080</c:v>
                      </c:pt>
                      <c:pt idx="159">
                        <c:v>44081</c:v>
                      </c:pt>
                      <c:pt idx="160">
                        <c:v>44082</c:v>
                      </c:pt>
                      <c:pt idx="161">
                        <c:v>44083</c:v>
                      </c:pt>
                      <c:pt idx="162">
                        <c:v>44084</c:v>
                      </c:pt>
                      <c:pt idx="163">
                        <c:v>44085</c:v>
                      </c:pt>
                      <c:pt idx="164">
                        <c:v>44086</c:v>
                      </c:pt>
                      <c:pt idx="165">
                        <c:v>44087</c:v>
                      </c:pt>
                      <c:pt idx="166">
                        <c:v>44088</c:v>
                      </c:pt>
                      <c:pt idx="167">
                        <c:v>44089</c:v>
                      </c:pt>
                      <c:pt idx="168">
                        <c:v>44090</c:v>
                      </c:pt>
                      <c:pt idx="169">
                        <c:v>44091</c:v>
                      </c:pt>
                      <c:pt idx="170">
                        <c:v>44092</c:v>
                      </c:pt>
                      <c:pt idx="171">
                        <c:v>44093</c:v>
                      </c:pt>
                      <c:pt idx="172">
                        <c:v>44094</c:v>
                      </c:pt>
                      <c:pt idx="173">
                        <c:v>44095</c:v>
                      </c:pt>
                      <c:pt idx="174">
                        <c:v>44096</c:v>
                      </c:pt>
                      <c:pt idx="175">
                        <c:v>44097</c:v>
                      </c:pt>
                      <c:pt idx="176">
                        <c:v>44098</c:v>
                      </c:pt>
                      <c:pt idx="177">
                        <c:v>44099</c:v>
                      </c:pt>
                      <c:pt idx="178">
                        <c:v>44100</c:v>
                      </c:pt>
                      <c:pt idx="179">
                        <c:v>44101</c:v>
                      </c:pt>
                      <c:pt idx="180">
                        <c:v>44102</c:v>
                      </c:pt>
                      <c:pt idx="181">
                        <c:v>44103</c:v>
                      </c:pt>
                      <c:pt idx="182">
                        <c:v>44104</c:v>
                      </c:pt>
                      <c:pt idx="183">
                        <c:v>44105</c:v>
                      </c:pt>
                      <c:pt idx="184">
                        <c:v>44106</c:v>
                      </c:pt>
                      <c:pt idx="185">
                        <c:v>44107</c:v>
                      </c:pt>
                      <c:pt idx="186">
                        <c:v>44108</c:v>
                      </c:pt>
                      <c:pt idx="187">
                        <c:v>44109</c:v>
                      </c:pt>
                      <c:pt idx="188">
                        <c:v>44110</c:v>
                      </c:pt>
                      <c:pt idx="189">
                        <c:v>44111</c:v>
                      </c:pt>
                      <c:pt idx="190">
                        <c:v>44112</c:v>
                      </c:pt>
                      <c:pt idx="191">
                        <c:v>44113</c:v>
                      </c:pt>
                      <c:pt idx="192">
                        <c:v>44114</c:v>
                      </c:pt>
                      <c:pt idx="193">
                        <c:v>44115</c:v>
                      </c:pt>
                      <c:pt idx="194">
                        <c:v>44116</c:v>
                      </c:pt>
                      <c:pt idx="195">
                        <c:v>44117</c:v>
                      </c:pt>
                      <c:pt idx="196">
                        <c:v>44118</c:v>
                      </c:pt>
                      <c:pt idx="197">
                        <c:v>44119</c:v>
                      </c:pt>
                      <c:pt idx="198">
                        <c:v>44120</c:v>
                      </c:pt>
                      <c:pt idx="199">
                        <c:v>44121</c:v>
                      </c:pt>
                      <c:pt idx="200">
                        <c:v>44122</c:v>
                      </c:pt>
                      <c:pt idx="201">
                        <c:v>44123</c:v>
                      </c:pt>
                      <c:pt idx="202">
                        <c:v>44124</c:v>
                      </c:pt>
                      <c:pt idx="203">
                        <c:v>44125</c:v>
                      </c:pt>
                      <c:pt idx="204">
                        <c:v>44126</c:v>
                      </c:pt>
                      <c:pt idx="205">
                        <c:v>44127</c:v>
                      </c:pt>
                      <c:pt idx="206">
                        <c:v>44128</c:v>
                      </c:pt>
                      <c:pt idx="207">
                        <c:v>44129</c:v>
                      </c:pt>
                      <c:pt idx="208">
                        <c:v>44130</c:v>
                      </c:pt>
                      <c:pt idx="209">
                        <c:v>44131</c:v>
                      </c:pt>
                      <c:pt idx="210">
                        <c:v>44132</c:v>
                      </c:pt>
                      <c:pt idx="211">
                        <c:v>44133</c:v>
                      </c:pt>
                      <c:pt idx="212">
                        <c:v>44134</c:v>
                      </c:pt>
                      <c:pt idx="213">
                        <c:v>44135</c:v>
                      </c:pt>
                      <c:pt idx="214">
                        <c:v>44136</c:v>
                      </c:pt>
                      <c:pt idx="215">
                        <c:v>44137</c:v>
                      </c:pt>
                      <c:pt idx="216">
                        <c:v>44138</c:v>
                      </c:pt>
                      <c:pt idx="217">
                        <c:v>44139</c:v>
                      </c:pt>
                      <c:pt idx="218">
                        <c:v>44140</c:v>
                      </c:pt>
                      <c:pt idx="219">
                        <c:v>44141</c:v>
                      </c:pt>
                      <c:pt idx="220">
                        <c:v>44142</c:v>
                      </c:pt>
                      <c:pt idx="221">
                        <c:v>44143</c:v>
                      </c:pt>
                      <c:pt idx="222">
                        <c:v>44144</c:v>
                      </c:pt>
                      <c:pt idx="223">
                        <c:v>44145</c:v>
                      </c:pt>
                      <c:pt idx="224">
                        <c:v>44146</c:v>
                      </c:pt>
                      <c:pt idx="225">
                        <c:v>44147</c:v>
                      </c:pt>
                      <c:pt idx="226">
                        <c:v>44148</c:v>
                      </c:pt>
                      <c:pt idx="227">
                        <c:v>44149</c:v>
                      </c:pt>
                      <c:pt idx="228">
                        <c:v>44150</c:v>
                      </c:pt>
                      <c:pt idx="229">
                        <c:v>44151</c:v>
                      </c:pt>
                      <c:pt idx="230">
                        <c:v>44152</c:v>
                      </c:pt>
                      <c:pt idx="231">
                        <c:v>44153</c:v>
                      </c:pt>
                      <c:pt idx="232">
                        <c:v>44154</c:v>
                      </c:pt>
                      <c:pt idx="233">
                        <c:v>44155</c:v>
                      </c:pt>
                      <c:pt idx="234">
                        <c:v>44156</c:v>
                      </c:pt>
                      <c:pt idx="235">
                        <c:v>44157</c:v>
                      </c:pt>
                      <c:pt idx="236">
                        <c:v>44158</c:v>
                      </c:pt>
                      <c:pt idx="237">
                        <c:v>44159</c:v>
                      </c:pt>
                      <c:pt idx="238">
                        <c:v>44160</c:v>
                      </c:pt>
                      <c:pt idx="239">
                        <c:v>44161</c:v>
                      </c:pt>
                      <c:pt idx="240">
                        <c:v>44162</c:v>
                      </c:pt>
                      <c:pt idx="241">
                        <c:v>44163</c:v>
                      </c:pt>
                      <c:pt idx="242">
                        <c:v>44164</c:v>
                      </c:pt>
                      <c:pt idx="243">
                        <c:v>44165</c:v>
                      </c:pt>
                      <c:pt idx="244">
                        <c:v>44166</c:v>
                      </c:pt>
                      <c:pt idx="245">
                        <c:v>44167</c:v>
                      </c:pt>
                      <c:pt idx="246">
                        <c:v>44168</c:v>
                      </c:pt>
                      <c:pt idx="247">
                        <c:v>44169</c:v>
                      </c:pt>
                      <c:pt idx="248">
                        <c:v>44170</c:v>
                      </c:pt>
                      <c:pt idx="249">
                        <c:v>44171</c:v>
                      </c:pt>
                      <c:pt idx="250">
                        <c:v>44172</c:v>
                      </c:pt>
                      <c:pt idx="251">
                        <c:v>44173</c:v>
                      </c:pt>
                      <c:pt idx="252">
                        <c:v>44174</c:v>
                      </c:pt>
                      <c:pt idx="253">
                        <c:v>44175</c:v>
                      </c:pt>
                      <c:pt idx="254">
                        <c:v>44176</c:v>
                      </c:pt>
                      <c:pt idx="255">
                        <c:v>44177</c:v>
                      </c:pt>
                      <c:pt idx="256">
                        <c:v>44178</c:v>
                      </c:pt>
                      <c:pt idx="257">
                        <c:v>44179</c:v>
                      </c:pt>
                      <c:pt idx="258">
                        <c:v>44180</c:v>
                      </c:pt>
                      <c:pt idx="259">
                        <c:v>44181</c:v>
                      </c:pt>
                      <c:pt idx="260">
                        <c:v>44182</c:v>
                      </c:pt>
                      <c:pt idx="261">
                        <c:v>44183</c:v>
                      </c:pt>
                      <c:pt idx="262">
                        <c:v>44184</c:v>
                      </c:pt>
                      <c:pt idx="263">
                        <c:v>44185</c:v>
                      </c:pt>
                      <c:pt idx="264">
                        <c:v>44186</c:v>
                      </c:pt>
                      <c:pt idx="265">
                        <c:v>44187</c:v>
                      </c:pt>
                      <c:pt idx="266">
                        <c:v>44188</c:v>
                      </c:pt>
                      <c:pt idx="267">
                        <c:v>44189</c:v>
                      </c:pt>
                      <c:pt idx="268">
                        <c:v>44190</c:v>
                      </c:pt>
                      <c:pt idx="269">
                        <c:v>44191</c:v>
                      </c:pt>
                      <c:pt idx="270">
                        <c:v>44192</c:v>
                      </c:pt>
                      <c:pt idx="271">
                        <c:v>44193</c:v>
                      </c:pt>
                      <c:pt idx="272">
                        <c:v>44194</c:v>
                      </c:pt>
                      <c:pt idx="273">
                        <c:v>44195</c:v>
                      </c:pt>
                      <c:pt idx="274">
                        <c:v>44196</c:v>
                      </c:pt>
                      <c:pt idx="275">
                        <c:v>44197</c:v>
                      </c:pt>
                      <c:pt idx="276">
                        <c:v>44198</c:v>
                      </c:pt>
                      <c:pt idx="277">
                        <c:v>44199</c:v>
                      </c:pt>
                      <c:pt idx="278">
                        <c:v>44200</c:v>
                      </c:pt>
                      <c:pt idx="279">
                        <c:v>44201</c:v>
                      </c:pt>
                      <c:pt idx="280">
                        <c:v>44202</c:v>
                      </c:pt>
                      <c:pt idx="281">
                        <c:v>44203</c:v>
                      </c:pt>
                      <c:pt idx="282">
                        <c:v>44204</c:v>
                      </c:pt>
                      <c:pt idx="283">
                        <c:v>44205</c:v>
                      </c:pt>
                      <c:pt idx="284">
                        <c:v>44206</c:v>
                      </c:pt>
                      <c:pt idx="285">
                        <c:v>44207</c:v>
                      </c:pt>
                      <c:pt idx="286">
                        <c:v>44208</c:v>
                      </c:pt>
                      <c:pt idx="287">
                        <c:v>44209</c:v>
                      </c:pt>
                      <c:pt idx="288">
                        <c:v>44210</c:v>
                      </c:pt>
                      <c:pt idx="289">
                        <c:v>44211</c:v>
                      </c:pt>
                      <c:pt idx="290">
                        <c:v>44212</c:v>
                      </c:pt>
                      <c:pt idx="291">
                        <c:v>44213</c:v>
                      </c:pt>
                      <c:pt idx="292">
                        <c:v>44214</c:v>
                      </c:pt>
                      <c:pt idx="293">
                        <c:v>44215</c:v>
                      </c:pt>
                      <c:pt idx="294">
                        <c:v>44216</c:v>
                      </c:pt>
                      <c:pt idx="295">
                        <c:v>44217</c:v>
                      </c:pt>
                      <c:pt idx="296">
                        <c:v>44218</c:v>
                      </c:pt>
                      <c:pt idx="297">
                        <c:v>44219</c:v>
                      </c:pt>
                      <c:pt idx="298">
                        <c:v>44220</c:v>
                      </c:pt>
                      <c:pt idx="299">
                        <c:v>44221</c:v>
                      </c:pt>
                      <c:pt idx="300">
                        <c:v>44222</c:v>
                      </c:pt>
                      <c:pt idx="301">
                        <c:v>44223</c:v>
                      </c:pt>
                      <c:pt idx="302">
                        <c:v>44224</c:v>
                      </c:pt>
                      <c:pt idx="303">
                        <c:v>44225</c:v>
                      </c:pt>
                      <c:pt idx="304">
                        <c:v>44226</c:v>
                      </c:pt>
                      <c:pt idx="305">
                        <c:v>44227</c:v>
                      </c:pt>
                      <c:pt idx="306">
                        <c:v>44228</c:v>
                      </c:pt>
                      <c:pt idx="307">
                        <c:v>44229</c:v>
                      </c:pt>
                      <c:pt idx="308">
                        <c:v>44230</c:v>
                      </c:pt>
                      <c:pt idx="309">
                        <c:v>44231</c:v>
                      </c:pt>
                      <c:pt idx="310">
                        <c:v>44232</c:v>
                      </c:pt>
                      <c:pt idx="311">
                        <c:v>44233</c:v>
                      </c:pt>
                      <c:pt idx="312">
                        <c:v>44234</c:v>
                      </c:pt>
                      <c:pt idx="313">
                        <c:v>44235</c:v>
                      </c:pt>
                      <c:pt idx="314">
                        <c:v>44236</c:v>
                      </c:pt>
                      <c:pt idx="315">
                        <c:v>44237</c:v>
                      </c:pt>
                      <c:pt idx="316">
                        <c:v>44238</c:v>
                      </c:pt>
                      <c:pt idx="317">
                        <c:v>44239</c:v>
                      </c:pt>
                      <c:pt idx="318">
                        <c:v>44240</c:v>
                      </c:pt>
                      <c:pt idx="319">
                        <c:v>44241</c:v>
                      </c:pt>
                      <c:pt idx="320">
                        <c:v>44242</c:v>
                      </c:pt>
                      <c:pt idx="321">
                        <c:v>44243</c:v>
                      </c:pt>
                      <c:pt idx="322">
                        <c:v>44244</c:v>
                      </c:pt>
                      <c:pt idx="323">
                        <c:v>44245</c:v>
                      </c:pt>
                      <c:pt idx="324">
                        <c:v>44246</c:v>
                      </c:pt>
                      <c:pt idx="325">
                        <c:v>44247</c:v>
                      </c:pt>
                      <c:pt idx="326">
                        <c:v>44248</c:v>
                      </c:pt>
                      <c:pt idx="327">
                        <c:v>44249</c:v>
                      </c:pt>
                      <c:pt idx="328">
                        <c:v>44250</c:v>
                      </c:pt>
                      <c:pt idx="329">
                        <c:v>44251</c:v>
                      </c:pt>
                      <c:pt idx="330">
                        <c:v>44252</c:v>
                      </c:pt>
                      <c:pt idx="331">
                        <c:v>44253</c:v>
                      </c:pt>
                      <c:pt idx="332">
                        <c:v>44254</c:v>
                      </c:pt>
                      <c:pt idx="333">
                        <c:v>44255</c:v>
                      </c:pt>
                      <c:pt idx="334">
                        <c:v>44256</c:v>
                      </c:pt>
                      <c:pt idx="335">
                        <c:v>44257</c:v>
                      </c:pt>
                      <c:pt idx="336">
                        <c:v>44258</c:v>
                      </c:pt>
                      <c:pt idx="337">
                        <c:v>44259</c:v>
                      </c:pt>
                      <c:pt idx="338">
                        <c:v>44260</c:v>
                      </c:pt>
                      <c:pt idx="339">
                        <c:v>44261</c:v>
                      </c:pt>
                      <c:pt idx="340">
                        <c:v>44262</c:v>
                      </c:pt>
                      <c:pt idx="341">
                        <c:v>44263</c:v>
                      </c:pt>
                      <c:pt idx="342">
                        <c:v>44264</c:v>
                      </c:pt>
                      <c:pt idx="343">
                        <c:v>44265</c:v>
                      </c:pt>
                      <c:pt idx="344">
                        <c:v>44266</c:v>
                      </c:pt>
                      <c:pt idx="345">
                        <c:v>44267</c:v>
                      </c:pt>
                      <c:pt idx="346">
                        <c:v>44268</c:v>
                      </c:pt>
                      <c:pt idx="347">
                        <c:v>44269</c:v>
                      </c:pt>
                      <c:pt idx="348">
                        <c:v>44270</c:v>
                      </c:pt>
                      <c:pt idx="349">
                        <c:v>44271</c:v>
                      </c:pt>
                      <c:pt idx="350">
                        <c:v>44272</c:v>
                      </c:pt>
                      <c:pt idx="351">
                        <c:v>44273</c:v>
                      </c:pt>
                      <c:pt idx="352">
                        <c:v>44274</c:v>
                      </c:pt>
                      <c:pt idx="353">
                        <c:v>44275</c:v>
                      </c:pt>
                      <c:pt idx="354">
                        <c:v>44276</c:v>
                      </c:pt>
                      <c:pt idx="355">
                        <c:v>44277</c:v>
                      </c:pt>
                      <c:pt idx="356">
                        <c:v>44278</c:v>
                      </c:pt>
                      <c:pt idx="357">
                        <c:v>44279</c:v>
                      </c:pt>
                      <c:pt idx="358">
                        <c:v>44280</c:v>
                      </c:pt>
                      <c:pt idx="359">
                        <c:v>44281</c:v>
                      </c:pt>
                      <c:pt idx="360">
                        <c:v>44282</c:v>
                      </c:pt>
                      <c:pt idx="361">
                        <c:v>44283</c:v>
                      </c:pt>
                      <c:pt idx="362">
                        <c:v>44284</c:v>
                      </c:pt>
                      <c:pt idx="363">
                        <c:v>44285</c:v>
                      </c:pt>
                      <c:pt idx="364">
                        <c:v>44286</c:v>
                      </c:pt>
                      <c:pt idx="365">
                        <c:v>44287</c:v>
                      </c:pt>
                      <c:pt idx="366">
                        <c:v>44288</c:v>
                      </c:pt>
                      <c:pt idx="367">
                        <c:v>44289</c:v>
                      </c:pt>
                      <c:pt idx="368">
                        <c:v>44290</c:v>
                      </c:pt>
                      <c:pt idx="369">
                        <c:v>44291</c:v>
                      </c:pt>
                      <c:pt idx="370">
                        <c:v>44292</c:v>
                      </c:pt>
                      <c:pt idx="371">
                        <c:v>44293</c:v>
                      </c:pt>
                      <c:pt idx="372">
                        <c:v>44294</c:v>
                      </c:pt>
                      <c:pt idx="373">
                        <c:v>44295</c:v>
                      </c:pt>
                      <c:pt idx="374">
                        <c:v>44296</c:v>
                      </c:pt>
                      <c:pt idx="375">
                        <c:v>44297</c:v>
                      </c:pt>
                      <c:pt idx="376">
                        <c:v>44298</c:v>
                      </c:pt>
                      <c:pt idx="377">
                        <c:v>44299</c:v>
                      </c:pt>
                      <c:pt idx="378">
                        <c:v>44300</c:v>
                      </c:pt>
                      <c:pt idx="379">
                        <c:v>44301</c:v>
                      </c:pt>
                      <c:pt idx="380">
                        <c:v>44302</c:v>
                      </c:pt>
                      <c:pt idx="381">
                        <c:v>44303</c:v>
                      </c:pt>
                      <c:pt idx="382">
                        <c:v>44304</c:v>
                      </c:pt>
                      <c:pt idx="383">
                        <c:v>44305</c:v>
                      </c:pt>
                      <c:pt idx="384">
                        <c:v>44306</c:v>
                      </c:pt>
                      <c:pt idx="385">
                        <c:v>44307</c:v>
                      </c:pt>
                      <c:pt idx="386">
                        <c:v>44308</c:v>
                      </c:pt>
                      <c:pt idx="387">
                        <c:v>44309</c:v>
                      </c:pt>
                      <c:pt idx="388">
                        <c:v>44310</c:v>
                      </c:pt>
                      <c:pt idx="389">
                        <c:v>44311</c:v>
                      </c:pt>
                      <c:pt idx="390">
                        <c:v>44312</c:v>
                      </c:pt>
                      <c:pt idx="391">
                        <c:v>44313</c:v>
                      </c:pt>
                      <c:pt idx="392">
                        <c:v>44314</c:v>
                      </c:pt>
                      <c:pt idx="393">
                        <c:v>44315</c:v>
                      </c:pt>
                      <c:pt idx="394">
                        <c:v>44316</c:v>
                      </c:pt>
                      <c:pt idx="395">
                        <c:v>44317</c:v>
                      </c:pt>
                      <c:pt idx="396">
                        <c:v>44318</c:v>
                      </c:pt>
                      <c:pt idx="397">
                        <c:v>44319</c:v>
                      </c:pt>
                      <c:pt idx="398">
                        <c:v>44320</c:v>
                      </c:pt>
                      <c:pt idx="399">
                        <c:v>44321</c:v>
                      </c:pt>
                      <c:pt idx="400">
                        <c:v>44322</c:v>
                      </c:pt>
                      <c:pt idx="401">
                        <c:v>44323</c:v>
                      </c:pt>
                      <c:pt idx="402">
                        <c:v>44324</c:v>
                      </c:pt>
                      <c:pt idx="403">
                        <c:v>44325</c:v>
                      </c:pt>
                      <c:pt idx="404">
                        <c:v>44326</c:v>
                      </c:pt>
                      <c:pt idx="405">
                        <c:v>44327</c:v>
                      </c:pt>
                      <c:pt idx="406">
                        <c:v>44328</c:v>
                      </c:pt>
                      <c:pt idx="407">
                        <c:v>44329</c:v>
                      </c:pt>
                      <c:pt idx="408">
                        <c:v>44330</c:v>
                      </c:pt>
                      <c:pt idx="409">
                        <c:v>44331</c:v>
                      </c:pt>
                      <c:pt idx="410">
                        <c:v>44332</c:v>
                      </c:pt>
                      <c:pt idx="411">
                        <c:v>44333</c:v>
                      </c:pt>
                      <c:pt idx="412">
                        <c:v>44334</c:v>
                      </c:pt>
                      <c:pt idx="413">
                        <c:v>44335</c:v>
                      </c:pt>
                      <c:pt idx="414">
                        <c:v>44336</c:v>
                      </c:pt>
                      <c:pt idx="415">
                        <c:v>44337</c:v>
                      </c:pt>
                      <c:pt idx="416">
                        <c:v>44338</c:v>
                      </c:pt>
                      <c:pt idx="417">
                        <c:v>44339</c:v>
                      </c:pt>
                      <c:pt idx="418">
                        <c:v>44340</c:v>
                      </c:pt>
                      <c:pt idx="419">
                        <c:v>44341</c:v>
                      </c:pt>
                      <c:pt idx="420">
                        <c:v>44342</c:v>
                      </c:pt>
                      <c:pt idx="421">
                        <c:v>44343</c:v>
                      </c:pt>
                      <c:pt idx="422">
                        <c:v>44344</c:v>
                      </c:pt>
                      <c:pt idx="423">
                        <c:v>44345</c:v>
                      </c:pt>
                      <c:pt idx="424">
                        <c:v>44346</c:v>
                      </c:pt>
                      <c:pt idx="425">
                        <c:v>44347</c:v>
                      </c:pt>
                      <c:pt idx="426">
                        <c:v>44348</c:v>
                      </c:pt>
                      <c:pt idx="427">
                        <c:v>44349</c:v>
                      </c:pt>
                      <c:pt idx="428">
                        <c:v>44350</c:v>
                      </c:pt>
                      <c:pt idx="429">
                        <c:v>44351</c:v>
                      </c:pt>
                      <c:pt idx="430">
                        <c:v>44352</c:v>
                      </c:pt>
                      <c:pt idx="431">
                        <c:v>44353</c:v>
                      </c:pt>
                      <c:pt idx="432">
                        <c:v>44354</c:v>
                      </c:pt>
                      <c:pt idx="433">
                        <c:v>44355</c:v>
                      </c:pt>
                      <c:pt idx="434">
                        <c:v>44356</c:v>
                      </c:pt>
                      <c:pt idx="435">
                        <c:v>44357</c:v>
                      </c:pt>
                      <c:pt idx="436">
                        <c:v>44358</c:v>
                      </c:pt>
                      <c:pt idx="437">
                        <c:v>44359</c:v>
                      </c:pt>
                      <c:pt idx="438">
                        <c:v>44360</c:v>
                      </c:pt>
                      <c:pt idx="439">
                        <c:v>44361</c:v>
                      </c:pt>
                      <c:pt idx="440">
                        <c:v>44362</c:v>
                      </c:pt>
                      <c:pt idx="441">
                        <c:v>44363</c:v>
                      </c:pt>
                      <c:pt idx="442">
                        <c:v>44364</c:v>
                      </c:pt>
                      <c:pt idx="443">
                        <c:v>44365</c:v>
                      </c:pt>
                      <c:pt idx="444">
                        <c:v>44366</c:v>
                      </c:pt>
                      <c:pt idx="445">
                        <c:v>44367</c:v>
                      </c:pt>
                      <c:pt idx="446">
                        <c:v>44368</c:v>
                      </c:pt>
                      <c:pt idx="447">
                        <c:v>44369</c:v>
                      </c:pt>
                      <c:pt idx="448">
                        <c:v>44370</c:v>
                      </c:pt>
                      <c:pt idx="449">
                        <c:v>44371</c:v>
                      </c:pt>
                      <c:pt idx="450">
                        <c:v>44372</c:v>
                      </c:pt>
                      <c:pt idx="451">
                        <c:v>44373</c:v>
                      </c:pt>
                      <c:pt idx="452">
                        <c:v>44374</c:v>
                      </c:pt>
                      <c:pt idx="453">
                        <c:v>44375</c:v>
                      </c:pt>
                      <c:pt idx="454">
                        <c:v>44376</c:v>
                      </c:pt>
                      <c:pt idx="455">
                        <c:v>44377</c:v>
                      </c:pt>
                      <c:pt idx="456">
                        <c:v>44378</c:v>
                      </c:pt>
                      <c:pt idx="457">
                        <c:v>44379</c:v>
                      </c:pt>
                      <c:pt idx="458">
                        <c:v>44380</c:v>
                      </c:pt>
                      <c:pt idx="459">
                        <c:v>44381</c:v>
                      </c:pt>
                      <c:pt idx="460">
                        <c:v>44382</c:v>
                      </c:pt>
                      <c:pt idx="461">
                        <c:v>44383</c:v>
                      </c:pt>
                      <c:pt idx="462">
                        <c:v>44384</c:v>
                      </c:pt>
                      <c:pt idx="463">
                        <c:v>44385</c:v>
                      </c:pt>
                      <c:pt idx="464">
                        <c:v>44386</c:v>
                      </c:pt>
                      <c:pt idx="465">
                        <c:v>44387</c:v>
                      </c:pt>
                      <c:pt idx="466">
                        <c:v>44388</c:v>
                      </c:pt>
                      <c:pt idx="467">
                        <c:v>44389</c:v>
                      </c:pt>
                      <c:pt idx="468">
                        <c:v>44390</c:v>
                      </c:pt>
                      <c:pt idx="469">
                        <c:v>44391</c:v>
                      </c:pt>
                      <c:pt idx="470">
                        <c:v>44392</c:v>
                      </c:pt>
                      <c:pt idx="471">
                        <c:v>44393</c:v>
                      </c:pt>
                      <c:pt idx="472">
                        <c:v>44394</c:v>
                      </c:pt>
                      <c:pt idx="473">
                        <c:v>44395</c:v>
                      </c:pt>
                      <c:pt idx="474">
                        <c:v>44396</c:v>
                      </c:pt>
                      <c:pt idx="475">
                        <c:v>44397</c:v>
                      </c:pt>
                      <c:pt idx="476">
                        <c:v>44398</c:v>
                      </c:pt>
                      <c:pt idx="477">
                        <c:v>44399</c:v>
                      </c:pt>
                      <c:pt idx="478">
                        <c:v>44400</c:v>
                      </c:pt>
                      <c:pt idx="479">
                        <c:v>44401</c:v>
                      </c:pt>
                      <c:pt idx="480">
                        <c:v>44402</c:v>
                      </c:pt>
                      <c:pt idx="481">
                        <c:v>44403</c:v>
                      </c:pt>
                      <c:pt idx="482">
                        <c:v>44404</c:v>
                      </c:pt>
                      <c:pt idx="483">
                        <c:v>44405</c:v>
                      </c:pt>
                      <c:pt idx="484">
                        <c:v>44406</c:v>
                      </c:pt>
                      <c:pt idx="485">
                        <c:v>44407</c:v>
                      </c:pt>
                      <c:pt idx="486">
                        <c:v>44408</c:v>
                      </c:pt>
                      <c:pt idx="487">
                        <c:v>44409</c:v>
                      </c:pt>
                      <c:pt idx="488">
                        <c:v>44410</c:v>
                      </c:pt>
                      <c:pt idx="489">
                        <c:v>44411</c:v>
                      </c:pt>
                      <c:pt idx="490">
                        <c:v>44412</c:v>
                      </c:pt>
                      <c:pt idx="491">
                        <c:v>44413</c:v>
                      </c:pt>
                      <c:pt idx="492">
                        <c:v>44414</c:v>
                      </c:pt>
                      <c:pt idx="493">
                        <c:v>44415</c:v>
                      </c:pt>
                      <c:pt idx="494">
                        <c:v>44416</c:v>
                      </c:pt>
                      <c:pt idx="495">
                        <c:v>44417</c:v>
                      </c:pt>
                      <c:pt idx="496">
                        <c:v>44418</c:v>
                      </c:pt>
                      <c:pt idx="497">
                        <c:v>44419</c:v>
                      </c:pt>
                      <c:pt idx="498">
                        <c:v>44420</c:v>
                      </c:pt>
                      <c:pt idx="499">
                        <c:v>44421</c:v>
                      </c:pt>
                      <c:pt idx="500">
                        <c:v>44422</c:v>
                      </c:pt>
                      <c:pt idx="501">
                        <c:v>44423</c:v>
                      </c:pt>
                      <c:pt idx="502">
                        <c:v>44424</c:v>
                      </c:pt>
                      <c:pt idx="503">
                        <c:v>44425</c:v>
                      </c:pt>
                      <c:pt idx="504">
                        <c:v>44426</c:v>
                      </c:pt>
                    </c:numCache>
                  </c:numRef>
                </c:cat>
                <c:val>
                  <c:numRef>
                    <c:extLst>
                      <c:ext uri="{02D57815-91ED-43cb-92C2-25804820EDAC}">
                        <c15:formulaRef>
                          <c15:sqref>'El Salvador'!$D$94:$D$371</c15:sqref>
                        </c15:formulaRef>
                      </c:ext>
                    </c:extLst>
                    <c:numCache>
                      <c:formatCode>General</c:formatCode>
                      <c:ptCount val="278"/>
                      <c:pt idx="0">
                        <c:v>0</c:v>
                      </c:pt>
                      <c:pt idx="1">
                        <c:v>9</c:v>
                      </c:pt>
                      <c:pt idx="2">
                        <c:v>5</c:v>
                      </c:pt>
                      <c:pt idx="3">
                        <c:v>10</c:v>
                      </c:pt>
                      <c:pt idx="4">
                        <c:v>6</c:v>
                      </c:pt>
                      <c:pt idx="5">
                        <c:v>7</c:v>
                      </c:pt>
                      <c:pt idx="6">
                        <c:v>9</c:v>
                      </c:pt>
                      <c:pt idx="7">
                        <c:v>15</c:v>
                      </c:pt>
                      <c:pt idx="8">
                        <c:v>10</c:v>
                      </c:pt>
                      <c:pt idx="9">
                        <c:v>14</c:v>
                      </c:pt>
                      <c:pt idx="10">
                        <c:v>1</c:v>
                      </c:pt>
                      <c:pt idx="11">
                        <c:v>7</c:v>
                      </c:pt>
                      <c:pt idx="12">
                        <c:v>12</c:v>
                      </c:pt>
                      <c:pt idx="13">
                        <c:v>12</c:v>
                      </c:pt>
                      <c:pt idx="14">
                        <c:v>10</c:v>
                      </c:pt>
                      <c:pt idx="15">
                        <c:v>5</c:v>
                      </c:pt>
                      <c:pt idx="16">
                        <c:v>13</c:v>
                      </c:pt>
                      <c:pt idx="17">
                        <c:v>13</c:v>
                      </c:pt>
                      <c:pt idx="18">
                        <c:v>11</c:v>
                      </c:pt>
                      <c:pt idx="19">
                        <c:v>17</c:v>
                      </c:pt>
                      <c:pt idx="20">
                        <c:v>7</c:v>
                      </c:pt>
                      <c:pt idx="21">
                        <c:v>12</c:v>
                      </c:pt>
                      <c:pt idx="22">
                        <c:v>13</c:v>
                      </c:pt>
                      <c:pt idx="23">
                        <c:v>24</c:v>
                      </c:pt>
                      <c:pt idx="24">
                        <c:v>0</c:v>
                      </c:pt>
                      <c:pt idx="25">
                        <c:v>24</c:v>
                      </c:pt>
                      <c:pt idx="26">
                        <c:v>25</c:v>
                      </c:pt>
                      <c:pt idx="27">
                        <c:v>22</c:v>
                      </c:pt>
                      <c:pt idx="28">
                        <c:v>32</c:v>
                      </c:pt>
                      <c:pt idx="29">
                        <c:v>18</c:v>
                      </c:pt>
                      <c:pt idx="30">
                        <c:v>29</c:v>
                      </c:pt>
                      <c:pt idx="31">
                        <c:v>22</c:v>
                      </c:pt>
                      <c:pt idx="32">
                        <c:v>44</c:v>
                      </c:pt>
                      <c:pt idx="33">
                        <c:v>65</c:v>
                      </c:pt>
                      <c:pt idx="34">
                        <c:v>32</c:v>
                      </c:pt>
                      <c:pt idx="35">
                        <c:v>46</c:v>
                      </c:pt>
                      <c:pt idx="36">
                        <c:v>62</c:v>
                      </c:pt>
                      <c:pt idx="37">
                        <c:v>47</c:v>
                      </c:pt>
                      <c:pt idx="38">
                        <c:v>42</c:v>
                      </c:pt>
                      <c:pt idx="39">
                        <c:v>105</c:v>
                      </c:pt>
                      <c:pt idx="40">
                        <c:v>69</c:v>
                      </c:pt>
                      <c:pt idx="41">
                        <c:v>40</c:v>
                      </c:pt>
                      <c:pt idx="42">
                        <c:v>39</c:v>
                      </c:pt>
                      <c:pt idx="43">
                        <c:v>75</c:v>
                      </c:pt>
                      <c:pt idx="44">
                        <c:v>98</c:v>
                      </c:pt>
                      <c:pt idx="45">
                        <c:v>55</c:v>
                      </c:pt>
                      <c:pt idx="46">
                        <c:v>73</c:v>
                      </c:pt>
                      <c:pt idx="47">
                        <c:v>75</c:v>
                      </c:pt>
                      <c:pt idx="48">
                        <c:v>85</c:v>
                      </c:pt>
                      <c:pt idx="49">
                        <c:v>73</c:v>
                      </c:pt>
                      <c:pt idx="50">
                        <c:v>69</c:v>
                      </c:pt>
                      <c:pt idx="51">
                        <c:v>85</c:v>
                      </c:pt>
                      <c:pt idx="52">
                        <c:v>94</c:v>
                      </c:pt>
                      <c:pt idx="53">
                        <c:v>96</c:v>
                      </c:pt>
                      <c:pt idx="54">
                        <c:v>68</c:v>
                      </c:pt>
                      <c:pt idx="55">
                        <c:v>59</c:v>
                      </c:pt>
                      <c:pt idx="56">
                        <c:v>67</c:v>
                      </c:pt>
                      <c:pt idx="57">
                        <c:v>85</c:v>
                      </c:pt>
                      <c:pt idx="58">
                        <c:v>84</c:v>
                      </c:pt>
                      <c:pt idx="59">
                        <c:v>117</c:v>
                      </c:pt>
                      <c:pt idx="60">
                        <c:v>122</c:v>
                      </c:pt>
                      <c:pt idx="61">
                        <c:v>65</c:v>
                      </c:pt>
                      <c:pt idx="62">
                        <c:v>71</c:v>
                      </c:pt>
                      <c:pt idx="63">
                        <c:v>52</c:v>
                      </c:pt>
                      <c:pt idx="64">
                        <c:v>76</c:v>
                      </c:pt>
                      <c:pt idx="65">
                        <c:v>68</c:v>
                      </c:pt>
                      <c:pt idx="66">
                        <c:v>85</c:v>
                      </c:pt>
                      <c:pt idx="67">
                        <c:v>81</c:v>
                      </c:pt>
                      <c:pt idx="68">
                        <c:v>89</c:v>
                      </c:pt>
                      <c:pt idx="69">
                        <c:v>87</c:v>
                      </c:pt>
                      <c:pt idx="70">
                        <c:v>83</c:v>
                      </c:pt>
                      <c:pt idx="71">
                        <c:v>99</c:v>
                      </c:pt>
                      <c:pt idx="72">
                        <c:v>108</c:v>
                      </c:pt>
                      <c:pt idx="73">
                        <c:v>122</c:v>
                      </c:pt>
                      <c:pt idx="74">
                        <c:v>117</c:v>
                      </c:pt>
                      <c:pt idx="75">
                        <c:v>106</c:v>
                      </c:pt>
                      <c:pt idx="76">
                        <c:v>115</c:v>
                      </c:pt>
                      <c:pt idx="77">
                        <c:v>125</c:v>
                      </c:pt>
                      <c:pt idx="78">
                        <c:v>134</c:v>
                      </c:pt>
                      <c:pt idx="79">
                        <c:v>129</c:v>
                      </c:pt>
                      <c:pt idx="80">
                        <c:v>146</c:v>
                      </c:pt>
                      <c:pt idx="81">
                        <c:v>151</c:v>
                      </c:pt>
                      <c:pt idx="82">
                        <c:v>182</c:v>
                      </c:pt>
                      <c:pt idx="83">
                        <c:v>165</c:v>
                      </c:pt>
                      <c:pt idx="84">
                        <c:v>177</c:v>
                      </c:pt>
                      <c:pt idx="85">
                        <c:v>186</c:v>
                      </c:pt>
                      <c:pt idx="86">
                        <c:v>181</c:v>
                      </c:pt>
                      <c:pt idx="87">
                        <c:v>210</c:v>
                      </c:pt>
                      <c:pt idx="88">
                        <c:v>207</c:v>
                      </c:pt>
                      <c:pt idx="89">
                        <c:v>239</c:v>
                      </c:pt>
                      <c:pt idx="90">
                        <c:v>265</c:v>
                      </c:pt>
                      <c:pt idx="91">
                        <c:v>298</c:v>
                      </c:pt>
                      <c:pt idx="92">
                        <c:v>264</c:v>
                      </c:pt>
                      <c:pt idx="93">
                        <c:v>267</c:v>
                      </c:pt>
                      <c:pt idx="94">
                        <c:v>240</c:v>
                      </c:pt>
                      <c:pt idx="95">
                        <c:v>270</c:v>
                      </c:pt>
                      <c:pt idx="96">
                        <c:v>250</c:v>
                      </c:pt>
                      <c:pt idx="97">
                        <c:v>280</c:v>
                      </c:pt>
                      <c:pt idx="98">
                        <c:v>259</c:v>
                      </c:pt>
                      <c:pt idx="99">
                        <c:v>278</c:v>
                      </c:pt>
                      <c:pt idx="100">
                        <c:v>298</c:v>
                      </c:pt>
                      <c:pt idx="101">
                        <c:v>249</c:v>
                      </c:pt>
                      <c:pt idx="102">
                        <c:v>283</c:v>
                      </c:pt>
                      <c:pt idx="103">
                        <c:v>304</c:v>
                      </c:pt>
                      <c:pt idx="104">
                        <c:v>325</c:v>
                      </c:pt>
                      <c:pt idx="105">
                        <c:v>342</c:v>
                      </c:pt>
                      <c:pt idx="106">
                        <c:v>312</c:v>
                      </c:pt>
                      <c:pt idx="107">
                        <c:v>250</c:v>
                      </c:pt>
                      <c:pt idx="108">
                        <c:v>301</c:v>
                      </c:pt>
                      <c:pt idx="109">
                        <c:v>338</c:v>
                      </c:pt>
                      <c:pt idx="110">
                        <c:v>361</c:v>
                      </c:pt>
                      <c:pt idx="111">
                        <c:v>375</c:v>
                      </c:pt>
                      <c:pt idx="112">
                        <c:v>393</c:v>
                      </c:pt>
                      <c:pt idx="113">
                        <c:v>402</c:v>
                      </c:pt>
                      <c:pt idx="114">
                        <c:v>415</c:v>
                      </c:pt>
                      <c:pt idx="115">
                        <c:v>429</c:v>
                      </c:pt>
                      <c:pt idx="116">
                        <c:v>409</c:v>
                      </c:pt>
                      <c:pt idx="117">
                        <c:v>405</c:v>
                      </c:pt>
                      <c:pt idx="118">
                        <c:v>411</c:v>
                      </c:pt>
                      <c:pt idx="119">
                        <c:v>395</c:v>
                      </c:pt>
                      <c:pt idx="120">
                        <c:v>389</c:v>
                      </c:pt>
                      <c:pt idx="121">
                        <c:v>402</c:v>
                      </c:pt>
                      <c:pt idx="122">
                        <c:v>418</c:v>
                      </c:pt>
                      <c:pt idx="123">
                        <c:v>398</c:v>
                      </c:pt>
                      <c:pt idx="124">
                        <c:v>395</c:v>
                      </c:pt>
                      <c:pt idx="125">
                        <c:v>419</c:v>
                      </c:pt>
                      <c:pt idx="126">
                        <c:v>439</c:v>
                      </c:pt>
                      <c:pt idx="127">
                        <c:v>425</c:v>
                      </c:pt>
                      <c:pt idx="128">
                        <c:v>418</c:v>
                      </c:pt>
                      <c:pt idx="129">
                        <c:v>434</c:v>
                      </c:pt>
                      <c:pt idx="130">
                        <c:v>445</c:v>
                      </c:pt>
                      <c:pt idx="131">
                        <c:v>449</c:v>
                      </c:pt>
                      <c:pt idx="132">
                        <c:v>397</c:v>
                      </c:pt>
                      <c:pt idx="133">
                        <c:v>375</c:v>
                      </c:pt>
                      <c:pt idx="134">
                        <c:v>349</c:v>
                      </c:pt>
                      <c:pt idx="135">
                        <c:v>321</c:v>
                      </c:pt>
                      <c:pt idx="136">
                        <c:v>305</c:v>
                      </c:pt>
                      <c:pt idx="137">
                        <c:v>293</c:v>
                      </c:pt>
                      <c:pt idx="138">
                        <c:v>281</c:v>
                      </c:pt>
                      <c:pt idx="139">
                        <c:v>269</c:v>
                      </c:pt>
                      <c:pt idx="140">
                        <c:v>255</c:v>
                      </c:pt>
                      <c:pt idx="141">
                        <c:v>247</c:v>
                      </c:pt>
                      <c:pt idx="142">
                        <c:v>236</c:v>
                      </c:pt>
                      <c:pt idx="143">
                        <c:v>220</c:v>
                      </c:pt>
                      <c:pt idx="144">
                        <c:v>202</c:v>
                      </c:pt>
                      <c:pt idx="145">
                        <c:v>189</c:v>
                      </c:pt>
                      <c:pt idx="146">
                        <c:v>175</c:v>
                      </c:pt>
                      <c:pt idx="147">
                        <c:v>154</c:v>
                      </c:pt>
                      <c:pt idx="148">
                        <c:v>144</c:v>
                      </c:pt>
                      <c:pt idx="149">
                        <c:v>131</c:v>
                      </c:pt>
                      <c:pt idx="150">
                        <c:v>122</c:v>
                      </c:pt>
                      <c:pt idx="151">
                        <c:v>98</c:v>
                      </c:pt>
                      <c:pt idx="152">
                        <c:v>94</c:v>
                      </c:pt>
                      <c:pt idx="153">
                        <c:v>91</c:v>
                      </c:pt>
                      <c:pt idx="154">
                        <c:v>84</c:v>
                      </c:pt>
                      <c:pt idx="155">
                        <c:v>96</c:v>
                      </c:pt>
                      <c:pt idx="156">
                        <c:v>99</c:v>
                      </c:pt>
                      <c:pt idx="157">
                        <c:v>107</c:v>
                      </c:pt>
                      <c:pt idx="158">
                        <c:v>102</c:v>
                      </c:pt>
                      <c:pt idx="159">
                        <c:v>105</c:v>
                      </c:pt>
                      <c:pt idx="160">
                        <c:v>98</c:v>
                      </c:pt>
                      <c:pt idx="161">
                        <c:v>91</c:v>
                      </c:pt>
                      <c:pt idx="162">
                        <c:v>86</c:v>
                      </c:pt>
                      <c:pt idx="163">
                        <c:v>85</c:v>
                      </c:pt>
                      <c:pt idx="164">
                        <c:v>78</c:v>
                      </c:pt>
                      <c:pt idx="165">
                        <c:v>77</c:v>
                      </c:pt>
                      <c:pt idx="166">
                        <c:v>81</c:v>
                      </c:pt>
                      <c:pt idx="167">
                        <c:v>79</c:v>
                      </c:pt>
                      <c:pt idx="168">
                        <c:v>75</c:v>
                      </c:pt>
                      <c:pt idx="169">
                        <c:v>86</c:v>
                      </c:pt>
                      <c:pt idx="170">
                        <c:v>97</c:v>
                      </c:pt>
                      <c:pt idx="171">
                        <c:v>82</c:v>
                      </c:pt>
                      <c:pt idx="172">
                        <c:v>125</c:v>
                      </c:pt>
                      <c:pt idx="173">
                        <c:v>245</c:v>
                      </c:pt>
                      <c:pt idx="174">
                        <c:v>156</c:v>
                      </c:pt>
                      <c:pt idx="175">
                        <c:v>0</c:v>
                      </c:pt>
                      <c:pt idx="176">
                        <c:v>247</c:v>
                      </c:pt>
                      <c:pt idx="177">
                        <c:v>214</c:v>
                      </c:pt>
                      <c:pt idx="178">
                        <c:v>0</c:v>
                      </c:pt>
                      <c:pt idx="179">
                        <c:v>215</c:v>
                      </c:pt>
                      <c:pt idx="180">
                        <c:v>179</c:v>
                      </c:pt>
                      <c:pt idx="181">
                        <c:v>172</c:v>
                      </c:pt>
                      <c:pt idx="182">
                        <c:v>96</c:v>
                      </c:pt>
                      <c:pt idx="183">
                        <c:v>98</c:v>
                      </c:pt>
                      <c:pt idx="184">
                        <c:v>0</c:v>
                      </c:pt>
                      <c:pt idx="185">
                        <c:v>183</c:v>
                      </c:pt>
                      <c:pt idx="186">
                        <c:v>92</c:v>
                      </c:pt>
                      <c:pt idx="187">
                        <c:v>89</c:v>
                      </c:pt>
                      <c:pt idx="188">
                        <c:v>95</c:v>
                      </c:pt>
                      <c:pt idx="189">
                        <c:v>103</c:v>
                      </c:pt>
                      <c:pt idx="190">
                        <c:v>105</c:v>
                      </c:pt>
                      <c:pt idx="191">
                        <c:v>109</c:v>
                      </c:pt>
                      <c:pt idx="192">
                        <c:v>0</c:v>
                      </c:pt>
                      <c:pt idx="193">
                        <c:v>245</c:v>
                      </c:pt>
                      <c:pt idx="194">
                        <c:v>0</c:v>
                      </c:pt>
                      <c:pt idx="195">
                        <c:v>284</c:v>
                      </c:pt>
                      <c:pt idx="196">
                        <c:v>286</c:v>
                      </c:pt>
                      <c:pt idx="197">
                        <c:v>295</c:v>
                      </c:pt>
                      <c:pt idx="198">
                        <c:v>204</c:v>
                      </c:pt>
                      <c:pt idx="199">
                        <c:v>191</c:v>
                      </c:pt>
                      <c:pt idx="200">
                        <c:v>210</c:v>
                      </c:pt>
                      <c:pt idx="201">
                        <c:v>0</c:v>
                      </c:pt>
                      <c:pt idx="202">
                        <c:v>309</c:v>
                      </c:pt>
                      <c:pt idx="203">
                        <c:v>145</c:v>
                      </c:pt>
                      <c:pt idx="204">
                        <c:v>142</c:v>
                      </c:pt>
                      <c:pt idx="205">
                        <c:v>159</c:v>
                      </c:pt>
                      <c:pt idx="206">
                        <c:v>164</c:v>
                      </c:pt>
                      <c:pt idx="207">
                        <c:v>0</c:v>
                      </c:pt>
                      <c:pt idx="208">
                        <c:v>340</c:v>
                      </c:pt>
                      <c:pt idx="209">
                        <c:v>0</c:v>
                      </c:pt>
                      <c:pt idx="210">
                        <c:v>0</c:v>
                      </c:pt>
                      <c:pt idx="211">
                        <c:v>520</c:v>
                      </c:pt>
                      <c:pt idx="212">
                        <c:v>0</c:v>
                      </c:pt>
                      <c:pt idx="213">
                        <c:v>0</c:v>
                      </c:pt>
                      <c:pt idx="214">
                        <c:v>570</c:v>
                      </c:pt>
                      <c:pt idx="215">
                        <c:v>0</c:v>
                      </c:pt>
                      <c:pt idx="216">
                        <c:v>0</c:v>
                      </c:pt>
                      <c:pt idx="217">
                        <c:v>0</c:v>
                      </c:pt>
                      <c:pt idx="218">
                        <c:v>767</c:v>
                      </c:pt>
                      <c:pt idx="219">
                        <c:v>184</c:v>
                      </c:pt>
                      <c:pt idx="220">
                        <c:v>179</c:v>
                      </c:pt>
                      <c:pt idx="221">
                        <c:v>0</c:v>
                      </c:pt>
                      <c:pt idx="222">
                        <c:v>0</c:v>
                      </c:pt>
                      <c:pt idx="223">
                        <c:v>0</c:v>
                      </c:pt>
                      <c:pt idx="224">
                        <c:v>0</c:v>
                      </c:pt>
                      <c:pt idx="225">
                        <c:v>885</c:v>
                      </c:pt>
                      <c:pt idx="226">
                        <c:v>165</c:v>
                      </c:pt>
                      <c:pt idx="227">
                        <c:v>163</c:v>
                      </c:pt>
                      <c:pt idx="228">
                        <c:v>0</c:v>
                      </c:pt>
                      <c:pt idx="229">
                        <c:v>311</c:v>
                      </c:pt>
                      <c:pt idx="230">
                        <c:v>0</c:v>
                      </c:pt>
                      <c:pt idx="231">
                        <c:v>296</c:v>
                      </c:pt>
                      <c:pt idx="232">
                        <c:v>144</c:v>
                      </c:pt>
                      <c:pt idx="233">
                        <c:v>141</c:v>
                      </c:pt>
                      <c:pt idx="234">
                        <c:v>0</c:v>
                      </c:pt>
                      <c:pt idx="235">
                        <c:v>312</c:v>
                      </c:pt>
                      <c:pt idx="236">
                        <c:v>0</c:v>
                      </c:pt>
                      <c:pt idx="237">
                        <c:v>322</c:v>
                      </c:pt>
                      <c:pt idx="238">
                        <c:v>0</c:v>
                      </c:pt>
                      <c:pt idx="239">
                        <c:v>0</c:v>
                      </c:pt>
                      <c:pt idx="240">
                        <c:v>521</c:v>
                      </c:pt>
                      <c:pt idx="241">
                        <c:v>0</c:v>
                      </c:pt>
                      <c:pt idx="242">
                        <c:v>0</c:v>
                      </c:pt>
                      <c:pt idx="243">
                        <c:v>0</c:v>
                      </c:pt>
                      <c:pt idx="244">
                        <c:v>725</c:v>
                      </c:pt>
                      <c:pt idx="245">
                        <c:v>0</c:v>
                      </c:pt>
                      <c:pt idx="246">
                        <c:v>0</c:v>
                      </c:pt>
                      <c:pt idx="247">
                        <c:v>588</c:v>
                      </c:pt>
                      <c:pt idx="248">
                        <c:v>0</c:v>
                      </c:pt>
                      <c:pt idx="249">
                        <c:v>413</c:v>
                      </c:pt>
                      <c:pt idx="250">
                        <c:v>214</c:v>
                      </c:pt>
                      <c:pt idx="251">
                        <c:v>206</c:v>
                      </c:pt>
                      <c:pt idx="252">
                        <c:v>190</c:v>
                      </c:pt>
                      <c:pt idx="253">
                        <c:v>0</c:v>
                      </c:pt>
                      <c:pt idx="254">
                        <c:v>0</c:v>
                      </c:pt>
                      <c:pt idx="255">
                        <c:v>653</c:v>
                      </c:pt>
                      <c:pt idx="256">
                        <c:v>0</c:v>
                      </c:pt>
                      <c:pt idx="257">
                        <c:v>486</c:v>
                      </c:pt>
                      <c:pt idx="258">
                        <c:v>252</c:v>
                      </c:pt>
                      <c:pt idx="259">
                        <c:v>265</c:v>
                      </c:pt>
                      <c:pt idx="260">
                        <c:v>0</c:v>
                      </c:pt>
                      <c:pt idx="261">
                        <c:v>0</c:v>
                      </c:pt>
                      <c:pt idx="262">
                        <c:v>798</c:v>
                      </c:pt>
                      <c:pt idx="263">
                        <c:v>282</c:v>
                      </c:pt>
                      <c:pt idx="264">
                        <c:v>295</c:v>
                      </c:pt>
                      <c:pt idx="265">
                        <c:v>0</c:v>
                      </c:pt>
                      <c:pt idx="266">
                        <c:v>0</c:v>
                      </c:pt>
                      <c:pt idx="267">
                        <c:v>847</c:v>
                      </c:pt>
                      <c:pt idx="268">
                        <c:v>0</c:v>
                      </c:pt>
                      <c:pt idx="269">
                        <c:v>0</c:v>
                      </c:pt>
                      <c:pt idx="270">
                        <c:v>0</c:v>
                      </c:pt>
                      <c:pt idx="271">
                        <c:v>796</c:v>
                      </c:pt>
                      <c:pt idx="272">
                        <c:v>0</c:v>
                      </c:pt>
                      <c:pt idx="273">
                        <c:v>545</c:v>
                      </c:pt>
                      <c:pt idx="274">
                        <c:v>0</c:v>
                      </c:pt>
                      <c:pt idx="275">
                        <c:v>0</c:v>
                      </c:pt>
                      <c:pt idx="276">
                        <c:v>0</c:v>
                      </c:pt>
                      <c:pt idx="277">
                        <c:v>843</c:v>
                      </c:pt>
                    </c:numCache>
                  </c:numRef>
                </c:val>
                <c:extLst>
                  <c:ext xmlns:c16="http://schemas.microsoft.com/office/drawing/2014/chart" uri="{C3380CC4-5D6E-409C-BE32-E72D297353CC}">
                    <c16:uniqueId val="{00000002-ABFF-4F69-A778-B65D06386B92}"/>
                  </c:ext>
                </c:extLst>
              </c15:ser>
            </c15:filteredBarSeries>
            <c15:filteredBarSeries>
              <c15:ser>
                <c:idx val="1"/>
                <c:order val="2"/>
                <c:tx>
                  <c:strRef>
                    <c:extLst xmlns:c15="http://schemas.microsoft.com/office/drawing/2012/chart">
                      <c:ext xmlns:c15="http://schemas.microsoft.com/office/drawing/2012/chart" uri="{02D57815-91ED-43cb-92C2-25804820EDAC}">
                        <c15:formulaRef>
                          <c15:sqref>Detalle!#REF!</c15:sqref>
                        </c15:formulaRef>
                      </c:ext>
                    </c:extLst>
                    <c:strCache>
                      <c:ptCount val="1"/>
                      <c:pt idx="0">
                        <c:v>#REF!</c:v>
                      </c:pt>
                    </c:strCache>
                  </c:strRef>
                </c:tx>
                <c:spPr>
                  <a:solidFill>
                    <a:schemeClr val="accent2"/>
                  </a:solidFill>
                  <a:ln>
                    <a:noFill/>
                  </a:ln>
                  <a:effectLst/>
                </c:spPr>
                <c:invertIfNegative val="0"/>
                <c:cat>
                  <c:numRef>
                    <c:extLst xmlns:c15="http://schemas.microsoft.com/office/drawing/2012/chart">
                      <c:ext xmlns:c15="http://schemas.microsoft.com/office/drawing/2012/chart" uri="{02D57815-91ED-43cb-92C2-25804820EDAC}">
                        <c15:formulaRef>
                          <c15:sqref>World!$A$94:$A$598</c15:sqref>
                        </c15:formulaRef>
                      </c:ext>
                    </c:extLst>
                    <c:numCache>
                      <c:formatCode>dd/mm/yy;@</c:formatCode>
                      <c:ptCount val="505"/>
                      <c:pt idx="0">
                        <c:v>43922</c:v>
                      </c:pt>
                      <c:pt idx="1">
                        <c:v>43923</c:v>
                      </c:pt>
                      <c:pt idx="2">
                        <c:v>43924</c:v>
                      </c:pt>
                      <c:pt idx="3">
                        <c:v>43925</c:v>
                      </c:pt>
                      <c:pt idx="4">
                        <c:v>43926</c:v>
                      </c:pt>
                      <c:pt idx="5">
                        <c:v>43927</c:v>
                      </c:pt>
                      <c:pt idx="6">
                        <c:v>43928</c:v>
                      </c:pt>
                      <c:pt idx="7">
                        <c:v>43929</c:v>
                      </c:pt>
                      <c:pt idx="8">
                        <c:v>43930</c:v>
                      </c:pt>
                      <c:pt idx="9">
                        <c:v>43931</c:v>
                      </c:pt>
                      <c:pt idx="10">
                        <c:v>43932</c:v>
                      </c:pt>
                      <c:pt idx="11">
                        <c:v>43933</c:v>
                      </c:pt>
                      <c:pt idx="12">
                        <c:v>43934</c:v>
                      </c:pt>
                      <c:pt idx="13">
                        <c:v>43935</c:v>
                      </c:pt>
                      <c:pt idx="14">
                        <c:v>43936</c:v>
                      </c:pt>
                      <c:pt idx="15">
                        <c:v>43937</c:v>
                      </c:pt>
                      <c:pt idx="16">
                        <c:v>43938</c:v>
                      </c:pt>
                      <c:pt idx="17">
                        <c:v>43939</c:v>
                      </c:pt>
                      <c:pt idx="18">
                        <c:v>43940</c:v>
                      </c:pt>
                      <c:pt idx="19">
                        <c:v>43941</c:v>
                      </c:pt>
                      <c:pt idx="20">
                        <c:v>43942</c:v>
                      </c:pt>
                      <c:pt idx="21">
                        <c:v>43943</c:v>
                      </c:pt>
                      <c:pt idx="22">
                        <c:v>43944</c:v>
                      </c:pt>
                      <c:pt idx="23">
                        <c:v>43945</c:v>
                      </c:pt>
                      <c:pt idx="24">
                        <c:v>43946</c:v>
                      </c:pt>
                      <c:pt idx="25">
                        <c:v>43947</c:v>
                      </c:pt>
                      <c:pt idx="26">
                        <c:v>43948</c:v>
                      </c:pt>
                      <c:pt idx="27">
                        <c:v>43949</c:v>
                      </c:pt>
                      <c:pt idx="28">
                        <c:v>43950</c:v>
                      </c:pt>
                      <c:pt idx="29">
                        <c:v>43951</c:v>
                      </c:pt>
                      <c:pt idx="30">
                        <c:v>43952</c:v>
                      </c:pt>
                      <c:pt idx="31">
                        <c:v>43953</c:v>
                      </c:pt>
                      <c:pt idx="32">
                        <c:v>43954</c:v>
                      </c:pt>
                      <c:pt idx="33">
                        <c:v>43955</c:v>
                      </c:pt>
                      <c:pt idx="34">
                        <c:v>43956</c:v>
                      </c:pt>
                      <c:pt idx="35">
                        <c:v>43957</c:v>
                      </c:pt>
                      <c:pt idx="36">
                        <c:v>43958</c:v>
                      </c:pt>
                      <c:pt idx="37">
                        <c:v>43959</c:v>
                      </c:pt>
                      <c:pt idx="38">
                        <c:v>43960</c:v>
                      </c:pt>
                      <c:pt idx="39">
                        <c:v>43961</c:v>
                      </c:pt>
                      <c:pt idx="40">
                        <c:v>43962</c:v>
                      </c:pt>
                      <c:pt idx="41">
                        <c:v>43963</c:v>
                      </c:pt>
                      <c:pt idx="42">
                        <c:v>43964</c:v>
                      </c:pt>
                      <c:pt idx="43">
                        <c:v>43965</c:v>
                      </c:pt>
                      <c:pt idx="44">
                        <c:v>43966</c:v>
                      </c:pt>
                      <c:pt idx="45">
                        <c:v>43967</c:v>
                      </c:pt>
                      <c:pt idx="46">
                        <c:v>43968</c:v>
                      </c:pt>
                      <c:pt idx="47">
                        <c:v>43969</c:v>
                      </c:pt>
                      <c:pt idx="48">
                        <c:v>43970</c:v>
                      </c:pt>
                      <c:pt idx="49">
                        <c:v>43971</c:v>
                      </c:pt>
                      <c:pt idx="50">
                        <c:v>43972</c:v>
                      </c:pt>
                      <c:pt idx="51">
                        <c:v>43973</c:v>
                      </c:pt>
                      <c:pt idx="52">
                        <c:v>43974</c:v>
                      </c:pt>
                      <c:pt idx="53">
                        <c:v>43975</c:v>
                      </c:pt>
                      <c:pt idx="54">
                        <c:v>43976</c:v>
                      </c:pt>
                      <c:pt idx="55">
                        <c:v>43977</c:v>
                      </c:pt>
                      <c:pt idx="56">
                        <c:v>43978</c:v>
                      </c:pt>
                      <c:pt idx="57">
                        <c:v>43979</c:v>
                      </c:pt>
                      <c:pt idx="58">
                        <c:v>43980</c:v>
                      </c:pt>
                      <c:pt idx="59">
                        <c:v>43981</c:v>
                      </c:pt>
                      <c:pt idx="60">
                        <c:v>43982</c:v>
                      </c:pt>
                      <c:pt idx="61">
                        <c:v>43983</c:v>
                      </c:pt>
                      <c:pt idx="62">
                        <c:v>43984</c:v>
                      </c:pt>
                      <c:pt idx="63">
                        <c:v>43985</c:v>
                      </c:pt>
                      <c:pt idx="64">
                        <c:v>43986</c:v>
                      </c:pt>
                      <c:pt idx="65">
                        <c:v>43987</c:v>
                      </c:pt>
                      <c:pt idx="66">
                        <c:v>43988</c:v>
                      </c:pt>
                      <c:pt idx="67">
                        <c:v>43989</c:v>
                      </c:pt>
                      <c:pt idx="68">
                        <c:v>43990</c:v>
                      </c:pt>
                      <c:pt idx="69">
                        <c:v>43991</c:v>
                      </c:pt>
                      <c:pt idx="70">
                        <c:v>43992</c:v>
                      </c:pt>
                      <c:pt idx="71">
                        <c:v>43993</c:v>
                      </c:pt>
                      <c:pt idx="72">
                        <c:v>43994</c:v>
                      </c:pt>
                      <c:pt idx="73">
                        <c:v>43995</c:v>
                      </c:pt>
                      <c:pt idx="74">
                        <c:v>43996</c:v>
                      </c:pt>
                      <c:pt idx="75">
                        <c:v>43997</c:v>
                      </c:pt>
                      <c:pt idx="76">
                        <c:v>43998</c:v>
                      </c:pt>
                      <c:pt idx="77">
                        <c:v>43999</c:v>
                      </c:pt>
                      <c:pt idx="78">
                        <c:v>44000</c:v>
                      </c:pt>
                      <c:pt idx="79">
                        <c:v>44001</c:v>
                      </c:pt>
                      <c:pt idx="80">
                        <c:v>44002</c:v>
                      </c:pt>
                      <c:pt idx="81">
                        <c:v>44003</c:v>
                      </c:pt>
                      <c:pt idx="82">
                        <c:v>44004</c:v>
                      </c:pt>
                      <c:pt idx="83">
                        <c:v>44005</c:v>
                      </c:pt>
                      <c:pt idx="84">
                        <c:v>44006</c:v>
                      </c:pt>
                      <c:pt idx="85">
                        <c:v>44007</c:v>
                      </c:pt>
                      <c:pt idx="86">
                        <c:v>44008</c:v>
                      </c:pt>
                      <c:pt idx="87">
                        <c:v>44009</c:v>
                      </c:pt>
                      <c:pt idx="88">
                        <c:v>44010</c:v>
                      </c:pt>
                      <c:pt idx="89">
                        <c:v>44011</c:v>
                      </c:pt>
                      <c:pt idx="90">
                        <c:v>44012</c:v>
                      </c:pt>
                      <c:pt idx="91">
                        <c:v>44013</c:v>
                      </c:pt>
                      <c:pt idx="92">
                        <c:v>44014</c:v>
                      </c:pt>
                      <c:pt idx="93">
                        <c:v>44015</c:v>
                      </c:pt>
                      <c:pt idx="94">
                        <c:v>44016</c:v>
                      </c:pt>
                      <c:pt idx="95">
                        <c:v>44017</c:v>
                      </c:pt>
                      <c:pt idx="96">
                        <c:v>44018</c:v>
                      </c:pt>
                      <c:pt idx="97">
                        <c:v>44019</c:v>
                      </c:pt>
                      <c:pt idx="98">
                        <c:v>44020</c:v>
                      </c:pt>
                      <c:pt idx="99">
                        <c:v>44021</c:v>
                      </c:pt>
                      <c:pt idx="100">
                        <c:v>44022</c:v>
                      </c:pt>
                      <c:pt idx="101">
                        <c:v>44023</c:v>
                      </c:pt>
                      <c:pt idx="102">
                        <c:v>44024</c:v>
                      </c:pt>
                      <c:pt idx="103">
                        <c:v>44025</c:v>
                      </c:pt>
                      <c:pt idx="104">
                        <c:v>44026</c:v>
                      </c:pt>
                      <c:pt idx="105">
                        <c:v>44027</c:v>
                      </c:pt>
                      <c:pt idx="106">
                        <c:v>44028</c:v>
                      </c:pt>
                      <c:pt idx="107">
                        <c:v>44029</c:v>
                      </c:pt>
                      <c:pt idx="108">
                        <c:v>44030</c:v>
                      </c:pt>
                      <c:pt idx="109">
                        <c:v>44031</c:v>
                      </c:pt>
                      <c:pt idx="110">
                        <c:v>44032</c:v>
                      </c:pt>
                      <c:pt idx="111">
                        <c:v>44033</c:v>
                      </c:pt>
                      <c:pt idx="112">
                        <c:v>44034</c:v>
                      </c:pt>
                      <c:pt idx="113">
                        <c:v>44035</c:v>
                      </c:pt>
                      <c:pt idx="114">
                        <c:v>44036</c:v>
                      </c:pt>
                      <c:pt idx="115">
                        <c:v>44037</c:v>
                      </c:pt>
                      <c:pt idx="116">
                        <c:v>44038</c:v>
                      </c:pt>
                      <c:pt idx="117">
                        <c:v>44039</c:v>
                      </c:pt>
                      <c:pt idx="118">
                        <c:v>44040</c:v>
                      </c:pt>
                      <c:pt idx="119">
                        <c:v>44041</c:v>
                      </c:pt>
                      <c:pt idx="120">
                        <c:v>44042</c:v>
                      </c:pt>
                      <c:pt idx="121">
                        <c:v>44043</c:v>
                      </c:pt>
                      <c:pt idx="122">
                        <c:v>44044</c:v>
                      </c:pt>
                      <c:pt idx="123">
                        <c:v>44045</c:v>
                      </c:pt>
                      <c:pt idx="124">
                        <c:v>44046</c:v>
                      </c:pt>
                      <c:pt idx="125">
                        <c:v>44047</c:v>
                      </c:pt>
                      <c:pt idx="126">
                        <c:v>44048</c:v>
                      </c:pt>
                      <c:pt idx="127">
                        <c:v>44049</c:v>
                      </c:pt>
                      <c:pt idx="128">
                        <c:v>44050</c:v>
                      </c:pt>
                      <c:pt idx="129">
                        <c:v>44051</c:v>
                      </c:pt>
                      <c:pt idx="130">
                        <c:v>44052</c:v>
                      </c:pt>
                      <c:pt idx="131">
                        <c:v>44053</c:v>
                      </c:pt>
                      <c:pt idx="132">
                        <c:v>44054</c:v>
                      </c:pt>
                      <c:pt idx="133">
                        <c:v>44055</c:v>
                      </c:pt>
                      <c:pt idx="134">
                        <c:v>44056</c:v>
                      </c:pt>
                      <c:pt idx="135">
                        <c:v>44057</c:v>
                      </c:pt>
                      <c:pt idx="136">
                        <c:v>44058</c:v>
                      </c:pt>
                      <c:pt idx="137">
                        <c:v>44059</c:v>
                      </c:pt>
                      <c:pt idx="138">
                        <c:v>44060</c:v>
                      </c:pt>
                      <c:pt idx="139">
                        <c:v>44061</c:v>
                      </c:pt>
                      <c:pt idx="140">
                        <c:v>44062</c:v>
                      </c:pt>
                      <c:pt idx="141">
                        <c:v>44063</c:v>
                      </c:pt>
                      <c:pt idx="142">
                        <c:v>44064</c:v>
                      </c:pt>
                      <c:pt idx="143">
                        <c:v>44065</c:v>
                      </c:pt>
                      <c:pt idx="144">
                        <c:v>44066</c:v>
                      </c:pt>
                      <c:pt idx="145">
                        <c:v>44067</c:v>
                      </c:pt>
                      <c:pt idx="146">
                        <c:v>44068</c:v>
                      </c:pt>
                      <c:pt idx="147">
                        <c:v>44069</c:v>
                      </c:pt>
                      <c:pt idx="148">
                        <c:v>44070</c:v>
                      </c:pt>
                      <c:pt idx="149">
                        <c:v>44071</c:v>
                      </c:pt>
                      <c:pt idx="150">
                        <c:v>44072</c:v>
                      </c:pt>
                      <c:pt idx="151">
                        <c:v>44073</c:v>
                      </c:pt>
                      <c:pt idx="152">
                        <c:v>44074</c:v>
                      </c:pt>
                      <c:pt idx="153">
                        <c:v>44075</c:v>
                      </c:pt>
                      <c:pt idx="154">
                        <c:v>44076</c:v>
                      </c:pt>
                      <c:pt idx="155">
                        <c:v>44077</c:v>
                      </c:pt>
                      <c:pt idx="156">
                        <c:v>44078</c:v>
                      </c:pt>
                      <c:pt idx="157">
                        <c:v>44079</c:v>
                      </c:pt>
                      <c:pt idx="158">
                        <c:v>44080</c:v>
                      </c:pt>
                      <c:pt idx="159">
                        <c:v>44081</c:v>
                      </c:pt>
                      <c:pt idx="160">
                        <c:v>44082</c:v>
                      </c:pt>
                      <c:pt idx="161">
                        <c:v>44083</c:v>
                      </c:pt>
                      <c:pt idx="162">
                        <c:v>44084</c:v>
                      </c:pt>
                      <c:pt idx="163">
                        <c:v>44085</c:v>
                      </c:pt>
                      <c:pt idx="164">
                        <c:v>44086</c:v>
                      </c:pt>
                      <c:pt idx="165">
                        <c:v>44087</c:v>
                      </c:pt>
                      <c:pt idx="166">
                        <c:v>44088</c:v>
                      </c:pt>
                      <c:pt idx="167">
                        <c:v>44089</c:v>
                      </c:pt>
                      <c:pt idx="168">
                        <c:v>44090</c:v>
                      </c:pt>
                      <c:pt idx="169">
                        <c:v>44091</c:v>
                      </c:pt>
                      <c:pt idx="170">
                        <c:v>44092</c:v>
                      </c:pt>
                      <c:pt idx="171">
                        <c:v>44093</c:v>
                      </c:pt>
                      <c:pt idx="172">
                        <c:v>44094</c:v>
                      </c:pt>
                      <c:pt idx="173">
                        <c:v>44095</c:v>
                      </c:pt>
                      <c:pt idx="174">
                        <c:v>44096</c:v>
                      </c:pt>
                      <c:pt idx="175">
                        <c:v>44097</c:v>
                      </c:pt>
                      <c:pt idx="176">
                        <c:v>44098</c:v>
                      </c:pt>
                      <c:pt idx="177">
                        <c:v>44099</c:v>
                      </c:pt>
                      <c:pt idx="178">
                        <c:v>44100</c:v>
                      </c:pt>
                      <c:pt idx="179">
                        <c:v>44101</c:v>
                      </c:pt>
                      <c:pt idx="180">
                        <c:v>44102</c:v>
                      </c:pt>
                      <c:pt idx="181">
                        <c:v>44103</c:v>
                      </c:pt>
                      <c:pt idx="182">
                        <c:v>44104</c:v>
                      </c:pt>
                      <c:pt idx="183">
                        <c:v>44105</c:v>
                      </c:pt>
                      <c:pt idx="184">
                        <c:v>44106</c:v>
                      </c:pt>
                      <c:pt idx="185">
                        <c:v>44107</c:v>
                      </c:pt>
                      <c:pt idx="186">
                        <c:v>44108</c:v>
                      </c:pt>
                      <c:pt idx="187">
                        <c:v>44109</c:v>
                      </c:pt>
                      <c:pt idx="188">
                        <c:v>44110</c:v>
                      </c:pt>
                      <c:pt idx="189">
                        <c:v>44111</c:v>
                      </c:pt>
                      <c:pt idx="190">
                        <c:v>44112</c:v>
                      </c:pt>
                      <c:pt idx="191">
                        <c:v>44113</c:v>
                      </c:pt>
                      <c:pt idx="192">
                        <c:v>44114</c:v>
                      </c:pt>
                      <c:pt idx="193">
                        <c:v>44115</c:v>
                      </c:pt>
                      <c:pt idx="194">
                        <c:v>44116</c:v>
                      </c:pt>
                      <c:pt idx="195">
                        <c:v>44117</c:v>
                      </c:pt>
                      <c:pt idx="196">
                        <c:v>44118</c:v>
                      </c:pt>
                      <c:pt idx="197">
                        <c:v>44119</c:v>
                      </c:pt>
                      <c:pt idx="198">
                        <c:v>44120</c:v>
                      </c:pt>
                      <c:pt idx="199">
                        <c:v>44121</c:v>
                      </c:pt>
                      <c:pt idx="200">
                        <c:v>44122</c:v>
                      </c:pt>
                      <c:pt idx="201">
                        <c:v>44123</c:v>
                      </c:pt>
                      <c:pt idx="202">
                        <c:v>44124</c:v>
                      </c:pt>
                      <c:pt idx="203">
                        <c:v>44125</c:v>
                      </c:pt>
                      <c:pt idx="204">
                        <c:v>44126</c:v>
                      </c:pt>
                      <c:pt idx="205">
                        <c:v>44127</c:v>
                      </c:pt>
                      <c:pt idx="206">
                        <c:v>44128</c:v>
                      </c:pt>
                      <c:pt idx="207">
                        <c:v>44129</c:v>
                      </c:pt>
                      <c:pt idx="208">
                        <c:v>44130</c:v>
                      </c:pt>
                      <c:pt idx="209">
                        <c:v>44131</c:v>
                      </c:pt>
                      <c:pt idx="210">
                        <c:v>44132</c:v>
                      </c:pt>
                      <c:pt idx="211">
                        <c:v>44133</c:v>
                      </c:pt>
                      <c:pt idx="212">
                        <c:v>44134</c:v>
                      </c:pt>
                      <c:pt idx="213">
                        <c:v>44135</c:v>
                      </c:pt>
                      <c:pt idx="214">
                        <c:v>44136</c:v>
                      </c:pt>
                      <c:pt idx="215">
                        <c:v>44137</c:v>
                      </c:pt>
                      <c:pt idx="216">
                        <c:v>44138</c:v>
                      </c:pt>
                      <c:pt idx="217">
                        <c:v>44139</c:v>
                      </c:pt>
                      <c:pt idx="218">
                        <c:v>44140</c:v>
                      </c:pt>
                      <c:pt idx="219">
                        <c:v>44141</c:v>
                      </c:pt>
                      <c:pt idx="220">
                        <c:v>44142</c:v>
                      </c:pt>
                      <c:pt idx="221">
                        <c:v>44143</c:v>
                      </c:pt>
                      <c:pt idx="222">
                        <c:v>44144</c:v>
                      </c:pt>
                      <c:pt idx="223">
                        <c:v>44145</c:v>
                      </c:pt>
                      <c:pt idx="224">
                        <c:v>44146</c:v>
                      </c:pt>
                      <c:pt idx="225">
                        <c:v>44147</c:v>
                      </c:pt>
                      <c:pt idx="226">
                        <c:v>44148</c:v>
                      </c:pt>
                      <c:pt idx="227">
                        <c:v>44149</c:v>
                      </c:pt>
                      <c:pt idx="228">
                        <c:v>44150</c:v>
                      </c:pt>
                      <c:pt idx="229">
                        <c:v>44151</c:v>
                      </c:pt>
                      <c:pt idx="230">
                        <c:v>44152</c:v>
                      </c:pt>
                      <c:pt idx="231">
                        <c:v>44153</c:v>
                      </c:pt>
                      <c:pt idx="232">
                        <c:v>44154</c:v>
                      </c:pt>
                      <c:pt idx="233">
                        <c:v>44155</c:v>
                      </c:pt>
                      <c:pt idx="234">
                        <c:v>44156</c:v>
                      </c:pt>
                      <c:pt idx="235">
                        <c:v>44157</c:v>
                      </c:pt>
                      <c:pt idx="236">
                        <c:v>44158</c:v>
                      </c:pt>
                      <c:pt idx="237">
                        <c:v>44159</c:v>
                      </c:pt>
                      <c:pt idx="238">
                        <c:v>44160</c:v>
                      </c:pt>
                      <c:pt idx="239">
                        <c:v>44161</c:v>
                      </c:pt>
                      <c:pt idx="240">
                        <c:v>44162</c:v>
                      </c:pt>
                      <c:pt idx="241">
                        <c:v>44163</c:v>
                      </c:pt>
                      <c:pt idx="242">
                        <c:v>44164</c:v>
                      </c:pt>
                      <c:pt idx="243">
                        <c:v>44165</c:v>
                      </c:pt>
                      <c:pt idx="244">
                        <c:v>44166</c:v>
                      </c:pt>
                      <c:pt idx="245">
                        <c:v>44167</c:v>
                      </c:pt>
                      <c:pt idx="246">
                        <c:v>44168</c:v>
                      </c:pt>
                      <c:pt idx="247">
                        <c:v>44169</c:v>
                      </c:pt>
                      <c:pt idx="248">
                        <c:v>44170</c:v>
                      </c:pt>
                      <c:pt idx="249">
                        <c:v>44171</c:v>
                      </c:pt>
                      <c:pt idx="250">
                        <c:v>44172</c:v>
                      </c:pt>
                      <c:pt idx="251">
                        <c:v>44173</c:v>
                      </c:pt>
                      <c:pt idx="252">
                        <c:v>44174</c:v>
                      </c:pt>
                      <c:pt idx="253">
                        <c:v>44175</c:v>
                      </c:pt>
                      <c:pt idx="254">
                        <c:v>44176</c:v>
                      </c:pt>
                      <c:pt idx="255">
                        <c:v>44177</c:v>
                      </c:pt>
                      <c:pt idx="256">
                        <c:v>44178</c:v>
                      </c:pt>
                      <c:pt idx="257">
                        <c:v>44179</c:v>
                      </c:pt>
                      <c:pt idx="258">
                        <c:v>44180</c:v>
                      </c:pt>
                      <c:pt idx="259">
                        <c:v>44181</c:v>
                      </c:pt>
                      <c:pt idx="260">
                        <c:v>44182</c:v>
                      </c:pt>
                      <c:pt idx="261">
                        <c:v>44183</c:v>
                      </c:pt>
                      <c:pt idx="262">
                        <c:v>44184</c:v>
                      </c:pt>
                      <c:pt idx="263">
                        <c:v>44185</c:v>
                      </c:pt>
                      <c:pt idx="264">
                        <c:v>44186</c:v>
                      </c:pt>
                      <c:pt idx="265">
                        <c:v>44187</c:v>
                      </c:pt>
                      <c:pt idx="266">
                        <c:v>44188</c:v>
                      </c:pt>
                      <c:pt idx="267">
                        <c:v>44189</c:v>
                      </c:pt>
                      <c:pt idx="268">
                        <c:v>44190</c:v>
                      </c:pt>
                      <c:pt idx="269">
                        <c:v>44191</c:v>
                      </c:pt>
                      <c:pt idx="270">
                        <c:v>44192</c:v>
                      </c:pt>
                      <c:pt idx="271">
                        <c:v>44193</c:v>
                      </c:pt>
                      <c:pt idx="272">
                        <c:v>44194</c:v>
                      </c:pt>
                      <c:pt idx="273">
                        <c:v>44195</c:v>
                      </c:pt>
                      <c:pt idx="274">
                        <c:v>44196</c:v>
                      </c:pt>
                      <c:pt idx="275">
                        <c:v>44197</c:v>
                      </c:pt>
                      <c:pt idx="276">
                        <c:v>44198</c:v>
                      </c:pt>
                      <c:pt idx="277">
                        <c:v>44199</c:v>
                      </c:pt>
                      <c:pt idx="278">
                        <c:v>44200</c:v>
                      </c:pt>
                      <c:pt idx="279">
                        <c:v>44201</c:v>
                      </c:pt>
                      <c:pt idx="280">
                        <c:v>44202</c:v>
                      </c:pt>
                      <c:pt idx="281">
                        <c:v>44203</c:v>
                      </c:pt>
                      <c:pt idx="282">
                        <c:v>44204</c:v>
                      </c:pt>
                      <c:pt idx="283">
                        <c:v>44205</c:v>
                      </c:pt>
                      <c:pt idx="284">
                        <c:v>44206</c:v>
                      </c:pt>
                      <c:pt idx="285">
                        <c:v>44207</c:v>
                      </c:pt>
                      <c:pt idx="286">
                        <c:v>44208</c:v>
                      </c:pt>
                      <c:pt idx="287">
                        <c:v>44209</c:v>
                      </c:pt>
                      <c:pt idx="288">
                        <c:v>44210</c:v>
                      </c:pt>
                      <c:pt idx="289">
                        <c:v>44211</c:v>
                      </c:pt>
                      <c:pt idx="290">
                        <c:v>44212</c:v>
                      </c:pt>
                      <c:pt idx="291">
                        <c:v>44213</c:v>
                      </c:pt>
                      <c:pt idx="292">
                        <c:v>44214</c:v>
                      </c:pt>
                      <c:pt idx="293">
                        <c:v>44215</c:v>
                      </c:pt>
                      <c:pt idx="294">
                        <c:v>44216</c:v>
                      </c:pt>
                      <c:pt idx="295">
                        <c:v>44217</c:v>
                      </c:pt>
                      <c:pt idx="296">
                        <c:v>44218</c:v>
                      </c:pt>
                      <c:pt idx="297">
                        <c:v>44219</c:v>
                      </c:pt>
                      <c:pt idx="298">
                        <c:v>44220</c:v>
                      </c:pt>
                      <c:pt idx="299">
                        <c:v>44221</c:v>
                      </c:pt>
                      <c:pt idx="300">
                        <c:v>44222</c:v>
                      </c:pt>
                      <c:pt idx="301">
                        <c:v>44223</c:v>
                      </c:pt>
                      <c:pt idx="302">
                        <c:v>44224</c:v>
                      </c:pt>
                      <c:pt idx="303">
                        <c:v>44225</c:v>
                      </c:pt>
                      <c:pt idx="304">
                        <c:v>44226</c:v>
                      </c:pt>
                      <c:pt idx="305">
                        <c:v>44227</c:v>
                      </c:pt>
                      <c:pt idx="306">
                        <c:v>44228</c:v>
                      </c:pt>
                      <c:pt idx="307">
                        <c:v>44229</c:v>
                      </c:pt>
                      <c:pt idx="308">
                        <c:v>44230</c:v>
                      </c:pt>
                      <c:pt idx="309">
                        <c:v>44231</c:v>
                      </c:pt>
                      <c:pt idx="310">
                        <c:v>44232</c:v>
                      </c:pt>
                      <c:pt idx="311">
                        <c:v>44233</c:v>
                      </c:pt>
                      <c:pt idx="312">
                        <c:v>44234</c:v>
                      </c:pt>
                      <c:pt idx="313">
                        <c:v>44235</c:v>
                      </c:pt>
                      <c:pt idx="314">
                        <c:v>44236</c:v>
                      </c:pt>
                      <c:pt idx="315">
                        <c:v>44237</c:v>
                      </c:pt>
                      <c:pt idx="316">
                        <c:v>44238</c:v>
                      </c:pt>
                      <c:pt idx="317">
                        <c:v>44239</c:v>
                      </c:pt>
                      <c:pt idx="318">
                        <c:v>44240</c:v>
                      </c:pt>
                      <c:pt idx="319">
                        <c:v>44241</c:v>
                      </c:pt>
                      <c:pt idx="320">
                        <c:v>44242</c:v>
                      </c:pt>
                      <c:pt idx="321">
                        <c:v>44243</c:v>
                      </c:pt>
                      <c:pt idx="322">
                        <c:v>44244</c:v>
                      </c:pt>
                      <c:pt idx="323">
                        <c:v>44245</c:v>
                      </c:pt>
                      <c:pt idx="324">
                        <c:v>44246</c:v>
                      </c:pt>
                      <c:pt idx="325">
                        <c:v>44247</c:v>
                      </c:pt>
                      <c:pt idx="326">
                        <c:v>44248</c:v>
                      </c:pt>
                      <c:pt idx="327">
                        <c:v>44249</c:v>
                      </c:pt>
                      <c:pt idx="328">
                        <c:v>44250</c:v>
                      </c:pt>
                      <c:pt idx="329">
                        <c:v>44251</c:v>
                      </c:pt>
                      <c:pt idx="330">
                        <c:v>44252</c:v>
                      </c:pt>
                      <c:pt idx="331">
                        <c:v>44253</c:v>
                      </c:pt>
                      <c:pt idx="332">
                        <c:v>44254</c:v>
                      </c:pt>
                      <c:pt idx="333">
                        <c:v>44255</c:v>
                      </c:pt>
                      <c:pt idx="334">
                        <c:v>44256</c:v>
                      </c:pt>
                      <c:pt idx="335">
                        <c:v>44257</c:v>
                      </c:pt>
                      <c:pt idx="336">
                        <c:v>44258</c:v>
                      </c:pt>
                      <c:pt idx="337">
                        <c:v>44259</c:v>
                      </c:pt>
                      <c:pt idx="338">
                        <c:v>44260</c:v>
                      </c:pt>
                      <c:pt idx="339">
                        <c:v>44261</c:v>
                      </c:pt>
                      <c:pt idx="340">
                        <c:v>44262</c:v>
                      </c:pt>
                      <c:pt idx="341">
                        <c:v>44263</c:v>
                      </c:pt>
                      <c:pt idx="342">
                        <c:v>44264</c:v>
                      </c:pt>
                      <c:pt idx="343">
                        <c:v>44265</c:v>
                      </c:pt>
                      <c:pt idx="344">
                        <c:v>44266</c:v>
                      </c:pt>
                      <c:pt idx="345">
                        <c:v>44267</c:v>
                      </c:pt>
                      <c:pt idx="346">
                        <c:v>44268</c:v>
                      </c:pt>
                      <c:pt idx="347">
                        <c:v>44269</c:v>
                      </c:pt>
                      <c:pt idx="348">
                        <c:v>44270</c:v>
                      </c:pt>
                      <c:pt idx="349">
                        <c:v>44271</c:v>
                      </c:pt>
                      <c:pt idx="350">
                        <c:v>44272</c:v>
                      </c:pt>
                      <c:pt idx="351">
                        <c:v>44273</c:v>
                      </c:pt>
                      <c:pt idx="352">
                        <c:v>44274</c:v>
                      </c:pt>
                      <c:pt idx="353">
                        <c:v>44275</c:v>
                      </c:pt>
                      <c:pt idx="354">
                        <c:v>44276</c:v>
                      </c:pt>
                      <c:pt idx="355">
                        <c:v>44277</c:v>
                      </c:pt>
                      <c:pt idx="356">
                        <c:v>44278</c:v>
                      </c:pt>
                      <c:pt idx="357">
                        <c:v>44279</c:v>
                      </c:pt>
                      <c:pt idx="358">
                        <c:v>44280</c:v>
                      </c:pt>
                      <c:pt idx="359">
                        <c:v>44281</c:v>
                      </c:pt>
                      <c:pt idx="360">
                        <c:v>44282</c:v>
                      </c:pt>
                      <c:pt idx="361">
                        <c:v>44283</c:v>
                      </c:pt>
                      <c:pt idx="362">
                        <c:v>44284</c:v>
                      </c:pt>
                      <c:pt idx="363">
                        <c:v>44285</c:v>
                      </c:pt>
                      <c:pt idx="364">
                        <c:v>44286</c:v>
                      </c:pt>
                      <c:pt idx="365">
                        <c:v>44287</c:v>
                      </c:pt>
                      <c:pt idx="366">
                        <c:v>44288</c:v>
                      </c:pt>
                      <c:pt idx="367">
                        <c:v>44289</c:v>
                      </c:pt>
                      <c:pt idx="368">
                        <c:v>44290</c:v>
                      </c:pt>
                      <c:pt idx="369">
                        <c:v>44291</c:v>
                      </c:pt>
                      <c:pt idx="370">
                        <c:v>44292</c:v>
                      </c:pt>
                      <c:pt idx="371">
                        <c:v>44293</c:v>
                      </c:pt>
                      <c:pt idx="372">
                        <c:v>44294</c:v>
                      </c:pt>
                      <c:pt idx="373">
                        <c:v>44295</c:v>
                      </c:pt>
                      <c:pt idx="374">
                        <c:v>44296</c:v>
                      </c:pt>
                      <c:pt idx="375">
                        <c:v>44297</c:v>
                      </c:pt>
                      <c:pt idx="376">
                        <c:v>44298</c:v>
                      </c:pt>
                      <c:pt idx="377">
                        <c:v>44299</c:v>
                      </c:pt>
                      <c:pt idx="378">
                        <c:v>44300</c:v>
                      </c:pt>
                      <c:pt idx="379">
                        <c:v>44301</c:v>
                      </c:pt>
                      <c:pt idx="380">
                        <c:v>44302</c:v>
                      </c:pt>
                      <c:pt idx="381">
                        <c:v>44303</c:v>
                      </c:pt>
                      <c:pt idx="382">
                        <c:v>44304</c:v>
                      </c:pt>
                      <c:pt idx="383">
                        <c:v>44305</c:v>
                      </c:pt>
                      <c:pt idx="384">
                        <c:v>44306</c:v>
                      </c:pt>
                      <c:pt idx="385">
                        <c:v>44307</c:v>
                      </c:pt>
                      <c:pt idx="386">
                        <c:v>44308</c:v>
                      </c:pt>
                      <c:pt idx="387">
                        <c:v>44309</c:v>
                      </c:pt>
                      <c:pt idx="388">
                        <c:v>44310</c:v>
                      </c:pt>
                      <c:pt idx="389">
                        <c:v>44311</c:v>
                      </c:pt>
                      <c:pt idx="390">
                        <c:v>44312</c:v>
                      </c:pt>
                      <c:pt idx="391">
                        <c:v>44313</c:v>
                      </c:pt>
                      <c:pt idx="392">
                        <c:v>44314</c:v>
                      </c:pt>
                      <c:pt idx="393">
                        <c:v>44315</c:v>
                      </c:pt>
                      <c:pt idx="394">
                        <c:v>44316</c:v>
                      </c:pt>
                      <c:pt idx="395">
                        <c:v>44317</c:v>
                      </c:pt>
                      <c:pt idx="396">
                        <c:v>44318</c:v>
                      </c:pt>
                      <c:pt idx="397">
                        <c:v>44319</c:v>
                      </c:pt>
                      <c:pt idx="398">
                        <c:v>44320</c:v>
                      </c:pt>
                      <c:pt idx="399">
                        <c:v>44321</c:v>
                      </c:pt>
                      <c:pt idx="400">
                        <c:v>44322</c:v>
                      </c:pt>
                      <c:pt idx="401">
                        <c:v>44323</c:v>
                      </c:pt>
                      <c:pt idx="402">
                        <c:v>44324</c:v>
                      </c:pt>
                      <c:pt idx="403">
                        <c:v>44325</c:v>
                      </c:pt>
                      <c:pt idx="404">
                        <c:v>44326</c:v>
                      </c:pt>
                      <c:pt idx="405">
                        <c:v>44327</c:v>
                      </c:pt>
                      <c:pt idx="406">
                        <c:v>44328</c:v>
                      </c:pt>
                      <c:pt idx="407">
                        <c:v>44329</c:v>
                      </c:pt>
                      <c:pt idx="408">
                        <c:v>44330</c:v>
                      </c:pt>
                      <c:pt idx="409">
                        <c:v>44331</c:v>
                      </c:pt>
                      <c:pt idx="410">
                        <c:v>44332</c:v>
                      </c:pt>
                      <c:pt idx="411">
                        <c:v>44333</c:v>
                      </c:pt>
                      <c:pt idx="412">
                        <c:v>44334</c:v>
                      </c:pt>
                      <c:pt idx="413">
                        <c:v>44335</c:v>
                      </c:pt>
                      <c:pt idx="414">
                        <c:v>44336</c:v>
                      </c:pt>
                      <c:pt idx="415">
                        <c:v>44337</c:v>
                      </c:pt>
                      <c:pt idx="416">
                        <c:v>44338</c:v>
                      </c:pt>
                      <c:pt idx="417">
                        <c:v>44339</c:v>
                      </c:pt>
                      <c:pt idx="418">
                        <c:v>44340</c:v>
                      </c:pt>
                      <c:pt idx="419">
                        <c:v>44341</c:v>
                      </c:pt>
                      <c:pt idx="420">
                        <c:v>44342</c:v>
                      </c:pt>
                      <c:pt idx="421">
                        <c:v>44343</c:v>
                      </c:pt>
                      <c:pt idx="422">
                        <c:v>44344</c:v>
                      </c:pt>
                      <c:pt idx="423">
                        <c:v>44345</c:v>
                      </c:pt>
                      <c:pt idx="424">
                        <c:v>44346</c:v>
                      </c:pt>
                      <c:pt idx="425">
                        <c:v>44347</c:v>
                      </c:pt>
                      <c:pt idx="426">
                        <c:v>44348</c:v>
                      </c:pt>
                      <c:pt idx="427">
                        <c:v>44349</c:v>
                      </c:pt>
                      <c:pt idx="428">
                        <c:v>44350</c:v>
                      </c:pt>
                      <c:pt idx="429">
                        <c:v>44351</c:v>
                      </c:pt>
                      <c:pt idx="430">
                        <c:v>44352</c:v>
                      </c:pt>
                      <c:pt idx="431">
                        <c:v>44353</c:v>
                      </c:pt>
                      <c:pt idx="432">
                        <c:v>44354</c:v>
                      </c:pt>
                      <c:pt idx="433">
                        <c:v>44355</c:v>
                      </c:pt>
                      <c:pt idx="434">
                        <c:v>44356</c:v>
                      </c:pt>
                      <c:pt idx="435">
                        <c:v>44357</c:v>
                      </c:pt>
                      <c:pt idx="436">
                        <c:v>44358</c:v>
                      </c:pt>
                      <c:pt idx="437">
                        <c:v>44359</c:v>
                      </c:pt>
                      <c:pt idx="438">
                        <c:v>44360</c:v>
                      </c:pt>
                      <c:pt idx="439">
                        <c:v>44361</c:v>
                      </c:pt>
                      <c:pt idx="440">
                        <c:v>44362</c:v>
                      </c:pt>
                      <c:pt idx="441">
                        <c:v>44363</c:v>
                      </c:pt>
                      <c:pt idx="442">
                        <c:v>44364</c:v>
                      </c:pt>
                      <c:pt idx="443">
                        <c:v>44365</c:v>
                      </c:pt>
                      <c:pt idx="444">
                        <c:v>44366</c:v>
                      </c:pt>
                      <c:pt idx="445">
                        <c:v>44367</c:v>
                      </c:pt>
                      <c:pt idx="446">
                        <c:v>44368</c:v>
                      </c:pt>
                      <c:pt idx="447">
                        <c:v>44369</c:v>
                      </c:pt>
                      <c:pt idx="448">
                        <c:v>44370</c:v>
                      </c:pt>
                      <c:pt idx="449">
                        <c:v>44371</c:v>
                      </c:pt>
                      <c:pt idx="450">
                        <c:v>44372</c:v>
                      </c:pt>
                      <c:pt idx="451">
                        <c:v>44373</c:v>
                      </c:pt>
                      <c:pt idx="452">
                        <c:v>44374</c:v>
                      </c:pt>
                      <c:pt idx="453">
                        <c:v>44375</c:v>
                      </c:pt>
                      <c:pt idx="454">
                        <c:v>44376</c:v>
                      </c:pt>
                      <c:pt idx="455">
                        <c:v>44377</c:v>
                      </c:pt>
                      <c:pt idx="456">
                        <c:v>44378</c:v>
                      </c:pt>
                      <c:pt idx="457">
                        <c:v>44379</c:v>
                      </c:pt>
                      <c:pt idx="458">
                        <c:v>44380</c:v>
                      </c:pt>
                      <c:pt idx="459">
                        <c:v>44381</c:v>
                      </c:pt>
                      <c:pt idx="460">
                        <c:v>44382</c:v>
                      </c:pt>
                      <c:pt idx="461">
                        <c:v>44383</c:v>
                      </c:pt>
                      <c:pt idx="462">
                        <c:v>44384</c:v>
                      </c:pt>
                      <c:pt idx="463">
                        <c:v>44385</c:v>
                      </c:pt>
                      <c:pt idx="464">
                        <c:v>44386</c:v>
                      </c:pt>
                      <c:pt idx="465">
                        <c:v>44387</c:v>
                      </c:pt>
                      <c:pt idx="466">
                        <c:v>44388</c:v>
                      </c:pt>
                      <c:pt idx="467">
                        <c:v>44389</c:v>
                      </c:pt>
                      <c:pt idx="468">
                        <c:v>44390</c:v>
                      </c:pt>
                      <c:pt idx="469">
                        <c:v>44391</c:v>
                      </c:pt>
                      <c:pt idx="470">
                        <c:v>44392</c:v>
                      </c:pt>
                      <c:pt idx="471">
                        <c:v>44393</c:v>
                      </c:pt>
                      <c:pt idx="472">
                        <c:v>44394</c:v>
                      </c:pt>
                      <c:pt idx="473">
                        <c:v>44395</c:v>
                      </c:pt>
                      <c:pt idx="474">
                        <c:v>44396</c:v>
                      </c:pt>
                      <c:pt idx="475">
                        <c:v>44397</c:v>
                      </c:pt>
                      <c:pt idx="476">
                        <c:v>44398</c:v>
                      </c:pt>
                      <c:pt idx="477">
                        <c:v>44399</c:v>
                      </c:pt>
                      <c:pt idx="478">
                        <c:v>44400</c:v>
                      </c:pt>
                      <c:pt idx="479">
                        <c:v>44401</c:v>
                      </c:pt>
                      <c:pt idx="480">
                        <c:v>44402</c:v>
                      </c:pt>
                      <c:pt idx="481">
                        <c:v>44403</c:v>
                      </c:pt>
                      <c:pt idx="482">
                        <c:v>44404</c:v>
                      </c:pt>
                      <c:pt idx="483">
                        <c:v>44405</c:v>
                      </c:pt>
                      <c:pt idx="484">
                        <c:v>44406</c:v>
                      </c:pt>
                      <c:pt idx="485">
                        <c:v>44407</c:v>
                      </c:pt>
                      <c:pt idx="486">
                        <c:v>44408</c:v>
                      </c:pt>
                      <c:pt idx="487">
                        <c:v>44409</c:v>
                      </c:pt>
                      <c:pt idx="488">
                        <c:v>44410</c:v>
                      </c:pt>
                      <c:pt idx="489">
                        <c:v>44411</c:v>
                      </c:pt>
                      <c:pt idx="490">
                        <c:v>44412</c:v>
                      </c:pt>
                      <c:pt idx="491">
                        <c:v>44413</c:v>
                      </c:pt>
                      <c:pt idx="492">
                        <c:v>44414</c:v>
                      </c:pt>
                      <c:pt idx="493">
                        <c:v>44415</c:v>
                      </c:pt>
                      <c:pt idx="494">
                        <c:v>44416</c:v>
                      </c:pt>
                      <c:pt idx="495">
                        <c:v>44417</c:v>
                      </c:pt>
                      <c:pt idx="496">
                        <c:v>44418</c:v>
                      </c:pt>
                      <c:pt idx="497">
                        <c:v>44419</c:v>
                      </c:pt>
                      <c:pt idx="498">
                        <c:v>44420</c:v>
                      </c:pt>
                      <c:pt idx="499">
                        <c:v>44421</c:v>
                      </c:pt>
                      <c:pt idx="500">
                        <c:v>44422</c:v>
                      </c:pt>
                      <c:pt idx="501">
                        <c:v>44423</c:v>
                      </c:pt>
                      <c:pt idx="502">
                        <c:v>44424</c:v>
                      </c:pt>
                      <c:pt idx="503">
                        <c:v>44425</c:v>
                      </c:pt>
                      <c:pt idx="504">
                        <c:v>44426</c:v>
                      </c:pt>
                    </c:numCache>
                  </c:numRef>
                </c:cat>
                <c:val>
                  <c:numRef>
                    <c:extLst xmlns:c15="http://schemas.microsoft.com/office/drawing/2012/chart">
                      <c:ext xmlns:c15="http://schemas.microsoft.com/office/drawing/2012/chart" uri="{02D57815-91ED-43cb-92C2-25804820EDAC}">
                        <c15:formulaRef>
                          <c15:sqref>Honduras!$D$94:$D$371</c15:sqref>
                        </c15:formulaRef>
                      </c:ext>
                    </c:extLst>
                    <c:numCache>
                      <c:formatCode>General</c:formatCode>
                      <c:ptCount val="278"/>
                      <c:pt idx="0">
                        <c:v>31</c:v>
                      </c:pt>
                      <c:pt idx="1">
                        <c:v>47</c:v>
                      </c:pt>
                      <c:pt idx="2">
                        <c:v>3</c:v>
                      </c:pt>
                      <c:pt idx="3">
                        <c:v>42</c:v>
                      </c:pt>
                      <c:pt idx="4">
                        <c:v>4</c:v>
                      </c:pt>
                      <c:pt idx="5">
                        <c:v>30</c:v>
                      </c:pt>
                      <c:pt idx="6">
                        <c:v>7</c:v>
                      </c:pt>
                      <c:pt idx="7">
                        <c:v>7</c:v>
                      </c:pt>
                      <c:pt idx="8">
                        <c:v>31</c:v>
                      </c:pt>
                      <c:pt idx="9">
                        <c:v>39</c:v>
                      </c:pt>
                      <c:pt idx="10">
                        <c:v>10</c:v>
                      </c:pt>
                      <c:pt idx="11">
                        <c:v>1</c:v>
                      </c:pt>
                      <c:pt idx="12">
                        <c:v>4</c:v>
                      </c:pt>
                      <c:pt idx="13">
                        <c:v>10</c:v>
                      </c:pt>
                      <c:pt idx="14">
                        <c:v>12</c:v>
                      </c:pt>
                      <c:pt idx="15">
                        <c:v>7</c:v>
                      </c:pt>
                      <c:pt idx="16">
                        <c:v>16</c:v>
                      </c:pt>
                      <c:pt idx="17">
                        <c:v>15</c:v>
                      </c:pt>
                      <c:pt idx="18">
                        <c:v>15</c:v>
                      </c:pt>
                      <c:pt idx="19">
                        <c:v>5</c:v>
                      </c:pt>
                      <c:pt idx="20">
                        <c:v>17</c:v>
                      </c:pt>
                      <c:pt idx="21">
                        <c:v>16</c:v>
                      </c:pt>
                      <c:pt idx="22">
                        <c:v>9</c:v>
                      </c:pt>
                      <c:pt idx="23">
                        <c:v>72</c:v>
                      </c:pt>
                      <c:pt idx="24">
                        <c:v>36</c:v>
                      </c:pt>
                      <c:pt idx="25">
                        <c:v>0</c:v>
                      </c:pt>
                      <c:pt idx="26">
                        <c:v>34</c:v>
                      </c:pt>
                      <c:pt idx="27">
                        <c:v>41</c:v>
                      </c:pt>
                      <c:pt idx="28">
                        <c:v>36</c:v>
                      </c:pt>
                      <c:pt idx="29">
                        <c:v>33</c:v>
                      </c:pt>
                      <c:pt idx="30">
                        <c:v>33</c:v>
                      </c:pt>
                      <c:pt idx="31">
                        <c:v>206</c:v>
                      </c:pt>
                      <c:pt idx="32">
                        <c:v>45</c:v>
                      </c:pt>
                      <c:pt idx="33">
                        <c:v>123</c:v>
                      </c:pt>
                      <c:pt idx="34">
                        <c:v>92</c:v>
                      </c:pt>
                      <c:pt idx="35">
                        <c:v>191</c:v>
                      </c:pt>
                      <c:pt idx="36">
                        <c:v>224</c:v>
                      </c:pt>
                      <c:pt idx="37">
                        <c:v>86</c:v>
                      </c:pt>
                      <c:pt idx="38">
                        <c:v>59</c:v>
                      </c:pt>
                      <c:pt idx="39">
                        <c:v>142</c:v>
                      </c:pt>
                      <c:pt idx="40">
                        <c:v>128</c:v>
                      </c:pt>
                      <c:pt idx="41">
                        <c:v>-20</c:v>
                      </c:pt>
                      <c:pt idx="42">
                        <c:v>175</c:v>
                      </c:pt>
                      <c:pt idx="43">
                        <c:v>63</c:v>
                      </c:pt>
                      <c:pt idx="44">
                        <c:v>142</c:v>
                      </c:pt>
                      <c:pt idx="45">
                        <c:v>105</c:v>
                      </c:pt>
                      <c:pt idx="46">
                        <c:v>81</c:v>
                      </c:pt>
                      <c:pt idx="47">
                        <c:v>152</c:v>
                      </c:pt>
                      <c:pt idx="48">
                        <c:v>157</c:v>
                      </c:pt>
                      <c:pt idx="49">
                        <c:v>0</c:v>
                      </c:pt>
                      <c:pt idx="50">
                        <c:v>249</c:v>
                      </c:pt>
                      <c:pt idx="51">
                        <c:v>273</c:v>
                      </c:pt>
                      <c:pt idx="52">
                        <c:v>0</c:v>
                      </c:pt>
                      <c:pt idx="53">
                        <c:v>473</c:v>
                      </c:pt>
                      <c:pt idx="54">
                        <c:v>239</c:v>
                      </c:pt>
                      <c:pt idx="55">
                        <c:v>212</c:v>
                      </c:pt>
                      <c:pt idx="56">
                        <c:v>239</c:v>
                      </c:pt>
                      <c:pt idx="57">
                        <c:v>112</c:v>
                      </c:pt>
                      <c:pt idx="58">
                        <c:v>0</c:v>
                      </c:pt>
                      <c:pt idx="59">
                        <c:v>342</c:v>
                      </c:pt>
                      <c:pt idx="60">
                        <c:v>108</c:v>
                      </c:pt>
                      <c:pt idx="61">
                        <c:v>160</c:v>
                      </c:pt>
                      <c:pt idx="62">
                        <c:v>165</c:v>
                      </c:pt>
                      <c:pt idx="63">
                        <c:v>163</c:v>
                      </c:pt>
                      <c:pt idx="64">
                        <c:v>190</c:v>
                      </c:pt>
                      <c:pt idx="65">
                        <c:v>91</c:v>
                      </c:pt>
                      <c:pt idx="66">
                        <c:v>184</c:v>
                      </c:pt>
                      <c:pt idx="67">
                        <c:v>172</c:v>
                      </c:pt>
                      <c:pt idx="68">
                        <c:v>123</c:v>
                      </c:pt>
                      <c:pt idx="69">
                        <c:v>485</c:v>
                      </c:pt>
                      <c:pt idx="70">
                        <c:v>425</c:v>
                      </c:pt>
                      <c:pt idx="71">
                        <c:v>309</c:v>
                      </c:pt>
                      <c:pt idx="72">
                        <c:v>463</c:v>
                      </c:pt>
                      <c:pt idx="73">
                        <c:v>323</c:v>
                      </c:pt>
                      <c:pt idx="74">
                        <c:v>403</c:v>
                      </c:pt>
                      <c:pt idx="75">
                        <c:v>320</c:v>
                      </c:pt>
                      <c:pt idx="76">
                        <c:v>478</c:v>
                      </c:pt>
                      <c:pt idx="77">
                        <c:v>643</c:v>
                      </c:pt>
                      <c:pt idx="78">
                        <c:v>440</c:v>
                      </c:pt>
                      <c:pt idx="79">
                        <c:v>519</c:v>
                      </c:pt>
                      <c:pt idx="80">
                        <c:v>1048</c:v>
                      </c:pt>
                      <c:pt idx="81">
                        <c:v>463</c:v>
                      </c:pt>
                      <c:pt idx="82">
                        <c:v>587</c:v>
                      </c:pt>
                      <c:pt idx="83">
                        <c:v>587</c:v>
                      </c:pt>
                      <c:pt idx="84">
                        <c:v>628</c:v>
                      </c:pt>
                      <c:pt idx="85">
                        <c:v>795</c:v>
                      </c:pt>
                      <c:pt idx="86">
                        <c:v>628</c:v>
                      </c:pt>
                      <c:pt idx="87">
                        <c:v>1013</c:v>
                      </c:pt>
                      <c:pt idx="88">
                        <c:v>1075</c:v>
                      </c:pt>
                      <c:pt idx="89">
                        <c:v>736</c:v>
                      </c:pt>
                      <c:pt idx="90">
                        <c:v>740</c:v>
                      </c:pt>
                      <c:pt idx="91">
                        <c:v>704</c:v>
                      </c:pt>
                      <c:pt idx="92">
                        <c:v>858</c:v>
                      </c:pt>
                      <c:pt idx="93">
                        <c:v>996</c:v>
                      </c:pt>
                      <c:pt idx="94">
                        <c:v>805</c:v>
                      </c:pt>
                      <c:pt idx="95">
                        <c:v>1022</c:v>
                      </c:pt>
                      <c:pt idx="96">
                        <c:v>722</c:v>
                      </c:pt>
                      <c:pt idx="97">
                        <c:v>763</c:v>
                      </c:pt>
                      <c:pt idx="98">
                        <c:v>550</c:v>
                      </c:pt>
                      <c:pt idx="99">
                        <c:v>406</c:v>
                      </c:pt>
                      <c:pt idx="100">
                        <c:v>669</c:v>
                      </c:pt>
                      <c:pt idx="101">
                        <c:v>530</c:v>
                      </c:pt>
                      <c:pt idx="102">
                        <c:v>507</c:v>
                      </c:pt>
                      <c:pt idx="103">
                        <c:v>489</c:v>
                      </c:pt>
                      <c:pt idx="104">
                        <c:v>527</c:v>
                      </c:pt>
                      <c:pt idx="105">
                        <c:v>930</c:v>
                      </c:pt>
                      <c:pt idx="106">
                        <c:v>831</c:v>
                      </c:pt>
                      <c:pt idx="107">
                        <c:v>878</c:v>
                      </c:pt>
                      <c:pt idx="108">
                        <c:v>1048</c:v>
                      </c:pt>
                      <c:pt idx="109">
                        <c:v>1042</c:v>
                      </c:pt>
                      <c:pt idx="110">
                        <c:v>776</c:v>
                      </c:pt>
                      <c:pt idx="111">
                        <c:v>734</c:v>
                      </c:pt>
                      <c:pt idx="112">
                        <c:v>757</c:v>
                      </c:pt>
                      <c:pt idx="113">
                        <c:v>800</c:v>
                      </c:pt>
                      <c:pt idx="114">
                        <c:v>657</c:v>
                      </c:pt>
                      <c:pt idx="115">
                        <c:v>879</c:v>
                      </c:pt>
                      <c:pt idx="116">
                        <c:v>838</c:v>
                      </c:pt>
                      <c:pt idx="117">
                        <c:v>465</c:v>
                      </c:pt>
                      <c:pt idx="118">
                        <c:v>719</c:v>
                      </c:pt>
                      <c:pt idx="119">
                        <c:v>484</c:v>
                      </c:pt>
                      <c:pt idx="120">
                        <c:v>482</c:v>
                      </c:pt>
                      <c:pt idx="121">
                        <c:v>588</c:v>
                      </c:pt>
                      <c:pt idx="122">
                        <c:v>671</c:v>
                      </c:pt>
                      <c:pt idx="123">
                        <c:v>512</c:v>
                      </c:pt>
                      <c:pt idx="124">
                        <c:v>597</c:v>
                      </c:pt>
                      <c:pt idx="125">
                        <c:v>505</c:v>
                      </c:pt>
                      <c:pt idx="126">
                        <c:v>799</c:v>
                      </c:pt>
                      <c:pt idx="127">
                        <c:v>657</c:v>
                      </c:pt>
                      <c:pt idx="128">
                        <c:v>610</c:v>
                      </c:pt>
                      <c:pt idx="129">
                        <c:v>608</c:v>
                      </c:pt>
                      <c:pt idx="130">
                        <c:v>481</c:v>
                      </c:pt>
                      <c:pt idx="131">
                        <c:v>418</c:v>
                      </c:pt>
                      <c:pt idx="132">
                        <c:v>531</c:v>
                      </c:pt>
                      <c:pt idx="133">
                        <c:v>254</c:v>
                      </c:pt>
                      <c:pt idx="134">
                        <c:v>385</c:v>
                      </c:pt>
                      <c:pt idx="135">
                        <c:v>425</c:v>
                      </c:pt>
                      <c:pt idx="136">
                        <c:v>512</c:v>
                      </c:pt>
                      <c:pt idx="137">
                        <c:v>523</c:v>
                      </c:pt>
                      <c:pt idx="138">
                        <c:v>493</c:v>
                      </c:pt>
                      <c:pt idx="139">
                        <c:v>675</c:v>
                      </c:pt>
                      <c:pt idx="140">
                        <c:v>628</c:v>
                      </c:pt>
                      <c:pt idx="141">
                        <c:v>521</c:v>
                      </c:pt>
                      <c:pt idx="142">
                        <c:v>562</c:v>
                      </c:pt>
                      <c:pt idx="143">
                        <c:v>602</c:v>
                      </c:pt>
                      <c:pt idx="144">
                        <c:v>528</c:v>
                      </c:pt>
                      <c:pt idx="145">
                        <c:v>968</c:v>
                      </c:pt>
                      <c:pt idx="146">
                        <c:v>398</c:v>
                      </c:pt>
                      <c:pt idx="147">
                        <c:v>772</c:v>
                      </c:pt>
                      <c:pt idx="148">
                        <c:v>1020</c:v>
                      </c:pt>
                      <c:pt idx="149">
                        <c:v>1141</c:v>
                      </c:pt>
                      <c:pt idx="150">
                        <c:v>835</c:v>
                      </c:pt>
                      <c:pt idx="151">
                        <c:v>529</c:v>
                      </c:pt>
                      <c:pt idx="152">
                        <c:v>840</c:v>
                      </c:pt>
                      <c:pt idx="153">
                        <c:v>755</c:v>
                      </c:pt>
                      <c:pt idx="154">
                        <c:v>757</c:v>
                      </c:pt>
                      <c:pt idx="155">
                        <c:v>632</c:v>
                      </c:pt>
                      <c:pt idx="156">
                        <c:v>640</c:v>
                      </c:pt>
                      <c:pt idx="157">
                        <c:v>554</c:v>
                      </c:pt>
                      <c:pt idx="158">
                        <c:v>412</c:v>
                      </c:pt>
                      <c:pt idx="159">
                        <c:v>50</c:v>
                      </c:pt>
                      <c:pt idx="160">
                        <c:v>404</c:v>
                      </c:pt>
                      <c:pt idx="161">
                        <c:v>379</c:v>
                      </c:pt>
                      <c:pt idx="162">
                        <c:v>205</c:v>
                      </c:pt>
                      <c:pt idx="163">
                        <c:v>247</c:v>
                      </c:pt>
                      <c:pt idx="164">
                        <c:v>1087</c:v>
                      </c:pt>
                      <c:pt idx="165">
                        <c:v>653</c:v>
                      </c:pt>
                      <c:pt idx="166">
                        <c:v>831</c:v>
                      </c:pt>
                      <c:pt idx="167">
                        <c:v>0</c:v>
                      </c:pt>
                      <c:pt idx="168">
                        <c:v>1040</c:v>
                      </c:pt>
                      <c:pt idx="169">
                        <c:v>460</c:v>
                      </c:pt>
                      <c:pt idx="170">
                        <c:v>491</c:v>
                      </c:pt>
                      <c:pt idx="171">
                        <c:v>532</c:v>
                      </c:pt>
                      <c:pt idx="172">
                        <c:v>473</c:v>
                      </c:pt>
                      <c:pt idx="173">
                        <c:v>459</c:v>
                      </c:pt>
                      <c:pt idx="174">
                        <c:v>231</c:v>
                      </c:pt>
                      <c:pt idx="175">
                        <c:v>369</c:v>
                      </c:pt>
                      <c:pt idx="176">
                        <c:v>518</c:v>
                      </c:pt>
                      <c:pt idx="177">
                        <c:v>647</c:v>
                      </c:pt>
                      <c:pt idx="178">
                        <c:v>708</c:v>
                      </c:pt>
                      <c:pt idx="179">
                        <c:v>0</c:v>
                      </c:pt>
                      <c:pt idx="180">
                        <c:v>989</c:v>
                      </c:pt>
                      <c:pt idx="181">
                        <c:v>561</c:v>
                      </c:pt>
                      <c:pt idx="182">
                        <c:v>802</c:v>
                      </c:pt>
                      <c:pt idx="183">
                        <c:v>698</c:v>
                      </c:pt>
                      <c:pt idx="184">
                        <c:v>671</c:v>
                      </c:pt>
                      <c:pt idx="185">
                        <c:v>519</c:v>
                      </c:pt>
                      <c:pt idx="186">
                        <c:v>841</c:v>
                      </c:pt>
                      <c:pt idx="187">
                        <c:v>391</c:v>
                      </c:pt>
                      <c:pt idx="188">
                        <c:v>642</c:v>
                      </c:pt>
                      <c:pt idx="189">
                        <c:v>354</c:v>
                      </c:pt>
                      <c:pt idx="190">
                        <c:v>656</c:v>
                      </c:pt>
                      <c:pt idx="191">
                        <c:v>880</c:v>
                      </c:pt>
                      <c:pt idx="192">
                        <c:v>594</c:v>
                      </c:pt>
                      <c:pt idx="193">
                        <c:v>935</c:v>
                      </c:pt>
                      <c:pt idx="194">
                        <c:v>332</c:v>
                      </c:pt>
                      <c:pt idx="195">
                        <c:v>439</c:v>
                      </c:pt>
                      <c:pt idx="196">
                        <c:v>606</c:v>
                      </c:pt>
                      <c:pt idx="197">
                        <c:v>631</c:v>
                      </c:pt>
                      <c:pt idx="198">
                        <c:v>602</c:v>
                      </c:pt>
                      <c:pt idx="199">
                        <c:v>903</c:v>
                      </c:pt>
                      <c:pt idx="200">
                        <c:v>831</c:v>
                      </c:pt>
                      <c:pt idx="201">
                        <c:v>956</c:v>
                      </c:pt>
                      <c:pt idx="202">
                        <c:v>851</c:v>
                      </c:pt>
                      <c:pt idx="203">
                        <c:v>846</c:v>
                      </c:pt>
                      <c:pt idx="204">
                        <c:v>431</c:v>
                      </c:pt>
                      <c:pt idx="205">
                        <c:v>0</c:v>
                      </c:pt>
                      <c:pt idx="206">
                        <c:v>1215</c:v>
                      </c:pt>
                      <c:pt idx="207">
                        <c:v>490</c:v>
                      </c:pt>
                      <c:pt idx="208">
                        <c:v>752</c:v>
                      </c:pt>
                      <c:pt idx="209">
                        <c:v>657</c:v>
                      </c:pt>
                      <c:pt idx="210">
                        <c:v>576</c:v>
                      </c:pt>
                      <c:pt idx="211">
                        <c:v>951</c:v>
                      </c:pt>
                      <c:pt idx="212">
                        <c:v>738</c:v>
                      </c:pt>
                      <c:pt idx="213">
                        <c:v>0</c:v>
                      </c:pt>
                      <c:pt idx="214">
                        <c:v>1324</c:v>
                      </c:pt>
                      <c:pt idx="215">
                        <c:v>193</c:v>
                      </c:pt>
                      <c:pt idx="216">
                        <c:v>283</c:v>
                      </c:pt>
                      <c:pt idx="217">
                        <c:v>436</c:v>
                      </c:pt>
                      <c:pt idx="218">
                        <c:v>223</c:v>
                      </c:pt>
                      <c:pt idx="219">
                        <c:v>229</c:v>
                      </c:pt>
                      <c:pt idx="220">
                        <c:v>465</c:v>
                      </c:pt>
                      <c:pt idx="221">
                        <c:v>0</c:v>
                      </c:pt>
                      <c:pt idx="222">
                        <c:v>532</c:v>
                      </c:pt>
                      <c:pt idx="223">
                        <c:v>231</c:v>
                      </c:pt>
                      <c:pt idx="224">
                        <c:v>365</c:v>
                      </c:pt>
                      <c:pt idx="225">
                        <c:v>299</c:v>
                      </c:pt>
                      <c:pt idx="226">
                        <c:v>611</c:v>
                      </c:pt>
                      <c:pt idx="227">
                        <c:v>476</c:v>
                      </c:pt>
                      <c:pt idx="228">
                        <c:v>547</c:v>
                      </c:pt>
                      <c:pt idx="229">
                        <c:v>137</c:v>
                      </c:pt>
                      <c:pt idx="230">
                        <c:v>249</c:v>
                      </c:pt>
                      <c:pt idx="231">
                        <c:v>0</c:v>
                      </c:pt>
                      <c:pt idx="232">
                        <c:v>0</c:v>
                      </c:pt>
                      <c:pt idx="233">
                        <c:v>63</c:v>
                      </c:pt>
                      <c:pt idx="234">
                        <c:v>884</c:v>
                      </c:pt>
                      <c:pt idx="235">
                        <c:v>0</c:v>
                      </c:pt>
                      <c:pt idx="236">
                        <c:v>776</c:v>
                      </c:pt>
                      <c:pt idx="237">
                        <c:v>0</c:v>
                      </c:pt>
                      <c:pt idx="238">
                        <c:v>905</c:v>
                      </c:pt>
                      <c:pt idx="239">
                        <c:v>565</c:v>
                      </c:pt>
                      <c:pt idx="240">
                        <c:v>453</c:v>
                      </c:pt>
                      <c:pt idx="241">
                        <c:v>379</c:v>
                      </c:pt>
                      <c:pt idx="242">
                        <c:v>375</c:v>
                      </c:pt>
                      <c:pt idx="243">
                        <c:v>365</c:v>
                      </c:pt>
                      <c:pt idx="244">
                        <c:v>0</c:v>
                      </c:pt>
                      <c:pt idx="245">
                        <c:v>891</c:v>
                      </c:pt>
                      <c:pt idx="246">
                        <c:v>616</c:v>
                      </c:pt>
                      <c:pt idx="247">
                        <c:v>0</c:v>
                      </c:pt>
                      <c:pt idx="248">
                        <c:v>200</c:v>
                      </c:pt>
                      <c:pt idx="249">
                        <c:v>1063</c:v>
                      </c:pt>
                      <c:pt idx="250">
                        <c:v>0</c:v>
                      </c:pt>
                      <c:pt idx="251">
                        <c:v>684</c:v>
                      </c:pt>
                      <c:pt idx="252">
                        <c:v>1085</c:v>
                      </c:pt>
                      <c:pt idx="253">
                        <c:v>415</c:v>
                      </c:pt>
                      <c:pt idx="254">
                        <c:v>501</c:v>
                      </c:pt>
                      <c:pt idx="255">
                        <c:v>335</c:v>
                      </c:pt>
                      <c:pt idx="256">
                        <c:v>316</c:v>
                      </c:pt>
                      <c:pt idx="257">
                        <c:v>283</c:v>
                      </c:pt>
                      <c:pt idx="258">
                        <c:v>301</c:v>
                      </c:pt>
                      <c:pt idx="259">
                        <c:v>374</c:v>
                      </c:pt>
                      <c:pt idx="260">
                        <c:v>157</c:v>
                      </c:pt>
                      <c:pt idx="261">
                        <c:v>738</c:v>
                      </c:pt>
                      <c:pt idx="262">
                        <c:v>0</c:v>
                      </c:pt>
                      <c:pt idx="263">
                        <c:v>810</c:v>
                      </c:pt>
                      <c:pt idx="264">
                        <c:v>168</c:v>
                      </c:pt>
                      <c:pt idx="265">
                        <c:v>398</c:v>
                      </c:pt>
                      <c:pt idx="266">
                        <c:v>448</c:v>
                      </c:pt>
                      <c:pt idx="267">
                        <c:v>0</c:v>
                      </c:pt>
                      <c:pt idx="268">
                        <c:v>623</c:v>
                      </c:pt>
                      <c:pt idx="269">
                        <c:v>438</c:v>
                      </c:pt>
                      <c:pt idx="270">
                        <c:v>0</c:v>
                      </c:pt>
                      <c:pt idx="271">
                        <c:v>616</c:v>
                      </c:pt>
                      <c:pt idx="272">
                        <c:v>1199</c:v>
                      </c:pt>
                      <c:pt idx="273">
                        <c:v>0</c:v>
                      </c:pt>
                      <c:pt idx="274">
                        <c:v>915</c:v>
                      </c:pt>
                      <c:pt idx="275">
                        <c:v>1147</c:v>
                      </c:pt>
                      <c:pt idx="276">
                        <c:v>170</c:v>
                      </c:pt>
                      <c:pt idx="277">
                        <c:v>225</c:v>
                      </c:pt>
                    </c:numCache>
                  </c:numRef>
                </c:val>
                <c:extLst xmlns:c15="http://schemas.microsoft.com/office/drawing/2012/chart">
                  <c:ext xmlns:c16="http://schemas.microsoft.com/office/drawing/2014/chart" uri="{C3380CC4-5D6E-409C-BE32-E72D297353CC}">
                    <c16:uniqueId val="{00000003-ABFF-4F69-A778-B65D06386B92}"/>
                  </c:ext>
                </c:extLst>
              </c15:ser>
            </c15:filteredBarSeries>
            <c15:filteredBarSeries>
              <c15:ser>
                <c:idx val="2"/>
                <c:order val="3"/>
                <c:tx>
                  <c:strRef>
                    <c:extLst xmlns:c15="http://schemas.microsoft.com/office/drawing/2012/chart">
                      <c:ext xmlns:c15="http://schemas.microsoft.com/office/drawing/2012/chart" uri="{02D57815-91ED-43cb-92C2-25804820EDAC}">
                        <c15:formulaRef>
                          <c15:sqref>Detalle!#REF!</c15:sqref>
                        </c15:formulaRef>
                      </c:ext>
                    </c:extLst>
                    <c:strCache>
                      <c:ptCount val="1"/>
                      <c:pt idx="0">
                        <c:v>#REF!</c:v>
                      </c:pt>
                    </c:strCache>
                  </c:strRef>
                </c:tx>
                <c:spPr>
                  <a:solidFill>
                    <a:schemeClr val="accent3"/>
                  </a:solidFill>
                  <a:ln>
                    <a:noFill/>
                  </a:ln>
                  <a:effectLst/>
                </c:spPr>
                <c:invertIfNegative val="0"/>
                <c:cat>
                  <c:numRef>
                    <c:extLst xmlns:c15="http://schemas.microsoft.com/office/drawing/2012/chart">
                      <c:ext xmlns:c15="http://schemas.microsoft.com/office/drawing/2012/chart" uri="{02D57815-91ED-43cb-92C2-25804820EDAC}">
                        <c15:formulaRef>
                          <c15:sqref>World!$A$94:$A$598</c15:sqref>
                        </c15:formulaRef>
                      </c:ext>
                    </c:extLst>
                    <c:numCache>
                      <c:formatCode>dd/mm/yy;@</c:formatCode>
                      <c:ptCount val="505"/>
                      <c:pt idx="0">
                        <c:v>43922</c:v>
                      </c:pt>
                      <c:pt idx="1">
                        <c:v>43923</c:v>
                      </c:pt>
                      <c:pt idx="2">
                        <c:v>43924</c:v>
                      </c:pt>
                      <c:pt idx="3">
                        <c:v>43925</c:v>
                      </c:pt>
                      <c:pt idx="4">
                        <c:v>43926</c:v>
                      </c:pt>
                      <c:pt idx="5">
                        <c:v>43927</c:v>
                      </c:pt>
                      <c:pt idx="6">
                        <c:v>43928</c:v>
                      </c:pt>
                      <c:pt idx="7">
                        <c:v>43929</c:v>
                      </c:pt>
                      <c:pt idx="8">
                        <c:v>43930</c:v>
                      </c:pt>
                      <c:pt idx="9">
                        <c:v>43931</c:v>
                      </c:pt>
                      <c:pt idx="10">
                        <c:v>43932</c:v>
                      </c:pt>
                      <c:pt idx="11">
                        <c:v>43933</c:v>
                      </c:pt>
                      <c:pt idx="12">
                        <c:v>43934</c:v>
                      </c:pt>
                      <c:pt idx="13">
                        <c:v>43935</c:v>
                      </c:pt>
                      <c:pt idx="14">
                        <c:v>43936</c:v>
                      </c:pt>
                      <c:pt idx="15">
                        <c:v>43937</c:v>
                      </c:pt>
                      <c:pt idx="16">
                        <c:v>43938</c:v>
                      </c:pt>
                      <c:pt idx="17">
                        <c:v>43939</c:v>
                      </c:pt>
                      <c:pt idx="18">
                        <c:v>43940</c:v>
                      </c:pt>
                      <c:pt idx="19">
                        <c:v>43941</c:v>
                      </c:pt>
                      <c:pt idx="20">
                        <c:v>43942</c:v>
                      </c:pt>
                      <c:pt idx="21">
                        <c:v>43943</c:v>
                      </c:pt>
                      <c:pt idx="22">
                        <c:v>43944</c:v>
                      </c:pt>
                      <c:pt idx="23">
                        <c:v>43945</c:v>
                      </c:pt>
                      <c:pt idx="24">
                        <c:v>43946</c:v>
                      </c:pt>
                      <c:pt idx="25">
                        <c:v>43947</c:v>
                      </c:pt>
                      <c:pt idx="26">
                        <c:v>43948</c:v>
                      </c:pt>
                      <c:pt idx="27">
                        <c:v>43949</c:v>
                      </c:pt>
                      <c:pt idx="28">
                        <c:v>43950</c:v>
                      </c:pt>
                      <c:pt idx="29">
                        <c:v>43951</c:v>
                      </c:pt>
                      <c:pt idx="30">
                        <c:v>43952</c:v>
                      </c:pt>
                      <c:pt idx="31">
                        <c:v>43953</c:v>
                      </c:pt>
                      <c:pt idx="32">
                        <c:v>43954</c:v>
                      </c:pt>
                      <c:pt idx="33">
                        <c:v>43955</c:v>
                      </c:pt>
                      <c:pt idx="34">
                        <c:v>43956</c:v>
                      </c:pt>
                      <c:pt idx="35">
                        <c:v>43957</c:v>
                      </c:pt>
                      <c:pt idx="36">
                        <c:v>43958</c:v>
                      </c:pt>
                      <c:pt idx="37">
                        <c:v>43959</c:v>
                      </c:pt>
                      <c:pt idx="38">
                        <c:v>43960</c:v>
                      </c:pt>
                      <c:pt idx="39">
                        <c:v>43961</c:v>
                      </c:pt>
                      <c:pt idx="40">
                        <c:v>43962</c:v>
                      </c:pt>
                      <c:pt idx="41">
                        <c:v>43963</c:v>
                      </c:pt>
                      <c:pt idx="42">
                        <c:v>43964</c:v>
                      </c:pt>
                      <c:pt idx="43">
                        <c:v>43965</c:v>
                      </c:pt>
                      <c:pt idx="44">
                        <c:v>43966</c:v>
                      </c:pt>
                      <c:pt idx="45">
                        <c:v>43967</c:v>
                      </c:pt>
                      <c:pt idx="46">
                        <c:v>43968</c:v>
                      </c:pt>
                      <c:pt idx="47">
                        <c:v>43969</c:v>
                      </c:pt>
                      <c:pt idx="48">
                        <c:v>43970</c:v>
                      </c:pt>
                      <c:pt idx="49">
                        <c:v>43971</c:v>
                      </c:pt>
                      <c:pt idx="50">
                        <c:v>43972</c:v>
                      </c:pt>
                      <c:pt idx="51">
                        <c:v>43973</c:v>
                      </c:pt>
                      <c:pt idx="52">
                        <c:v>43974</c:v>
                      </c:pt>
                      <c:pt idx="53">
                        <c:v>43975</c:v>
                      </c:pt>
                      <c:pt idx="54">
                        <c:v>43976</c:v>
                      </c:pt>
                      <c:pt idx="55">
                        <c:v>43977</c:v>
                      </c:pt>
                      <c:pt idx="56">
                        <c:v>43978</c:v>
                      </c:pt>
                      <c:pt idx="57">
                        <c:v>43979</c:v>
                      </c:pt>
                      <c:pt idx="58">
                        <c:v>43980</c:v>
                      </c:pt>
                      <c:pt idx="59">
                        <c:v>43981</c:v>
                      </c:pt>
                      <c:pt idx="60">
                        <c:v>43982</c:v>
                      </c:pt>
                      <c:pt idx="61">
                        <c:v>43983</c:v>
                      </c:pt>
                      <c:pt idx="62">
                        <c:v>43984</c:v>
                      </c:pt>
                      <c:pt idx="63">
                        <c:v>43985</c:v>
                      </c:pt>
                      <c:pt idx="64">
                        <c:v>43986</c:v>
                      </c:pt>
                      <c:pt idx="65">
                        <c:v>43987</c:v>
                      </c:pt>
                      <c:pt idx="66">
                        <c:v>43988</c:v>
                      </c:pt>
                      <c:pt idx="67">
                        <c:v>43989</c:v>
                      </c:pt>
                      <c:pt idx="68">
                        <c:v>43990</c:v>
                      </c:pt>
                      <c:pt idx="69">
                        <c:v>43991</c:v>
                      </c:pt>
                      <c:pt idx="70">
                        <c:v>43992</c:v>
                      </c:pt>
                      <c:pt idx="71">
                        <c:v>43993</c:v>
                      </c:pt>
                      <c:pt idx="72">
                        <c:v>43994</c:v>
                      </c:pt>
                      <c:pt idx="73">
                        <c:v>43995</c:v>
                      </c:pt>
                      <c:pt idx="74">
                        <c:v>43996</c:v>
                      </c:pt>
                      <c:pt idx="75">
                        <c:v>43997</c:v>
                      </c:pt>
                      <c:pt idx="76">
                        <c:v>43998</c:v>
                      </c:pt>
                      <c:pt idx="77">
                        <c:v>43999</c:v>
                      </c:pt>
                      <c:pt idx="78">
                        <c:v>44000</c:v>
                      </c:pt>
                      <c:pt idx="79">
                        <c:v>44001</c:v>
                      </c:pt>
                      <c:pt idx="80">
                        <c:v>44002</c:v>
                      </c:pt>
                      <c:pt idx="81">
                        <c:v>44003</c:v>
                      </c:pt>
                      <c:pt idx="82">
                        <c:v>44004</c:v>
                      </c:pt>
                      <c:pt idx="83">
                        <c:v>44005</c:v>
                      </c:pt>
                      <c:pt idx="84">
                        <c:v>44006</c:v>
                      </c:pt>
                      <c:pt idx="85">
                        <c:v>44007</c:v>
                      </c:pt>
                      <c:pt idx="86">
                        <c:v>44008</c:v>
                      </c:pt>
                      <c:pt idx="87">
                        <c:v>44009</c:v>
                      </c:pt>
                      <c:pt idx="88">
                        <c:v>44010</c:v>
                      </c:pt>
                      <c:pt idx="89">
                        <c:v>44011</c:v>
                      </c:pt>
                      <c:pt idx="90">
                        <c:v>44012</c:v>
                      </c:pt>
                      <c:pt idx="91">
                        <c:v>44013</c:v>
                      </c:pt>
                      <c:pt idx="92">
                        <c:v>44014</c:v>
                      </c:pt>
                      <c:pt idx="93">
                        <c:v>44015</c:v>
                      </c:pt>
                      <c:pt idx="94">
                        <c:v>44016</c:v>
                      </c:pt>
                      <c:pt idx="95">
                        <c:v>44017</c:v>
                      </c:pt>
                      <c:pt idx="96">
                        <c:v>44018</c:v>
                      </c:pt>
                      <c:pt idx="97">
                        <c:v>44019</c:v>
                      </c:pt>
                      <c:pt idx="98">
                        <c:v>44020</c:v>
                      </c:pt>
                      <c:pt idx="99">
                        <c:v>44021</c:v>
                      </c:pt>
                      <c:pt idx="100">
                        <c:v>44022</c:v>
                      </c:pt>
                      <c:pt idx="101">
                        <c:v>44023</c:v>
                      </c:pt>
                      <c:pt idx="102">
                        <c:v>44024</c:v>
                      </c:pt>
                      <c:pt idx="103">
                        <c:v>44025</c:v>
                      </c:pt>
                      <c:pt idx="104">
                        <c:v>44026</c:v>
                      </c:pt>
                      <c:pt idx="105">
                        <c:v>44027</c:v>
                      </c:pt>
                      <c:pt idx="106">
                        <c:v>44028</c:v>
                      </c:pt>
                      <c:pt idx="107">
                        <c:v>44029</c:v>
                      </c:pt>
                      <c:pt idx="108">
                        <c:v>44030</c:v>
                      </c:pt>
                      <c:pt idx="109">
                        <c:v>44031</c:v>
                      </c:pt>
                      <c:pt idx="110">
                        <c:v>44032</c:v>
                      </c:pt>
                      <c:pt idx="111">
                        <c:v>44033</c:v>
                      </c:pt>
                      <c:pt idx="112">
                        <c:v>44034</c:v>
                      </c:pt>
                      <c:pt idx="113">
                        <c:v>44035</c:v>
                      </c:pt>
                      <c:pt idx="114">
                        <c:v>44036</c:v>
                      </c:pt>
                      <c:pt idx="115">
                        <c:v>44037</c:v>
                      </c:pt>
                      <c:pt idx="116">
                        <c:v>44038</c:v>
                      </c:pt>
                      <c:pt idx="117">
                        <c:v>44039</c:v>
                      </c:pt>
                      <c:pt idx="118">
                        <c:v>44040</c:v>
                      </c:pt>
                      <c:pt idx="119">
                        <c:v>44041</c:v>
                      </c:pt>
                      <c:pt idx="120">
                        <c:v>44042</c:v>
                      </c:pt>
                      <c:pt idx="121">
                        <c:v>44043</c:v>
                      </c:pt>
                      <c:pt idx="122">
                        <c:v>44044</c:v>
                      </c:pt>
                      <c:pt idx="123">
                        <c:v>44045</c:v>
                      </c:pt>
                      <c:pt idx="124">
                        <c:v>44046</c:v>
                      </c:pt>
                      <c:pt idx="125">
                        <c:v>44047</c:v>
                      </c:pt>
                      <c:pt idx="126">
                        <c:v>44048</c:v>
                      </c:pt>
                      <c:pt idx="127">
                        <c:v>44049</c:v>
                      </c:pt>
                      <c:pt idx="128">
                        <c:v>44050</c:v>
                      </c:pt>
                      <c:pt idx="129">
                        <c:v>44051</c:v>
                      </c:pt>
                      <c:pt idx="130">
                        <c:v>44052</c:v>
                      </c:pt>
                      <c:pt idx="131">
                        <c:v>44053</c:v>
                      </c:pt>
                      <c:pt idx="132">
                        <c:v>44054</c:v>
                      </c:pt>
                      <c:pt idx="133">
                        <c:v>44055</c:v>
                      </c:pt>
                      <c:pt idx="134">
                        <c:v>44056</c:v>
                      </c:pt>
                      <c:pt idx="135">
                        <c:v>44057</c:v>
                      </c:pt>
                      <c:pt idx="136">
                        <c:v>44058</c:v>
                      </c:pt>
                      <c:pt idx="137">
                        <c:v>44059</c:v>
                      </c:pt>
                      <c:pt idx="138">
                        <c:v>44060</c:v>
                      </c:pt>
                      <c:pt idx="139">
                        <c:v>44061</c:v>
                      </c:pt>
                      <c:pt idx="140">
                        <c:v>44062</c:v>
                      </c:pt>
                      <c:pt idx="141">
                        <c:v>44063</c:v>
                      </c:pt>
                      <c:pt idx="142">
                        <c:v>44064</c:v>
                      </c:pt>
                      <c:pt idx="143">
                        <c:v>44065</c:v>
                      </c:pt>
                      <c:pt idx="144">
                        <c:v>44066</c:v>
                      </c:pt>
                      <c:pt idx="145">
                        <c:v>44067</c:v>
                      </c:pt>
                      <c:pt idx="146">
                        <c:v>44068</c:v>
                      </c:pt>
                      <c:pt idx="147">
                        <c:v>44069</c:v>
                      </c:pt>
                      <c:pt idx="148">
                        <c:v>44070</c:v>
                      </c:pt>
                      <c:pt idx="149">
                        <c:v>44071</c:v>
                      </c:pt>
                      <c:pt idx="150">
                        <c:v>44072</c:v>
                      </c:pt>
                      <c:pt idx="151">
                        <c:v>44073</c:v>
                      </c:pt>
                      <c:pt idx="152">
                        <c:v>44074</c:v>
                      </c:pt>
                      <c:pt idx="153">
                        <c:v>44075</c:v>
                      </c:pt>
                      <c:pt idx="154">
                        <c:v>44076</c:v>
                      </c:pt>
                      <c:pt idx="155">
                        <c:v>44077</c:v>
                      </c:pt>
                      <c:pt idx="156">
                        <c:v>44078</c:v>
                      </c:pt>
                      <c:pt idx="157">
                        <c:v>44079</c:v>
                      </c:pt>
                      <c:pt idx="158">
                        <c:v>44080</c:v>
                      </c:pt>
                      <c:pt idx="159">
                        <c:v>44081</c:v>
                      </c:pt>
                      <c:pt idx="160">
                        <c:v>44082</c:v>
                      </c:pt>
                      <c:pt idx="161">
                        <c:v>44083</c:v>
                      </c:pt>
                      <c:pt idx="162">
                        <c:v>44084</c:v>
                      </c:pt>
                      <c:pt idx="163">
                        <c:v>44085</c:v>
                      </c:pt>
                      <c:pt idx="164">
                        <c:v>44086</c:v>
                      </c:pt>
                      <c:pt idx="165">
                        <c:v>44087</c:v>
                      </c:pt>
                      <c:pt idx="166">
                        <c:v>44088</c:v>
                      </c:pt>
                      <c:pt idx="167">
                        <c:v>44089</c:v>
                      </c:pt>
                      <c:pt idx="168">
                        <c:v>44090</c:v>
                      </c:pt>
                      <c:pt idx="169">
                        <c:v>44091</c:v>
                      </c:pt>
                      <c:pt idx="170">
                        <c:v>44092</c:v>
                      </c:pt>
                      <c:pt idx="171">
                        <c:v>44093</c:v>
                      </c:pt>
                      <c:pt idx="172">
                        <c:v>44094</c:v>
                      </c:pt>
                      <c:pt idx="173">
                        <c:v>44095</c:v>
                      </c:pt>
                      <c:pt idx="174">
                        <c:v>44096</c:v>
                      </c:pt>
                      <c:pt idx="175">
                        <c:v>44097</c:v>
                      </c:pt>
                      <c:pt idx="176">
                        <c:v>44098</c:v>
                      </c:pt>
                      <c:pt idx="177">
                        <c:v>44099</c:v>
                      </c:pt>
                      <c:pt idx="178">
                        <c:v>44100</c:v>
                      </c:pt>
                      <c:pt idx="179">
                        <c:v>44101</c:v>
                      </c:pt>
                      <c:pt idx="180">
                        <c:v>44102</c:v>
                      </c:pt>
                      <c:pt idx="181">
                        <c:v>44103</c:v>
                      </c:pt>
                      <c:pt idx="182">
                        <c:v>44104</c:v>
                      </c:pt>
                      <c:pt idx="183">
                        <c:v>44105</c:v>
                      </c:pt>
                      <c:pt idx="184">
                        <c:v>44106</c:v>
                      </c:pt>
                      <c:pt idx="185">
                        <c:v>44107</c:v>
                      </c:pt>
                      <c:pt idx="186">
                        <c:v>44108</c:v>
                      </c:pt>
                      <c:pt idx="187">
                        <c:v>44109</c:v>
                      </c:pt>
                      <c:pt idx="188">
                        <c:v>44110</c:v>
                      </c:pt>
                      <c:pt idx="189">
                        <c:v>44111</c:v>
                      </c:pt>
                      <c:pt idx="190">
                        <c:v>44112</c:v>
                      </c:pt>
                      <c:pt idx="191">
                        <c:v>44113</c:v>
                      </c:pt>
                      <c:pt idx="192">
                        <c:v>44114</c:v>
                      </c:pt>
                      <c:pt idx="193">
                        <c:v>44115</c:v>
                      </c:pt>
                      <c:pt idx="194">
                        <c:v>44116</c:v>
                      </c:pt>
                      <c:pt idx="195">
                        <c:v>44117</c:v>
                      </c:pt>
                      <c:pt idx="196">
                        <c:v>44118</c:v>
                      </c:pt>
                      <c:pt idx="197">
                        <c:v>44119</c:v>
                      </c:pt>
                      <c:pt idx="198">
                        <c:v>44120</c:v>
                      </c:pt>
                      <c:pt idx="199">
                        <c:v>44121</c:v>
                      </c:pt>
                      <c:pt idx="200">
                        <c:v>44122</c:v>
                      </c:pt>
                      <c:pt idx="201">
                        <c:v>44123</c:v>
                      </c:pt>
                      <c:pt idx="202">
                        <c:v>44124</c:v>
                      </c:pt>
                      <c:pt idx="203">
                        <c:v>44125</c:v>
                      </c:pt>
                      <c:pt idx="204">
                        <c:v>44126</c:v>
                      </c:pt>
                      <c:pt idx="205">
                        <c:v>44127</c:v>
                      </c:pt>
                      <c:pt idx="206">
                        <c:v>44128</c:v>
                      </c:pt>
                      <c:pt idx="207">
                        <c:v>44129</c:v>
                      </c:pt>
                      <c:pt idx="208">
                        <c:v>44130</c:v>
                      </c:pt>
                      <c:pt idx="209">
                        <c:v>44131</c:v>
                      </c:pt>
                      <c:pt idx="210">
                        <c:v>44132</c:v>
                      </c:pt>
                      <c:pt idx="211">
                        <c:v>44133</c:v>
                      </c:pt>
                      <c:pt idx="212">
                        <c:v>44134</c:v>
                      </c:pt>
                      <c:pt idx="213">
                        <c:v>44135</c:v>
                      </c:pt>
                      <c:pt idx="214">
                        <c:v>44136</c:v>
                      </c:pt>
                      <c:pt idx="215">
                        <c:v>44137</c:v>
                      </c:pt>
                      <c:pt idx="216">
                        <c:v>44138</c:v>
                      </c:pt>
                      <c:pt idx="217">
                        <c:v>44139</c:v>
                      </c:pt>
                      <c:pt idx="218">
                        <c:v>44140</c:v>
                      </c:pt>
                      <c:pt idx="219">
                        <c:v>44141</c:v>
                      </c:pt>
                      <c:pt idx="220">
                        <c:v>44142</c:v>
                      </c:pt>
                      <c:pt idx="221">
                        <c:v>44143</c:v>
                      </c:pt>
                      <c:pt idx="222">
                        <c:v>44144</c:v>
                      </c:pt>
                      <c:pt idx="223">
                        <c:v>44145</c:v>
                      </c:pt>
                      <c:pt idx="224">
                        <c:v>44146</c:v>
                      </c:pt>
                      <c:pt idx="225">
                        <c:v>44147</c:v>
                      </c:pt>
                      <c:pt idx="226">
                        <c:v>44148</c:v>
                      </c:pt>
                      <c:pt idx="227">
                        <c:v>44149</c:v>
                      </c:pt>
                      <c:pt idx="228">
                        <c:v>44150</c:v>
                      </c:pt>
                      <c:pt idx="229">
                        <c:v>44151</c:v>
                      </c:pt>
                      <c:pt idx="230">
                        <c:v>44152</c:v>
                      </c:pt>
                      <c:pt idx="231">
                        <c:v>44153</c:v>
                      </c:pt>
                      <c:pt idx="232">
                        <c:v>44154</c:v>
                      </c:pt>
                      <c:pt idx="233">
                        <c:v>44155</c:v>
                      </c:pt>
                      <c:pt idx="234">
                        <c:v>44156</c:v>
                      </c:pt>
                      <c:pt idx="235">
                        <c:v>44157</c:v>
                      </c:pt>
                      <c:pt idx="236">
                        <c:v>44158</c:v>
                      </c:pt>
                      <c:pt idx="237">
                        <c:v>44159</c:v>
                      </c:pt>
                      <c:pt idx="238">
                        <c:v>44160</c:v>
                      </c:pt>
                      <c:pt idx="239">
                        <c:v>44161</c:v>
                      </c:pt>
                      <c:pt idx="240">
                        <c:v>44162</c:v>
                      </c:pt>
                      <c:pt idx="241">
                        <c:v>44163</c:v>
                      </c:pt>
                      <c:pt idx="242">
                        <c:v>44164</c:v>
                      </c:pt>
                      <c:pt idx="243">
                        <c:v>44165</c:v>
                      </c:pt>
                      <c:pt idx="244">
                        <c:v>44166</c:v>
                      </c:pt>
                      <c:pt idx="245">
                        <c:v>44167</c:v>
                      </c:pt>
                      <c:pt idx="246">
                        <c:v>44168</c:v>
                      </c:pt>
                      <c:pt idx="247">
                        <c:v>44169</c:v>
                      </c:pt>
                      <c:pt idx="248">
                        <c:v>44170</c:v>
                      </c:pt>
                      <c:pt idx="249">
                        <c:v>44171</c:v>
                      </c:pt>
                      <c:pt idx="250">
                        <c:v>44172</c:v>
                      </c:pt>
                      <c:pt idx="251">
                        <c:v>44173</c:v>
                      </c:pt>
                      <c:pt idx="252">
                        <c:v>44174</c:v>
                      </c:pt>
                      <c:pt idx="253">
                        <c:v>44175</c:v>
                      </c:pt>
                      <c:pt idx="254">
                        <c:v>44176</c:v>
                      </c:pt>
                      <c:pt idx="255">
                        <c:v>44177</c:v>
                      </c:pt>
                      <c:pt idx="256">
                        <c:v>44178</c:v>
                      </c:pt>
                      <c:pt idx="257">
                        <c:v>44179</c:v>
                      </c:pt>
                      <c:pt idx="258">
                        <c:v>44180</c:v>
                      </c:pt>
                      <c:pt idx="259">
                        <c:v>44181</c:v>
                      </c:pt>
                      <c:pt idx="260">
                        <c:v>44182</c:v>
                      </c:pt>
                      <c:pt idx="261">
                        <c:v>44183</c:v>
                      </c:pt>
                      <c:pt idx="262">
                        <c:v>44184</c:v>
                      </c:pt>
                      <c:pt idx="263">
                        <c:v>44185</c:v>
                      </c:pt>
                      <c:pt idx="264">
                        <c:v>44186</c:v>
                      </c:pt>
                      <c:pt idx="265">
                        <c:v>44187</c:v>
                      </c:pt>
                      <c:pt idx="266">
                        <c:v>44188</c:v>
                      </c:pt>
                      <c:pt idx="267">
                        <c:v>44189</c:v>
                      </c:pt>
                      <c:pt idx="268">
                        <c:v>44190</c:v>
                      </c:pt>
                      <c:pt idx="269">
                        <c:v>44191</c:v>
                      </c:pt>
                      <c:pt idx="270">
                        <c:v>44192</c:v>
                      </c:pt>
                      <c:pt idx="271">
                        <c:v>44193</c:v>
                      </c:pt>
                      <c:pt idx="272">
                        <c:v>44194</c:v>
                      </c:pt>
                      <c:pt idx="273">
                        <c:v>44195</c:v>
                      </c:pt>
                      <c:pt idx="274">
                        <c:v>44196</c:v>
                      </c:pt>
                      <c:pt idx="275">
                        <c:v>44197</c:v>
                      </c:pt>
                      <c:pt idx="276">
                        <c:v>44198</c:v>
                      </c:pt>
                      <c:pt idx="277">
                        <c:v>44199</c:v>
                      </c:pt>
                      <c:pt idx="278">
                        <c:v>44200</c:v>
                      </c:pt>
                      <c:pt idx="279">
                        <c:v>44201</c:v>
                      </c:pt>
                      <c:pt idx="280">
                        <c:v>44202</c:v>
                      </c:pt>
                      <c:pt idx="281">
                        <c:v>44203</c:v>
                      </c:pt>
                      <c:pt idx="282">
                        <c:v>44204</c:v>
                      </c:pt>
                      <c:pt idx="283">
                        <c:v>44205</c:v>
                      </c:pt>
                      <c:pt idx="284">
                        <c:v>44206</c:v>
                      </c:pt>
                      <c:pt idx="285">
                        <c:v>44207</c:v>
                      </c:pt>
                      <c:pt idx="286">
                        <c:v>44208</c:v>
                      </c:pt>
                      <c:pt idx="287">
                        <c:v>44209</c:v>
                      </c:pt>
                      <c:pt idx="288">
                        <c:v>44210</c:v>
                      </c:pt>
                      <c:pt idx="289">
                        <c:v>44211</c:v>
                      </c:pt>
                      <c:pt idx="290">
                        <c:v>44212</c:v>
                      </c:pt>
                      <c:pt idx="291">
                        <c:v>44213</c:v>
                      </c:pt>
                      <c:pt idx="292">
                        <c:v>44214</c:v>
                      </c:pt>
                      <c:pt idx="293">
                        <c:v>44215</c:v>
                      </c:pt>
                      <c:pt idx="294">
                        <c:v>44216</c:v>
                      </c:pt>
                      <c:pt idx="295">
                        <c:v>44217</c:v>
                      </c:pt>
                      <c:pt idx="296">
                        <c:v>44218</c:v>
                      </c:pt>
                      <c:pt idx="297">
                        <c:v>44219</c:v>
                      </c:pt>
                      <c:pt idx="298">
                        <c:v>44220</c:v>
                      </c:pt>
                      <c:pt idx="299">
                        <c:v>44221</c:v>
                      </c:pt>
                      <c:pt idx="300">
                        <c:v>44222</c:v>
                      </c:pt>
                      <c:pt idx="301">
                        <c:v>44223</c:v>
                      </c:pt>
                      <c:pt idx="302">
                        <c:v>44224</c:v>
                      </c:pt>
                      <c:pt idx="303">
                        <c:v>44225</c:v>
                      </c:pt>
                      <c:pt idx="304">
                        <c:v>44226</c:v>
                      </c:pt>
                      <c:pt idx="305">
                        <c:v>44227</c:v>
                      </c:pt>
                      <c:pt idx="306">
                        <c:v>44228</c:v>
                      </c:pt>
                      <c:pt idx="307">
                        <c:v>44229</c:v>
                      </c:pt>
                      <c:pt idx="308">
                        <c:v>44230</c:v>
                      </c:pt>
                      <c:pt idx="309">
                        <c:v>44231</c:v>
                      </c:pt>
                      <c:pt idx="310">
                        <c:v>44232</c:v>
                      </c:pt>
                      <c:pt idx="311">
                        <c:v>44233</c:v>
                      </c:pt>
                      <c:pt idx="312">
                        <c:v>44234</c:v>
                      </c:pt>
                      <c:pt idx="313">
                        <c:v>44235</c:v>
                      </c:pt>
                      <c:pt idx="314">
                        <c:v>44236</c:v>
                      </c:pt>
                      <c:pt idx="315">
                        <c:v>44237</c:v>
                      </c:pt>
                      <c:pt idx="316">
                        <c:v>44238</c:v>
                      </c:pt>
                      <c:pt idx="317">
                        <c:v>44239</c:v>
                      </c:pt>
                      <c:pt idx="318">
                        <c:v>44240</c:v>
                      </c:pt>
                      <c:pt idx="319">
                        <c:v>44241</c:v>
                      </c:pt>
                      <c:pt idx="320">
                        <c:v>44242</c:v>
                      </c:pt>
                      <c:pt idx="321">
                        <c:v>44243</c:v>
                      </c:pt>
                      <c:pt idx="322">
                        <c:v>44244</c:v>
                      </c:pt>
                      <c:pt idx="323">
                        <c:v>44245</c:v>
                      </c:pt>
                      <c:pt idx="324">
                        <c:v>44246</c:v>
                      </c:pt>
                      <c:pt idx="325">
                        <c:v>44247</c:v>
                      </c:pt>
                      <c:pt idx="326">
                        <c:v>44248</c:v>
                      </c:pt>
                      <c:pt idx="327">
                        <c:v>44249</c:v>
                      </c:pt>
                      <c:pt idx="328">
                        <c:v>44250</c:v>
                      </c:pt>
                      <c:pt idx="329">
                        <c:v>44251</c:v>
                      </c:pt>
                      <c:pt idx="330">
                        <c:v>44252</c:v>
                      </c:pt>
                      <c:pt idx="331">
                        <c:v>44253</c:v>
                      </c:pt>
                      <c:pt idx="332">
                        <c:v>44254</c:v>
                      </c:pt>
                      <c:pt idx="333">
                        <c:v>44255</c:v>
                      </c:pt>
                      <c:pt idx="334">
                        <c:v>44256</c:v>
                      </c:pt>
                      <c:pt idx="335">
                        <c:v>44257</c:v>
                      </c:pt>
                      <c:pt idx="336">
                        <c:v>44258</c:v>
                      </c:pt>
                      <c:pt idx="337">
                        <c:v>44259</c:v>
                      </c:pt>
                      <c:pt idx="338">
                        <c:v>44260</c:v>
                      </c:pt>
                      <c:pt idx="339">
                        <c:v>44261</c:v>
                      </c:pt>
                      <c:pt idx="340">
                        <c:v>44262</c:v>
                      </c:pt>
                      <c:pt idx="341">
                        <c:v>44263</c:v>
                      </c:pt>
                      <c:pt idx="342">
                        <c:v>44264</c:v>
                      </c:pt>
                      <c:pt idx="343">
                        <c:v>44265</c:v>
                      </c:pt>
                      <c:pt idx="344">
                        <c:v>44266</c:v>
                      </c:pt>
                      <c:pt idx="345">
                        <c:v>44267</c:v>
                      </c:pt>
                      <c:pt idx="346">
                        <c:v>44268</c:v>
                      </c:pt>
                      <c:pt idx="347">
                        <c:v>44269</c:v>
                      </c:pt>
                      <c:pt idx="348">
                        <c:v>44270</c:v>
                      </c:pt>
                      <c:pt idx="349">
                        <c:v>44271</c:v>
                      </c:pt>
                      <c:pt idx="350">
                        <c:v>44272</c:v>
                      </c:pt>
                      <c:pt idx="351">
                        <c:v>44273</c:v>
                      </c:pt>
                      <c:pt idx="352">
                        <c:v>44274</c:v>
                      </c:pt>
                      <c:pt idx="353">
                        <c:v>44275</c:v>
                      </c:pt>
                      <c:pt idx="354">
                        <c:v>44276</c:v>
                      </c:pt>
                      <c:pt idx="355">
                        <c:v>44277</c:v>
                      </c:pt>
                      <c:pt idx="356">
                        <c:v>44278</c:v>
                      </c:pt>
                      <c:pt idx="357">
                        <c:v>44279</c:v>
                      </c:pt>
                      <c:pt idx="358">
                        <c:v>44280</c:v>
                      </c:pt>
                      <c:pt idx="359">
                        <c:v>44281</c:v>
                      </c:pt>
                      <c:pt idx="360">
                        <c:v>44282</c:v>
                      </c:pt>
                      <c:pt idx="361">
                        <c:v>44283</c:v>
                      </c:pt>
                      <c:pt idx="362">
                        <c:v>44284</c:v>
                      </c:pt>
                      <c:pt idx="363">
                        <c:v>44285</c:v>
                      </c:pt>
                      <c:pt idx="364">
                        <c:v>44286</c:v>
                      </c:pt>
                      <c:pt idx="365">
                        <c:v>44287</c:v>
                      </c:pt>
                      <c:pt idx="366">
                        <c:v>44288</c:v>
                      </c:pt>
                      <c:pt idx="367">
                        <c:v>44289</c:v>
                      </c:pt>
                      <c:pt idx="368">
                        <c:v>44290</c:v>
                      </c:pt>
                      <c:pt idx="369">
                        <c:v>44291</c:v>
                      </c:pt>
                      <c:pt idx="370">
                        <c:v>44292</c:v>
                      </c:pt>
                      <c:pt idx="371">
                        <c:v>44293</c:v>
                      </c:pt>
                      <c:pt idx="372">
                        <c:v>44294</c:v>
                      </c:pt>
                      <c:pt idx="373">
                        <c:v>44295</c:v>
                      </c:pt>
                      <c:pt idx="374">
                        <c:v>44296</c:v>
                      </c:pt>
                      <c:pt idx="375">
                        <c:v>44297</c:v>
                      </c:pt>
                      <c:pt idx="376">
                        <c:v>44298</c:v>
                      </c:pt>
                      <c:pt idx="377">
                        <c:v>44299</c:v>
                      </c:pt>
                      <c:pt idx="378">
                        <c:v>44300</c:v>
                      </c:pt>
                      <c:pt idx="379">
                        <c:v>44301</c:v>
                      </c:pt>
                      <c:pt idx="380">
                        <c:v>44302</c:v>
                      </c:pt>
                      <c:pt idx="381">
                        <c:v>44303</c:v>
                      </c:pt>
                      <c:pt idx="382">
                        <c:v>44304</c:v>
                      </c:pt>
                      <c:pt idx="383">
                        <c:v>44305</c:v>
                      </c:pt>
                      <c:pt idx="384">
                        <c:v>44306</c:v>
                      </c:pt>
                      <c:pt idx="385">
                        <c:v>44307</c:v>
                      </c:pt>
                      <c:pt idx="386">
                        <c:v>44308</c:v>
                      </c:pt>
                      <c:pt idx="387">
                        <c:v>44309</c:v>
                      </c:pt>
                      <c:pt idx="388">
                        <c:v>44310</c:v>
                      </c:pt>
                      <c:pt idx="389">
                        <c:v>44311</c:v>
                      </c:pt>
                      <c:pt idx="390">
                        <c:v>44312</c:v>
                      </c:pt>
                      <c:pt idx="391">
                        <c:v>44313</c:v>
                      </c:pt>
                      <c:pt idx="392">
                        <c:v>44314</c:v>
                      </c:pt>
                      <c:pt idx="393">
                        <c:v>44315</c:v>
                      </c:pt>
                      <c:pt idx="394">
                        <c:v>44316</c:v>
                      </c:pt>
                      <c:pt idx="395">
                        <c:v>44317</c:v>
                      </c:pt>
                      <c:pt idx="396">
                        <c:v>44318</c:v>
                      </c:pt>
                      <c:pt idx="397">
                        <c:v>44319</c:v>
                      </c:pt>
                      <c:pt idx="398">
                        <c:v>44320</c:v>
                      </c:pt>
                      <c:pt idx="399">
                        <c:v>44321</c:v>
                      </c:pt>
                      <c:pt idx="400">
                        <c:v>44322</c:v>
                      </c:pt>
                      <c:pt idx="401">
                        <c:v>44323</c:v>
                      </c:pt>
                      <c:pt idx="402">
                        <c:v>44324</c:v>
                      </c:pt>
                      <c:pt idx="403">
                        <c:v>44325</c:v>
                      </c:pt>
                      <c:pt idx="404">
                        <c:v>44326</c:v>
                      </c:pt>
                      <c:pt idx="405">
                        <c:v>44327</c:v>
                      </c:pt>
                      <c:pt idx="406">
                        <c:v>44328</c:v>
                      </c:pt>
                      <c:pt idx="407">
                        <c:v>44329</c:v>
                      </c:pt>
                      <c:pt idx="408">
                        <c:v>44330</c:v>
                      </c:pt>
                      <c:pt idx="409">
                        <c:v>44331</c:v>
                      </c:pt>
                      <c:pt idx="410">
                        <c:v>44332</c:v>
                      </c:pt>
                      <c:pt idx="411">
                        <c:v>44333</c:v>
                      </c:pt>
                      <c:pt idx="412">
                        <c:v>44334</c:v>
                      </c:pt>
                      <c:pt idx="413">
                        <c:v>44335</c:v>
                      </c:pt>
                      <c:pt idx="414">
                        <c:v>44336</c:v>
                      </c:pt>
                      <c:pt idx="415">
                        <c:v>44337</c:v>
                      </c:pt>
                      <c:pt idx="416">
                        <c:v>44338</c:v>
                      </c:pt>
                      <c:pt idx="417">
                        <c:v>44339</c:v>
                      </c:pt>
                      <c:pt idx="418">
                        <c:v>44340</c:v>
                      </c:pt>
                      <c:pt idx="419">
                        <c:v>44341</c:v>
                      </c:pt>
                      <c:pt idx="420">
                        <c:v>44342</c:v>
                      </c:pt>
                      <c:pt idx="421">
                        <c:v>44343</c:v>
                      </c:pt>
                      <c:pt idx="422">
                        <c:v>44344</c:v>
                      </c:pt>
                      <c:pt idx="423">
                        <c:v>44345</c:v>
                      </c:pt>
                      <c:pt idx="424">
                        <c:v>44346</c:v>
                      </c:pt>
                      <c:pt idx="425">
                        <c:v>44347</c:v>
                      </c:pt>
                      <c:pt idx="426">
                        <c:v>44348</c:v>
                      </c:pt>
                      <c:pt idx="427">
                        <c:v>44349</c:v>
                      </c:pt>
                      <c:pt idx="428">
                        <c:v>44350</c:v>
                      </c:pt>
                      <c:pt idx="429">
                        <c:v>44351</c:v>
                      </c:pt>
                      <c:pt idx="430">
                        <c:v>44352</c:v>
                      </c:pt>
                      <c:pt idx="431">
                        <c:v>44353</c:v>
                      </c:pt>
                      <c:pt idx="432">
                        <c:v>44354</c:v>
                      </c:pt>
                      <c:pt idx="433">
                        <c:v>44355</c:v>
                      </c:pt>
                      <c:pt idx="434">
                        <c:v>44356</c:v>
                      </c:pt>
                      <c:pt idx="435">
                        <c:v>44357</c:v>
                      </c:pt>
                      <c:pt idx="436">
                        <c:v>44358</c:v>
                      </c:pt>
                      <c:pt idx="437">
                        <c:v>44359</c:v>
                      </c:pt>
                      <c:pt idx="438">
                        <c:v>44360</c:v>
                      </c:pt>
                      <c:pt idx="439">
                        <c:v>44361</c:v>
                      </c:pt>
                      <c:pt idx="440">
                        <c:v>44362</c:v>
                      </c:pt>
                      <c:pt idx="441">
                        <c:v>44363</c:v>
                      </c:pt>
                      <c:pt idx="442">
                        <c:v>44364</c:v>
                      </c:pt>
                      <c:pt idx="443">
                        <c:v>44365</c:v>
                      </c:pt>
                      <c:pt idx="444">
                        <c:v>44366</c:v>
                      </c:pt>
                      <c:pt idx="445">
                        <c:v>44367</c:v>
                      </c:pt>
                      <c:pt idx="446">
                        <c:v>44368</c:v>
                      </c:pt>
                      <c:pt idx="447">
                        <c:v>44369</c:v>
                      </c:pt>
                      <c:pt idx="448">
                        <c:v>44370</c:v>
                      </c:pt>
                      <c:pt idx="449">
                        <c:v>44371</c:v>
                      </c:pt>
                      <c:pt idx="450">
                        <c:v>44372</c:v>
                      </c:pt>
                      <c:pt idx="451">
                        <c:v>44373</c:v>
                      </c:pt>
                      <c:pt idx="452">
                        <c:v>44374</c:v>
                      </c:pt>
                      <c:pt idx="453">
                        <c:v>44375</c:v>
                      </c:pt>
                      <c:pt idx="454">
                        <c:v>44376</c:v>
                      </c:pt>
                      <c:pt idx="455">
                        <c:v>44377</c:v>
                      </c:pt>
                      <c:pt idx="456">
                        <c:v>44378</c:v>
                      </c:pt>
                      <c:pt idx="457">
                        <c:v>44379</c:v>
                      </c:pt>
                      <c:pt idx="458">
                        <c:v>44380</c:v>
                      </c:pt>
                      <c:pt idx="459">
                        <c:v>44381</c:v>
                      </c:pt>
                      <c:pt idx="460">
                        <c:v>44382</c:v>
                      </c:pt>
                      <c:pt idx="461">
                        <c:v>44383</c:v>
                      </c:pt>
                      <c:pt idx="462">
                        <c:v>44384</c:v>
                      </c:pt>
                      <c:pt idx="463">
                        <c:v>44385</c:v>
                      </c:pt>
                      <c:pt idx="464">
                        <c:v>44386</c:v>
                      </c:pt>
                      <c:pt idx="465">
                        <c:v>44387</c:v>
                      </c:pt>
                      <c:pt idx="466">
                        <c:v>44388</c:v>
                      </c:pt>
                      <c:pt idx="467">
                        <c:v>44389</c:v>
                      </c:pt>
                      <c:pt idx="468">
                        <c:v>44390</c:v>
                      </c:pt>
                      <c:pt idx="469">
                        <c:v>44391</c:v>
                      </c:pt>
                      <c:pt idx="470">
                        <c:v>44392</c:v>
                      </c:pt>
                      <c:pt idx="471">
                        <c:v>44393</c:v>
                      </c:pt>
                      <c:pt idx="472">
                        <c:v>44394</c:v>
                      </c:pt>
                      <c:pt idx="473">
                        <c:v>44395</c:v>
                      </c:pt>
                      <c:pt idx="474">
                        <c:v>44396</c:v>
                      </c:pt>
                      <c:pt idx="475">
                        <c:v>44397</c:v>
                      </c:pt>
                      <c:pt idx="476">
                        <c:v>44398</c:v>
                      </c:pt>
                      <c:pt idx="477">
                        <c:v>44399</c:v>
                      </c:pt>
                      <c:pt idx="478">
                        <c:v>44400</c:v>
                      </c:pt>
                      <c:pt idx="479">
                        <c:v>44401</c:v>
                      </c:pt>
                      <c:pt idx="480">
                        <c:v>44402</c:v>
                      </c:pt>
                      <c:pt idx="481">
                        <c:v>44403</c:v>
                      </c:pt>
                      <c:pt idx="482">
                        <c:v>44404</c:v>
                      </c:pt>
                      <c:pt idx="483">
                        <c:v>44405</c:v>
                      </c:pt>
                      <c:pt idx="484">
                        <c:v>44406</c:v>
                      </c:pt>
                      <c:pt idx="485">
                        <c:v>44407</c:v>
                      </c:pt>
                      <c:pt idx="486">
                        <c:v>44408</c:v>
                      </c:pt>
                      <c:pt idx="487">
                        <c:v>44409</c:v>
                      </c:pt>
                      <c:pt idx="488">
                        <c:v>44410</c:v>
                      </c:pt>
                      <c:pt idx="489">
                        <c:v>44411</c:v>
                      </c:pt>
                      <c:pt idx="490">
                        <c:v>44412</c:v>
                      </c:pt>
                      <c:pt idx="491">
                        <c:v>44413</c:v>
                      </c:pt>
                      <c:pt idx="492">
                        <c:v>44414</c:v>
                      </c:pt>
                      <c:pt idx="493">
                        <c:v>44415</c:v>
                      </c:pt>
                      <c:pt idx="494">
                        <c:v>44416</c:v>
                      </c:pt>
                      <c:pt idx="495">
                        <c:v>44417</c:v>
                      </c:pt>
                      <c:pt idx="496">
                        <c:v>44418</c:v>
                      </c:pt>
                      <c:pt idx="497">
                        <c:v>44419</c:v>
                      </c:pt>
                      <c:pt idx="498">
                        <c:v>44420</c:v>
                      </c:pt>
                      <c:pt idx="499">
                        <c:v>44421</c:v>
                      </c:pt>
                      <c:pt idx="500">
                        <c:v>44422</c:v>
                      </c:pt>
                      <c:pt idx="501">
                        <c:v>44423</c:v>
                      </c:pt>
                      <c:pt idx="502">
                        <c:v>44424</c:v>
                      </c:pt>
                      <c:pt idx="503">
                        <c:v>44425</c:v>
                      </c:pt>
                      <c:pt idx="504">
                        <c:v>44426</c:v>
                      </c:pt>
                    </c:numCache>
                  </c:numRef>
                </c:cat>
                <c:val>
                  <c:numRef>
                    <c:extLst xmlns:c15="http://schemas.microsoft.com/office/drawing/2012/chart">
                      <c:ext xmlns:c15="http://schemas.microsoft.com/office/drawing/2012/chart" uri="{02D57815-91ED-43cb-92C2-25804820EDAC}">
                        <c15:formulaRef>
                          <c15:sqref>Nicaragua!$D$94:$D$371</c15:sqref>
                        </c15:formulaRef>
                      </c:ext>
                    </c:extLst>
                    <c:numCache>
                      <c:formatCode>General</c:formatCode>
                      <c:ptCount val="278"/>
                      <c:pt idx="0">
                        <c:v>0</c:v>
                      </c:pt>
                      <c:pt idx="1">
                        <c:v>0</c:v>
                      </c:pt>
                      <c:pt idx="2">
                        <c:v>0</c:v>
                      </c:pt>
                      <c:pt idx="3">
                        <c:v>0</c:v>
                      </c:pt>
                      <c:pt idx="4">
                        <c:v>1</c:v>
                      </c:pt>
                      <c:pt idx="5">
                        <c:v>0</c:v>
                      </c:pt>
                      <c:pt idx="6">
                        <c:v>0</c:v>
                      </c:pt>
                      <c:pt idx="7">
                        <c:v>0</c:v>
                      </c:pt>
                      <c:pt idx="8">
                        <c:v>1</c:v>
                      </c:pt>
                      <c:pt idx="9">
                        <c:v>0</c:v>
                      </c:pt>
                      <c:pt idx="10">
                        <c:v>1</c:v>
                      </c:pt>
                      <c:pt idx="11">
                        <c:v>1</c:v>
                      </c:pt>
                      <c:pt idx="12">
                        <c:v>0</c:v>
                      </c:pt>
                      <c:pt idx="13">
                        <c:v>0</c:v>
                      </c:pt>
                      <c:pt idx="14">
                        <c:v>0</c:v>
                      </c:pt>
                      <c:pt idx="15">
                        <c:v>0</c:v>
                      </c:pt>
                      <c:pt idx="16">
                        <c:v>0</c:v>
                      </c:pt>
                      <c:pt idx="17">
                        <c:v>0</c:v>
                      </c:pt>
                      <c:pt idx="18">
                        <c:v>1</c:v>
                      </c:pt>
                      <c:pt idx="19">
                        <c:v>0</c:v>
                      </c:pt>
                      <c:pt idx="20">
                        <c:v>0</c:v>
                      </c:pt>
                      <c:pt idx="21">
                        <c:v>0</c:v>
                      </c:pt>
                      <c:pt idx="22">
                        <c:v>1</c:v>
                      </c:pt>
                      <c:pt idx="23">
                        <c:v>0</c:v>
                      </c:pt>
                      <c:pt idx="24">
                        <c:v>1</c:v>
                      </c:pt>
                      <c:pt idx="25">
                        <c:v>1</c:v>
                      </c:pt>
                      <c:pt idx="26">
                        <c:v>0</c:v>
                      </c:pt>
                      <c:pt idx="27">
                        <c:v>0</c:v>
                      </c:pt>
                      <c:pt idx="28">
                        <c:v>0</c:v>
                      </c:pt>
                      <c:pt idx="29">
                        <c:v>1</c:v>
                      </c:pt>
                      <c:pt idx="30">
                        <c:v>0</c:v>
                      </c:pt>
                      <c:pt idx="31">
                        <c:v>0</c:v>
                      </c:pt>
                      <c:pt idx="32">
                        <c:v>1</c:v>
                      </c:pt>
                      <c:pt idx="33">
                        <c:v>0</c:v>
                      </c:pt>
                      <c:pt idx="34">
                        <c:v>1</c:v>
                      </c:pt>
                      <c:pt idx="35">
                        <c:v>0</c:v>
                      </c:pt>
                      <c:pt idx="36">
                        <c:v>0</c:v>
                      </c:pt>
                      <c:pt idx="37">
                        <c:v>0</c:v>
                      </c:pt>
                      <c:pt idx="38">
                        <c:v>0</c:v>
                      </c:pt>
                      <c:pt idx="39">
                        <c:v>0</c:v>
                      </c:pt>
                      <c:pt idx="40">
                        <c:v>0</c:v>
                      </c:pt>
                      <c:pt idx="41">
                        <c:v>9</c:v>
                      </c:pt>
                      <c:pt idx="42">
                        <c:v>0</c:v>
                      </c:pt>
                      <c:pt idx="43">
                        <c:v>0</c:v>
                      </c:pt>
                      <c:pt idx="44">
                        <c:v>0</c:v>
                      </c:pt>
                      <c:pt idx="45">
                        <c:v>0</c:v>
                      </c:pt>
                      <c:pt idx="46">
                        <c:v>0</c:v>
                      </c:pt>
                      <c:pt idx="47">
                        <c:v>0</c:v>
                      </c:pt>
                      <c:pt idx="48">
                        <c:v>229</c:v>
                      </c:pt>
                      <c:pt idx="49">
                        <c:v>0</c:v>
                      </c:pt>
                      <c:pt idx="50">
                        <c:v>25</c:v>
                      </c:pt>
                      <c:pt idx="51">
                        <c:v>0</c:v>
                      </c:pt>
                      <c:pt idx="52">
                        <c:v>0</c:v>
                      </c:pt>
                      <c:pt idx="53">
                        <c:v>0</c:v>
                      </c:pt>
                      <c:pt idx="54">
                        <c:v>0</c:v>
                      </c:pt>
                      <c:pt idx="55">
                        <c:v>480</c:v>
                      </c:pt>
                      <c:pt idx="56">
                        <c:v>0</c:v>
                      </c:pt>
                      <c:pt idx="57">
                        <c:v>0</c:v>
                      </c:pt>
                      <c:pt idx="58">
                        <c:v>0</c:v>
                      </c:pt>
                      <c:pt idx="59">
                        <c:v>0</c:v>
                      </c:pt>
                      <c:pt idx="60">
                        <c:v>0</c:v>
                      </c:pt>
                      <c:pt idx="61">
                        <c:v>0</c:v>
                      </c:pt>
                      <c:pt idx="62">
                        <c:v>359</c:v>
                      </c:pt>
                      <c:pt idx="63">
                        <c:v>0</c:v>
                      </c:pt>
                      <c:pt idx="64">
                        <c:v>0</c:v>
                      </c:pt>
                      <c:pt idx="65">
                        <c:v>0</c:v>
                      </c:pt>
                      <c:pt idx="66">
                        <c:v>0</c:v>
                      </c:pt>
                      <c:pt idx="67">
                        <c:v>0</c:v>
                      </c:pt>
                      <c:pt idx="68">
                        <c:v>0</c:v>
                      </c:pt>
                      <c:pt idx="69">
                        <c:v>346</c:v>
                      </c:pt>
                      <c:pt idx="70">
                        <c:v>0</c:v>
                      </c:pt>
                      <c:pt idx="71">
                        <c:v>0</c:v>
                      </c:pt>
                      <c:pt idx="72">
                        <c:v>0</c:v>
                      </c:pt>
                      <c:pt idx="73">
                        <c:v>0</c:v>
                      </c:pt>
                      <c:pt idx="74">
                        <c:v>0</c:v>
                      </c:pt>
                      <c:pt idx="75">
                        <c:v>0</c:v>
                      </c:pt>
                      <c:pt idx="76">
                        <c:v>359</c:v>
                      </c:pt>
                      <c:pt idx="77">
                        <c:v>0</c:v>
                      </c:pt>
                      <c:pt idx="78">
                        <c:v>0</c:v>
                      </c:pt>
                      <c:pt idx="79">
                        <c:v>0</c:v>
                      </c:pt>
                      <c:pt idx="80">
                        <c:v>0</c:v>
                      </c:pt>
                      <c:pt idx="81">
                        <c:v>0</c:v>
                      </c:pt>
                      <c:pt idx="82">
                        <c:v>0</c:v>
                      </c:pt>
                      <c:pt idx="83">
                        <c:v>347</c:v>
                      </c:pt>
                      <c:pt idx="84">
                        <c:v>0</c:v>
                      </c:pt>
                      <c:pt idx="85">
                        <c:v>0</c:v>
                      </c:pt>
                      <c:pt idx="86">
                        <c:v>0</c:v>
                      </c:pt>
                      <c:pt idx="87">
                        <c:v>0</c:v>
                      </c:pt>
                      <c:pt idx="88">
                        <c:v>0</c:v>
                      </c:pt>
                      <c:pt idx="89">
                        <c:v>0</c:v>
                      </c:pt>
                      <c:pt idx="90">
                        <c:v>349</c:v>
                      </c:pt>
                      <c:pt idx="91">
                        <c:v>0</c:v>
                      </c:pt>
                      <c:pt idx="92">
                        <c:v>0</c:v>
                      </c:pt>
                      <c:pt idx="93">
                        <c:v>0</c:v>
                      </c:pt>
                      <c:pt idx="94">
                        <c:v>0</c:v>
                      </c:pt>
                      <c:pt idx="95">
                        <c:v>0</c:v>
                      </c:pt>
                      <c:pt idx="96">
                        <c:v>0</c:v>
                      </c:pt>
                      <c:pt idx="97">
                        <c:v>327</c:v>
                      </c:pt>
                      <c:pt idx="98">
                        <c:v>0</c:v>
                      </c:pt>
                      <c:pt idx="99">
                        <c:v>0</c:v>
                      </c:pt>
                      <c:pt idx="100">
                        <c:v>0</c:v>
                      </c:pt>
                      <c:pt idx="101">
                        <c:v>0</c:v>
                      </c:pt>
                      <c:pt idx="102">
                        <c:v>0</c:v>
                      </c:pt>
                      <c:pt idx="103">
                        <c:v>0</c:v>
                      </c:pt>
                      <c:pt idx="104">
                        <c:v>301</c:v>
                      </c:pt>
                      <c:pt idx="105">
                        <c:v>0</c:v>
                      </c:pt>
                      <c:pt idx="106">
                        <c:v>0</c:v>
                      </c:pt>
                      <c:pt idx="107">
                        <c:v>0</c:v>
                      </c:pt>
                      <c:pt idx="108">
                        <c:v>0</c:v>
                      </c:pt>
                      <c:pt idx="109">
                        <c:v>0</c:v>
                      </c:pt>
                      <c:pt idx="110">
                        <c:v>0</c:v>
                      </c:pt>
                      <c:pt idx="111">
                        <c:v>292</c:v>
                      </c:pt>
                      <c:pt idx="112">
                        <c:v>0</c:v>
                      </c:pt>
                      <c:pt idx="113">
                        <c:v>0</c:v>
                      </c:pt>
                      <c:pt idx="114">
                        <c:v>0</c:v>
                      </c:pt>
                      <c:pt idx="115">
                        <c:v>0</c:v>
                      </c:pt>
                      <c:pt idx="116">
                        <c:v>0</c:v>
                      </c:pt>
                      <c:pt idx="117">
                        <c:v>0</c:v>
                      </c:pt>
                      <c:pt idx="118">
                        <c:v>233</c:v>
                      </c:pt>
                      <c:pt idx="119">
                        <c:v>0</c:v>
                      </c:pt>
                      <c:pt idx="120">
                        <c:v>0</c:v>
                      </c:pt>
                      <c:pt idx="121">
                        <c:v>0</c:v>
                      </c:pt>
                      <c:pt idx="122">
                        <c:v>0</c:v>
                      </c:pt>
                      <c:pt idx="123">
                        <c:v>0</c:v>
                      </c:pt>
                      <c:pt idx="124">
                        <c:v>0</c:v>
                      </c:pt>
                      <c:pt idx="125">
                        <c:v>230</c:v>
                      </c:pt>
                      <c:pt idx="126">
                        <c:v>0</c:v>
                      </c:pt>
                      <c:pt idx="127">
                        <c:v>0</c:v>
                      </c:pt>
                      <c:pt idx="128">
                        <c:v>0</c:v>
                      </c:pt>
                      <c:pt idx="129">
                        <c:v>0</c:v>
                      </c:pt>
                      <c:pt idx="130">
                        <c:v>0</c:v>
                      </c:pt>
                      <c:pt idx="131">
                        <c:v>0</c:v>
                      </c:pt>
                      <c:pt idx="132">
                        <c:v>213</c:v>
                      </c:pt>
                      <c:pt idx="133">
                        <c:v>0</c:v>
                      </c:pt>
                      <c:pt idx="134">
                        <c:v>0</c:v>
                      </c:pt>
                      <c:pt idx="135">
                        <c:v>0</c:v>
                      </c:pt>
                      <c:pt idx="136">
                        <c:v>0</c:v>
                      </c:pt>
                      <c:pt idx="137">
                        <c:v>0</c:v>
                      </c:pt>
                      <c:pt idx="138">
                        <c:v>0</c:v>
                      </c:pt>
                      <c:pt idx="139">
                        <c:v>196</c:v>
                      </c:pt>
                      <c:pt idx="140">
                        <c:v>0</c:v>
                      </c:pt>
                      <c:pt idx="141">
                        <c:v>0</c:v>
                      </c:pt>
                      <c:pt idx="142">
                        <c:v>0</c:v>
                      </c:pt>
                      <c:pt idx="143">
                        <c:v>0</c:v>
                      </c:pt>
                      <c:pt idx="144">
                        <c:v>0</c:v>
                      </c:pt>
                      <c:pt idx="145">
                        <c:v>0</c:v>
                      </c:pt>
                      <c:pt idx="146">
                        <c:v>183</c:v>
                      </c:pt>
                      <c:pt idx="147">
                        <c:v>0</c:v>
                      </c:pt>
                      <c:pt idx="148">
                        <c:v>0</c:v>
                      </c:pt>
                      <c:pt idx="149">
                        <c:v>0</c:v>
                      </c:pt>
                      <c:pt idx="150">
                        <c:v>0</c:v>
                      </c:pt>
                      <c:pt idx="151">
                        <c:v>0</c:v>
                      </c:pt>
                      <c:pt idx="152">
                        <c:v>0</c:v>
                      </c:pt>
                      <c:pt idx="153">
                        <c:v>174</c:v>
                      </c:pt>
                      <c:pt idx="154">
                        <c:v>0</c:v>
                      </c:pt>
                      <c:pt idx="155">
                        <c:v>0</c:v>
                      </c:pt>
                      <c:pt idx="156">
                        <c:v>0</c:v>
                      </c:pt>
                      <c:pt idx="157">
                        <c:v>0</c:v>
                      </c:pt>
                      <c:pt idx="158">
                        <c:v>0</c:v>
                      </c:pt>
                      <c:pt idx="159">
                        <c:v>0</c:v>
                      </c:pt>
                      <c:pt idx="160">
                        <c:v>150</c:v>
                      </c:pt>
                      <c:pt idx="161">
                        <c:v>0</c:v>
                      </c:pt>
                      <c:pt idx="162">
                        <c:v>0</c:v>
                      </c:pt>
                      <c:pt idx="163">
                        <c:v>0</c:v>
                      </c:pt>
                      <c:pt idx="164">
                        <c:v>0</c:v>
                      </c:pt>
                      <c:pt idx="165">
                        <c:v>0</c:v>
                      </c:pt>
                      <c:pt idx="166">
                        <c:v>0</c:v>
                      </c:pt>
                      <c:pt idx="167">
                        <c:v>143</c:v>
                      </c:pt>
                      <c:pt idx="168">
                        <c:v>0</c:v>
                      </c:pt>
                      <c:pt idx="169">
                        <c:v>0</c:v>
                      </c:pt>
                      <c:pt idx="170">
                        <c:v>0</c:v>
                      </c:pt>
                      <c:pt idx="171">
                        <c:v>0</c:v>
                      </c:pt>
                      <c:pt idx="172">
                        <c:v>0</c:v>
                      </c:pt>
                      <c:pt idx="173">
                        <c:v>0</c:v>
                      </c:pt>
                      <c:pt idx="174">
                        <c:v>112</c:v>
                      </c:pt>
                      <c:pt idx="175">
                        <c:v>0</c:v>
                      </c:pt>
                      <c:pt idx="176">
                        <c:v>0</c:v>
                      </c:pt>
                      <c:pt idx="177">
                        <c:v>0</c:v>
                      </c:pt>
                      <c:pt idx="178">
                        <c:v>0</c:v>
                      </c:pt>
                      <c:pt idx="179">
                        <c:v>0</c:v>
                      </c:pt>
                      <c:pt idx="180">
                        <c:v>0</c:v>
                      </c:pt>
                      <c:pt idx="181">
                        <c:v>97</c:v>
                      </c:pt>
                      <c:pt idx="182">
                        <c:v>0</c:v>
                      </c:pt>
                      <c:pt idx="183">
                        <c:v>0</c:v>
                      </c:pt>
                      <c:pt idx="184">
                        <c:v>0</c:v>
                      </c:pt>
                      <c:pt idx="185">
                        <c:v>0</c:v>
                      </c:pt>
                      <c:pt idx="186">
                        <c:v>0</c:v>
                      </c:pt>
                      <c:pt idx="187">
                        <c:v>0</c:v>
                      </c:pt>
                      <c:pt idx="188">
                        <c:v>94</c:v>
                      </c:pt>
                      <c:pt idx="189">
                        <c:v>0</c:v>
                      </c:pt>
                      <c:pt idx="190">
                        <c:v>0</c:v>
                      </c:pt>
                      <c:pt idx="191">
                        <c:v>0</c:v>
                      </c:pt>
                      <c:pt idx="192">
                        <c:v>0</c:v>
                      </c:pt>
                      <c:pt idx="193">
                        <c:v>0</c:v>
                      </c:pt>
                      <c:pt idx="194">
                        <c:v>0</c:v>
                      </c:pt>
                      <c:pt idx="195">
                        <c:v>89</c:v>
                      </c:pt>
                      <c:pt idx="196">
                        <c:v>0</c:v>
                      </c:pt>
                      <c:pt idx="197">
                        <c:v>0</c:v>
                      </c:pt>
                      <c:pt idx="198">
                        <c:v>0</c:v>
                      </c:pt>
                      <c:pt idx="199">
                        <c:v>0</c:v>
                      </c:pt>
                      <c:pt idx="200">
                        <c:v>0</c:v>
                      </c:pt>
                      <c:pt idx="201">
                        <c:v>0</c:v>
                      </c:pt>
                      <c:pt idx="202">
                        <c:v>81</c:v>
                      </c:pt>
                      <c:pt idx="203">
                        <c:v>0</c:v>
                      </c:pt>
                      <c:pt idx="204">
                        <c:v>0</c:v>
                      </c:pt>
                      <c:pt idx="205">
                        <c:v>0</c:v>
                      </c:pt>
                      <c:pt idx="206">
                        <c:v>0</c:v>
                      </c:pt>
                      <c:pt idx="207">
                        <c:v>0</c:v>
                      </c:pt>
                      <c:pt idx="208">
                        <c:v>0</c:v>
                      </c:pt>
                      <c:pt idx="209">
                        <c:v>80</c:v>
                      </c:pt>
                      <c:pt idx="210">
                        <c:v>0</c:v>
                      </c:pt>
                      <c:pt idx="211">
                        <c:v>0</c:v>
                      </c:pt>
                      <c:pt idx="212">
                        <c:v>0</c:v>
                      </c:pt>
                      <c:pt idx="213">
                        <c:v>0</c:v>
                      </c:pt>
                      <c:pt idx="214">
                        <c:v>0</c:v>
                      </c:pt>
                      <c:pt idx="215">
                        <c:v>0</c:v>
                      </c:pt>
                      <c:pt idx="216">
                        <c:v>0</c:v>
                      </c:pt>
                      <c:pt idx="217">
                        <c:v>0</c:v>
                      </c:pt>
                      <c:pt idx="218">
                        <c:v>77</c:v>
                      </c:pt>
                      <c:pt idx="219">
                        <c:v>0</c:v>
                      </c:pt>
                      <c:pt idx="220">
                        <c:v>0</c:v>
                      </c:pt>
                      <c:pt idx="221">
                        <c:v>0</c:v>
                      </c:pt>
                      <c:pt idx="222">
                        <c:v>0</c:v>
                      </c:pt>
                      <c:pt idx="223">
                        <c:v>70</c:v>
                      </c:pt>
                      <c:pt idx="224">
                        <c:v>0</c:v>
                      </c:pt>
                      <c:pt idx="225">
                        <c:v>0</c:v>
                      </c:pt>
                      <c:pt idx="226">
                        <c:v>0</c:v>
                      </c:pt>
                      <c:pt idx="227">
                        <c:v>0</c:v>
                      </c:pt>
                      <c:pt idx="228">
                        <c:v>0</c:v>
                      </c:pt>
                      <c:pt idx="229">
                        <c:v>0</c:v>
                      </c:pt>
                      <c:pt idx="230">
                        <c:v>64</c:v>
                      </c:pt>
                      <c:pt idx="231">
                        <c:v>0</c:v>
                      </c:pt>
                      <c:pt idx="232">
                        <c:v>0</c:v>
                      </c:pt>
                      <c:pt idx="233">
                        <c:v>0</c:v>
                      </c:pt>
                      <c:pt idx="234">
                        <c:v>0</c:v>
                      </c:pt>
                      <c:pt idx="235">
                        <c:v>0</c:v>
                      </c:pt>
                      <c:pt idx="236">
                        <c:v>0</c:v>
                      </c:pt>
                      <c:pt idx="237">
                        <c:v>59</c:v>
                      </c:pt>
                      <c:pt idx="238">
                        <c:v>0</c:v>
                      </c:pt>
                      <c:pt idx="239">
                        <c:v>0</c:v>
                      </c:pt>
                      <c:pt idx="240">
                        <c:v>0</c:v>
                      </c:pt>
                      <c:pt idx="241">
                        <c:v>0</c:v>
                      </c:pt>
                      <c:pt idx="242">
                        <c:v>0</c:v>
                      </c:pt>
                      <c:pt idx="243">
                        <c:v>0</c:v>
                      </c:pt>
                      <c:pt idx="244">
                        <c:v>54</c:v>
                      </c:pt>
                      <c:pt idx="245">
                        <c:v>0</c:v>
                      </c:pt>
                      <c:pt idx="246">
                        <c:v>0</c:v>
                      </c:pt>
                      <c:pt idx="247">
                        <c:v>0</c:v>
                      </c:pt>
                      <c:pt idx="248">
                        <c:v>0</c:v>
                      </c:pt>
                      <c:pt idx="249">
                        <c:v>0</c:v>
                      </c:pt>
                      <c:pt idx="250">
                        <c:v>0</c:v>
                      </c:pt>
                      <c:pt idx="251">
                        <c:v>49</c:v>
                      </c:pt>
                      <c:pt idx="252">
                        <c:v>0</c:v>
                      </c:pt>
                      <c:pt idx="253">
                        <c:v>0</c:v>
                      </c:pt>
                      <c:pt idx="254">
                        <c:v>0</c:v>
                      </c:pt>
                      <c:pt idx="255">
                        <c:v>0</c:v>
                      </c:pt>
                      <c:pt idx="256">
                        <c:v>0</c:v>
                      </c:pt>
                      <c:pt idx="257">
                        <c:v>0</c:v>
                      </c:pt>
                      <c:pt idx="258">
                        <c:v>0</c:v>
                      </c:pt>
                      <c:pt idx="259">
                        <c:v>51</c:v>
                      </c:pt>
                      <c:pt idx="260">
                        <c:v>0</c:v>
                      </c:pt>
                      <c:pt idx="261">
                        <c:v>0</c:v>
                      </c:pt>
                      <c:pt idx="262">
                        <c:v>0</c:v>
                      </c:pt>
                      <c:pt idx="263">
                        <c:v>0</c:v>
                      </c:pt>
                      <c:pt idx="264">
                        <c:v>0</c:v>
                      </c:pt>
                      <c:pt idx="265">
                        <c:v>0</c:v>
                      </c:pt>
                      <c:pt idx="266">
                        <c:v>53</c:v>
                      </c:pt>
                      <c:pt idx="267">
                        <c:v>0</c:v>
                      </c:pt>
                      <c:pt idx="268">
                        <c:v>0</c:v>
                      </c:pt>
                      <c:pt idx="269">
                        <c:v>0</c:v>
                      </c:pt>
                      <c:pt idx="270">
                        <c:v>0</c:v>
                      </c:pt>
                      <c:pt idx="271">
                        <c:v>0</c:v>
                      </c:pt>
                      <c:pt idx="272">
                        <c:v>55</c:v>
                      </c:pt>
                      <c:pt idx="273">
                        <c:v>0</c:v>
                      </c:pt>
                      <c:pt idx="274">
                        <c:v>0</c:v>
                      </c:pt>
                      <c:pt idx="275">
                        <c:v>0</c:v>
                      </c:pt>
                      <c:pt idx="276">
                        <c:v>0</c:v>
                      </c:pt>
                      <c:pt idx="277">
                        <c:v>0</c:v>
                      </c:pt>
                    </c:numCache>
                  </c:numRef>
                </c:val>
                <c:extLst xmlns:c15="http://schemas.microsoft.com/office/drawing/2012/chart">
                  <c:ext xmlns:c16="http://schemas.microsoft.com/office/drawing/2014/chart" uri="{C3380CC4-5D6E-409C-BE32-E72D297353CC}">
                    <c16:uniqueId val="{00000004-ABFF-4F69-A778-B65D06386B92}"/>
                  </c:ext>
                </c:extLst>
              </c15:ser>
            </c15:filteredBarSeries>
            <c15:filteredBarSeries>
              <c15:ser>
                <c:idx val="5"/>
                <c:order val="4"/>
                <c:tx>
                  <c:strRef>
                    <c:extLst xmlns:c15="http://schemas.microsoft.com/office/drawing/2012/chart">
                      <c:ext xmlns:c15="http://schemas.microsoft.com/office/drawing/2012/chart" uri="{02D57815-91ED-43cb-92C2-25804820EDAC}">
                        <c15:formulaRef>
                          <c15:sqref>Detalle!#REF!</c15:sqref>
                        </c15:formulaRef>
                      </c:ext>
                    </c:extLst>
                    <c:strCache>
                      <c:ptCount val="1"/>
                      <c:pt idx="0">
                        <c:v>#REF!</c:v>
                      </c:pt>
                    </c:strCache>
                  </c:strRef>
                </c:tx>
                <c:spPr>
                  <a:solidFill>
                    <a:schemeClr val="accent6"/>
                  </a:solidFill>
                  <a:ln>
                    <a:noFill/>
                  </a:ln>
                  <a:effectLst/>
                </c:spPr>
                <c:invertIfNegative val="0"/>
                <c:cat>
                  <c:numRef>
                    <c:extLst xmlns:c15="http://schemas.microsoft.com/office/drawing/2012/chart">
                      <c:ext xmlns:c15="http://schemas.microsoft.com/office/drawing/2012/chart" uri="{02D57815-91ED-43cb-92C2-25804820EDAC}">
                        <c15:formulaRef>
                          <c15:sqref>World!$A$94:$A$598</c15:sqref>
                        </c15:formulaRef>
                      </c:ext>
                    </c:extLst>
                    <c:numCache>
                      <c:formatCode>dd/mm/yy;@</c:formatCode>
                      <c:ptCount val="505"/>
                      <c:pt idx="0">
                        <c:v>43922</c:v>
                      </c:pt>
                      <c:pt idx="1">
                        <c:v>43923</c:v>
                      </c:pt>
                      <c:pt idx="2">
                        <c:v>43924</c:v>
                      </c:pt>
                      <c:pt idx="3">
                        <c:v>43925</c:v>
                      </c:pt>
                      <c:pt idx="4">
                        <c:v>43926</c:v>
                      </c:pt>
                      <c:pt idx="5">
                        <c:v>43927</c:v>
                      </c:pt>
                      <c:pt idx="6">
                        <c:v>43928</c:v>
                      </c:pt>
                      <c:pt idx="7">
                        <c:v>43929</c:v>
                      </c:pt>
                      <c:pt idx="8">
                        <c:v>43930</c:v>
                      </c:pt>
                      <c:pt idx="9">
                        <c:v>43931</c:v>
                      </c:pt>
                      <c:pt idx="10">
                        <c:v>43932</c:v>
                      </c:pt>
                      <c:pt idx="11">
                        <c:v>43933</c:v>
                      </c:pt>
                      <c:pt idx="12">
                        <c:v>43934</c:v>
                      </c:pt>
                      <c:pt idx="13">
                        <c:v>43935</c:v>
                      </c:pt>
                      <c:pt idx="14">
                        <c:v>43936</c:v>
                      </c:pt>
                      <c:pt idx="15">
                        <c:v>43937</c:v>
                      </c:pt>
                      <c:pt idx="16">
                        <c:v>43938</c:v>
                      </c:pt>
                      <c:pt idx="17">
                        <c:v>43939</c:v>
                      </c:pt>
                      <c:pt idx="18">
                        <c:v>43940</c:v>
                      </c:pt>
                      <c:pt idx="19">
                        <c:v>43941</c:v>
                      </c:pt>
                      <c:pt idx="20">
                        <c:v>43942</c:v>
                      </c:pt>
                      <c:pt idx="21">
                        <c:v>43943</c:v>
                      </c:pt>
                      <c:pt idx="22">
                        <c:v>43944</c:v>
                      </c:pt>
                      <c:pt idx="23">
                        <c:v>43945</c:v>
                      </c:pt>
                      <c:pt idx="24">
                        <c:v>43946</c:v>
                      </c:pt>
                      <c:pt idx="25">
                        <c:v>43947</c:v>
                      </c:pt>
                      <c:pt idx="26">
                        <c:v>43948</c:v>
                      </c:pt>
                      <c:pt idx="27">
                        <c:v>43949</c:v>
                      </c:pt>
                      <c:pt idx="28">
                        <c:v>43950</c:v>
                      </c:pt>
                      <c:pt idx="29">
                        <c:v>43951</c:v>
                      </c:pt>
                      <c:pt idx="30">
                        <c:v>43952</c:v>
                      </c:pt>
                      <c:pt idx="31">
                        <c:v>43953</c:v>
                      </c:pt>
                      <c:pt idx="32">
                        <c:v>43954</c:v>
                      </c:pt>
                      <c:pt idx="33">
                        <c:v>43955</c:v>
                      </c:pt>
                      <c:pt idx="34">
                        <c:v>43956</c:v>
                      </c:pt>
                      <c:pt idx="35">
                        <c:v>43957</c:v>
                      </c:pt>
                      <c:pt idx="36">
                        <c:v>43958</c:v>
                      </c:pt>
                      <c:pt idx="37">
                        <c:v>43959</c:v>
                      </c:pt>
                      <c:pt idx="38">
                        <c:v>43960</c:v>
                      </c:pt>
                      <c:pt idx="39">
                        <c:v>43961</c:v>
                      </c:pt>
                      <c:pt idx="40">
                        <c:v>43962</c:v>
                      </c:pt>
                      <c:pt idx="41">
                        <c:v>43963</c:v>
                      </c:pt>
                      <c:pt idx="42">
                        <c:v>43964</c:v>
                      </c:pt>
                      <c:pt idx="43">
                        <c:v>43965</c:v>
                      </c:pt>
                      <c:pt idx="44">
                        <c:v>43966</c:v>
                      </c:pt>
                      <c:pt idx="45">
                        <c:v>43967</c:v>
                      </c:pt>
                      <c:pt idx="46">
                        <c:v>43968</c:v>
                      </c:pt>
                      <c:pt idx="47">
                        <c:v>43969</c:v>
                      </c:pt>
                      <c:pt idx="48">
                        <c:v>43970</c:v>
                      </c:pt>
                      <c:pt idx="49">
                        <c:v>43971</c:v>
                      </c:pt>
                      <c:pt idx="50">
                        <c:v>43972</c:v>
                      </c:pt>
                      <c:pt idx="51">
                        <c:v>43973</c:v>
                      </c:pt>
                      <c:pt idx="52">
                        <c:v>43974</c:v>
                      </c:pt>
                      <c:pt idx="53">
                        <c:v>43975</c:v>
                      </c:pt>
                      <c:pt idx="54">
                        <c:v>43976</c:v>
                      </c:pt>
                      <c:pt idx="55">
                        <c:v>43977</c:v>
                      </c:pt>
                      <c:pt idx="56">
                        <c:v>43978</c:v>
                      </c:pt>
                      <c:pt idx="57">
                        <c:v>43979</c:v>
                      </c:pt>
                      <c:pt idx="58">
                        <c:v>43980</c:v>
                      </c:pt>
                      <c:pt idx="59">
                        <c:v>43981</c:v>
                      </c:pt>
                      <c:pt idx="60">
                        <c:v>43982</c:v>
                      </c:pt>
                      <c:pt idx="61">
                        <c:v>43983</c:v>
                      </c:pt>
                      <c:pt idx="62">
                        <c:v>43984</c:v>
                      </c:pt>
                      <c:pt idx="63">
                        <c:v>43985</c:v>
                      </c:pt>
                      <c:pt idx="64">
                        <c:v>43986</c:v>
                      </c:pt>
                      <c:pt idx="65">
                        <c:v>43987</c:v>
                      </c:pt>
                      <c:pt idx="66">
                        <c:v>43988</c:v>
                      </c:pt>
                      <c:pt idx="67">
                        <c:v>43989</c:v>
                      </c:pt>
                      <c:pt idx="68">
                        <c:v>43990</c:v>
                      </c:pt>
                      <c:pt idx="69">
                        <c:v>43991</c:v>
                      </c:pt>
                      <c:pt idx="70">
                        <c:v>43992</c:v>
                      </c:pt>
                      <c:pt idx="71">
                        <c:v>43993</c:v>
                      </c:pt>
                      <c:pt idx="72">
                        <c:v>43994</c:v>
                      </c:pt>
                      <c:pt idx="73">
                        <c:v>43995</c:v>
                      </c:pt>
                      <c:pt idx="74">
                        <c:v>43996</c:v>
                      </c:pt>
                      <c:pt idx="75">
                        <c:v>43997</c:v>
                      </c:pt>
                      <c:pt idx="76">
                        <c:v>43998</c:v>
                      </c:pt>
                      <c:pt idx="77">
                        <c:v>43999</c:v>
                      </c:pt>
                      <c:pt idx="78">
                        <c:v>44000</c:v>
                      </c:pt>
                      <c:pt idx="79">
                        <c:v>44001</c:v>
                      </c:pt>
                      <c:pt idx="80">
                        <c:v>44002</c:v>
                      </c:pt>
                      <c:pt idx="81">
                        <c:v>44003</c:v>
                      </c:pt>
                      <c:pt idx="82">
                        <c:v>44004</c:v>
                      </c:pt>
                      <c:pt idx="83">
                        <c:v>44005</c:v>
                      </c:pt>
                      <c:pt idx="84">
                        <c:v>44006</c:v>
                      </c:pt>
                      <c:pt idx="85">
                        <c:v>44007</c:v>
                      </c:pt>
                      <c:pt idx="86">
                        <c:v>44008</c:v>
                      </c:pt>
                      <c:pt idx="87">
                        <c:v>44009</c:v>
                      </c:pt>
                      <c:pt idx="88">
                        <c:v>44010</c:v>
                      </c:pt>
                      <c:pt idx="89">
                        <c:v>44011</c:v>
                      </c:pt>
                      <c:pt idx="90">
                        <c:v>44012</c:v>
                      </c:pt>
                      <c:pt idx="91">
                        <c:v>44013</c:v>
                      </c:pt>
                      <c:pt idx="92">
                        <c:v>44014</c:v>
                      </c:pt>
                      <c:pt idx="93">
                        <c:v>44015</c:v>
                      </c:pt>
                      <c:pt idx="94">
                        <c:v>44016</c:v>
                      </c:pt>
                      <c:pt idx="95">
                        <c:v>44017</c:v>
                      </c:pt>
                      <c:pt idx="96">
                        <c:v>44018</c:v>
                      </c:pt>
                      <c:pt idx="97">
                        <c:v>44019</c:v>
                      </c:pt>
                      <c:pt idx="98">
                        <c:v>44020</c:v>
                      </c:pt>
                      <c:pt idx="99">
                        <c:v>44021</c:v>
                      </c:pt>
                      <c:pt idx="100">
                        <c:v>44022</c:v>
                      </c:pt>
                      <c:pt idx="101">
                        <c:v>44023</c:v>
                      </c:pt>
                      <c:pt idx="102">
                        <c:v>44024</c:v>
                      </c:pt>
                      <c:pt idx="103">
                        <c:v>44025</c:v>
                      </c:pt>
                      <c:pt idx="104">
                        <c:v>44026</c:v>
                      </c:pt>
                      <c:pt idx="105">
                        <c:v>44027</c:v>
                      </c:pt>
                      <c:pt idx="106">
                        <c:v>44028</c:v>
                      </c:pt>
                      <c:pt idx="107">
                        <c:v>44029</c:v>
                      </c:pt>
                      <c:pt idx="108">
                        <c:v>44030</c:v>
                      </c:pt>
                      <c:pt idx="109">
                        <c:v>44031</c:v>
                      </c:pt>
                      <c:pt idx="110">
                        <c:v>44032</c:v>
                      </c:pt>
                      <c:pt idx="111">
                        <c:v>44033</c:v>
                      </c:pt>
                      <c:pt idx="112">
                        <c:v>44034</c:v>
                      </c:pt>
                      <c:pt idx="113">
                        <c:v>44035</c:v>
                      </c:pt>
                      <c:pt idx="114">
                        <c:v>44036</c:v>
                      </c:pt>
                      <c:pt idx="115">
                        <c:v>44037</c:v>
                      </c:pt>
                      <c:pt idx="116">
                        <c:v>44038</c:v>
                      </c:pt>
                      <c:pt idx="117">
                        <c:v>44039</c:v>
                      </c:pt>
                      <c:pt idx="118">
                        <c:v>44040</c:v>
                      </c:pt>
                      <c:pt idx="119">
                        <c:v>44041</c:v>
                      </c:pt>
                      <c:pt idx="120">
                        <c:v>44042</c:v>
                      </c:pt>
                      <c:pt idx="121">
                        <c:v>44043</c:v>
                      </c:pt>
                      <c:pt idx="122">
                        <c:v>44044</c:v>
                      </c:pt>
                      <c:pt idx="123">
                        <c:v>44045</c:v>
                      </c:pt>
                      <c:pt idx="124">
                        <c:v>44046</c:v>
                      </c:pt>
                      <c:pt idx="125">
                        <c:v>44047</c:v>
                      </c:pt>
                      <c:pt idx="126">
                        <c:v>44048</c:v>
                      </c:pt>
                      <c:pt idx="127">
                        <c:v>44049</c:v>
                      </c:pt>
                      <c:pt idx="128">
                        <c:v>44050</c:v>
                      </c:pt>
                      <c:pt idx="129">
                        <c:v>44051</c:v>
                      </c:pt>
                      <c:pt idx="130">
                        <c:v>44052</c:v>
                      </c:pt>
                      <c:pt idx="131">
                        <c:v>44053</c:v>
                      </c:pt>
                      <c:pt idx="132">
                        <c:v>44054</c:v>
                      </c:pt>
                      <c:pt idx="133">
                        <c:v>44055</c:v>
                      </c:pt>
                      <c:pt idx="134">
                        <c:v>44056</c:v>
                      </c:pt>
                      <c:pt idx="135">
                        <c:v>44057</c:v>
                      </c:pt>
                      <c:pt idx="136">
                        <c:v>44058</c:v>
                      </c:pt>
                      <c:pt idx="137">
                        <c:v>44059</c:v>
                      </c:pt>
                      <c:pt idx="138">
                        <c:v>44060</c:v>
                      </c:pt>
                      <c:pt idx="139">
                        <c:v>44061</c:v>
                      </c:pt>
                      <c:pt idx="140">
                        <c:v>44062</c:v>
                      </c:pt>
                      <c:pt idx="141">
                        <c:v>44063</c:v>
                      </c:pt>
                      <c:pt idx="142">
                        <c:v>44064</c:v>
                      </c:pt>
                      <c:pt idx="143">
                        <c:v>44065</c:v>
                      </c:pt>
                      <c:pt idx="144">
                        <c:v>44066</c:v>
                      </c:pt>
                      <c:pt idx="145">
                        <c:v>44067</c:v>
                      </c:pt>
                      <c:pt idx="146">
                        <c:v>44068</c:v>
                      </c:pt>
                      <c:pt idx="147">
                        <c:v>44069</c:v>
                      </c:pt>
                      <c:pt idx="148">
                        <c:v>44070</c:v>
                      </c:pt>
                      <c:pt idx="149">
                        <c:v>44071</c:v>
                      </c:pt>
                      <c:pt idx="150">
                        <c:v>44072</c:v>
                      </c:pt>
                      <c:pt idx="151">
                        <c:v>44073</c:v>
                      </c:pt>
                      <c:pt idx="152">
                        <c:v>44074</c:v>
                      </c:pt>
                      <c:pt idx="153">
                        <c:v>44075</c:v>
                      </c:pt>
                      <c:pt idx="154">
                        <c:v>44076</c:v>
                      </c:pt>
                      <c:pt idx="155">
                        <c:v>44077</c:v>
                      </c:pt>
                      <c:pt idx="156">
                        <c:v>44078</c:v>
                      </c:pt>
                      <c:pt idx="157">
                        <c:v>44079</c:v>
                      </c:pt>
                      <c:pt idx="158">
                        <c:v>44080</c:v>
                      </c:pt>
                      <c:pt idx="159">
                        <c:v>44081</c:v>
                      </c:pt>
                      <c:pt idx="160">
                        <c:v>44082</c:v>
                      </c:pt>
                      <c:pt idx="161">
                        <c:v>44083</c:v>
                      </c:pt>
                      <c:pt idx="162">
                        <c:v>44084</c:v>
                      </c:pt>
                      <c:pt idx="163">
                        <c:v>44085</c:v>
                      </c:pt>
                      <c:pt idx="164">
                        <c:v>44086</c:v>
                      </c:pt>
                      <c:pt idx="165">
                        <c:v>44087</c:v>
                      </c:pt>
                      <c:pt idx="166">
                        <c:v>44088</c:v>
                      </c:pt>
                      <c:pt idx="167">
                        <c:v>44089</c:v>
                      </c:pt>
                      <c:pt idx="168">
                        <c:v>44090</c:v>
                      </c:pt>
                      <c:pt idx="169">
                        <c:v>44091</c:v>
                      </c:pt>
                      <c:pt idx="170">
                        <c:v>44092</c:v>
                      </c:pt>
                      <c:pt idx="171">
                        <c:v>44093</c:v>
                      </c:pt>
                      <c:pt idx="172">
                        <c:v>44094</c:v>
                      </c:pt>
                      <c:pt idx="173">
                        <c:v>44095</c:v>
                      </c:pt>
                      <c:pt idx="174">
                        <c:v>44096</c:v>
                      </c:pt>
                      <c:pt idx="175">
                        <c:v>44097</c:v>
                      </c:pt>
                      <c:pt idx="176">
                        <c:v>44098</c:v>
                      </c:pt>
                      <c:pt idx="177">
                        <c:v>44099</c:v>
                      </c:pt>
                      <c:pt idx="178">
                        <c:v>44100</c:v>
                      </c:pt>
                      <c:pt idx="179">
                        <c:v>44101</c:v>
                      </c:pt>
                      <c:pt idx="180">
                        <c:v>44102</c:v>
                      </c:pt>
                      <c:pt idx="181">
                        <c:v>44103</c:v>
                      </c:pt>
                      <c:pt idx="182">
                        <c:v>44104</c:v>
                      </c:pt>
                      <c:pt idx="183">
                        <c:v>44105</c:v>
                      </c:pt>
                      <c:pt idx="184">
                        <c:v>44106</c:v>
                      </c:pt>
                      <c:pt idx="185">
                        <c:v>44107</c:v>
                      </c:pt>
                      <c:pt idx="186">
                        <c:v>44108</c:v>
                      </c:pt>
                      <c:pt idx="187">
                        <c:v>44109</c:v>
                      </c:pt>
                      <c:pt idx="188">
                        <c:v>44110</c:v>
                      </c:pt>
                      <c:pt idx="189">
                        <c:v>44111</c:v>
                      </c:pt>
                      <c:pt idx="190">
                        <c:v>44112</c:v>
                      </c:pt>
                      <c:pt idx="191">
                        <c:v>44113</c:v>
                      </c:pt>
                      <c:pt idx="192">
                        <c:v>44114</c:v>
                      </c:pt>
                      <c:pt idx="193">
                        <c:v>44115</c:v>
                      </c:pt>
                      <c:pt idx="194">
                        <c:v>44116</c:v>
                      </c:pt>
                      <c:pt idx="195">
                        <c:v>44117</c:v>
                      </c:pt>
                      <c:pt idx="196">
                        <c:v>44118</c:v>
                      </c:pt>
                      <c:pt idx="197">
                        <c:v>44119</c:v>
                      </c:pt>
                      <c:pt idx="198">
                        <c:v>44120</c:v>
                      </c:pt>
                      <c:pt idx="199">
                        <c:v>44121</c:v>
                      </c:pt>
                      <c:pt idx="200">
                        <c:v>44122</c:v>
                      </c:pt>
                      <c:pt idx="201">
                        <c:v>44123</c:v>
                      </c:pt>
                      <c:pt idx="202">
                        <c:v>44124</c:v>
                      </c:pt>
                      <c:pt idx="203">
                        <c:v>44125</c:v>
                      </c:pt>
                      <c:pt idx="204">
                        <c:v>44126</c:v>
                      </c:pt>
                      <c:pt idx="205">
                        <c:v>44127</c:v>
                      </c:pt>
                      <c:pt idx="206">
                        <c:v>44128</c:v>
                      </c:pt>
                      <c:pt idx="207">
                        <c:v>44129</c:v>
                      </c:pt>
                      <c:pt idx="208">
                        <c:v>44130</c:v>
                      </c:pt>
                      <c:pt idx="209">
                        <c:v>44131</c:v>
                      </c:pt>
                      <c:pt idx="210">
                        <c:v>44132</c:v>
                      </c:pt>
                      <c:pt idx="211">
                        <c:v>44133</c:v>
                      </c:pt>
                      <c:pt idx="212">
                        <c:v>44134</c:v>
                      </c:pt>
                      <c:pt idx="213">
                        <c:v>44135</c:v>
                      </c:pt>
                      <c:pt idx="214">
                        <c:v>44136</c:v>
                      </c:pt>
                      <c:pt idx="215">
                        <c:v>44137</c:v>
                      </c:pt>
                      <c:pt idx="216">
                        <c:v>44138</c:v>
                      </c:pt>
                      <c:pt idx="217">
                        <c:v>44139</c:v>
                      </c:pt>
                      <c:pt idx="218">
                        <c:v>44140</c:v>
                      </c:pt>
                      <c:pt idx="219">
                        <c:v>44141</c:v>
                      </c:pt>
                      <c:pt idx="220">
                        <c:v>44142</c:v>
                      </c:pt>
                      <c:pt idx="221">
                        <c:v>44143</c:v>
                      </c:pt>
                      <c:pt idx="222">
                        <c:v>44144</c:v>
                      </c:pt>
                      <c:pt idx="223">
                        <c:v>44145</c:v>
                      </c:pt>
                      <c:pt idx="224">
                        <c:v>44146</c:v>
                      </c:pt>
                      <c:pt idx="225">
                        <c:v>44147</c:v>
                      </c:pt>
                      <c:pt idx="226">
                        <c:v>44148</c:v>
                      </c:pt>
                      <c:pt idx="227">
                        <c:v>44149</c:v>
                      </c:pt>
                      <c:pt idx="228">
                        <c:v>44150</c:v>
                      </c:pt>
                      <c:pt idx="229">
                        <c:v>44151</c:v>
                      </c:pt>
                      <c:pt idx="230">
                        <c:v>44152</c:v>
                      </c:pt>
                      <c:pt idx="231">
                        <c:v>44153</c:v>
                      </c:pt>
                      <c:pt idx="232">
                        <c:v>44154</c:v>
                      </c:pt>
                      <c:pt idx="233">
                        <c:v>44155</c:v>
                      </c:pt>
                      <c:pt idx="234">
                        <c:v>44156</c:v>
                      </c:pt>
                      <c:pt idx="235">
                        <c:v>44157</c:v>
                      </c:pt>
                      <c:pt idx="236">
                        <c:v>44158</c:v>
                      </c:pt>
                      <c:pt idx="237">
                        <c:v>44159</c:v>
                      </c:pt>
                      <c:pt idx="238">
                        <c:v>44160</c:v>
                      </c:pt>
                      <c:pt idx="239">
                        <c:v>44161</c:v>
                      </c:pt>
                      <c:pt idx="240">
                        <c:v>44162</c:v>
                      </c:pt>
                      <c:pt idx="241">
                        <c:v>44163</c:v>
                      </c:pt>
                      <c:pt idx="242">
                        <c:v>44164</c:v>
                      </c:pt>
                      <c:pt idx="243">
                        <c:v>44165</c:v>
                      </c:pt>
                      <c:pt idx="244">
                        <c:v>44166</c:v>
                      </c:pt>
                      <c:pt idx="245">
                        <c:v>44167</c:v>
                      </c:pt>
                      <c:pt idx="246">
                        <c:v>44168</c:v>
                      </c:pt>
                      <c:pt idx="247">
                        <c:v>44169</c:v>
                      </c:pt>
                      <c:pt idx="248">
                        <c:v>44170</c:v>
                      </c:pt>
                      <c:pt idx="249">
                        <c:v>44171</c:v>
                      </c:pt>
                      <c:pt idx="250">
                        <c:v>44172</c:v>
                      </c:pt>
                      <c:pt idx="251">
                        <c:v>44173</c:v>
                      </c:pt>
                      <c:pt idx="252">
                        <c:v>44174</c:v>
                      </c:pt>
                      <c:pt idx="253">
                        <c:v>44175</c:v>
                      </c:pt>
                      <c:pt idx="254">
                        <c:v>44176</c:v>
                      </c:pt>
                      <c:pt idx="255">
                        <c:v>44177</c:v>
                      </c:pt>
                      <c:pt idx="256">
                        <c:v>44178</c:v>
                      </c:pt>
                      <c:pt idx="257">
                        <c:v>44179</c:v>
                      </c:pt>
                      <c:pt idx="258">
                        <c:v>44180</c:v>
                      </c:pt>
                      <c:pt idx="259">
                        <c:v>44181</c:v>
                      </c:pt>
                      <c:pt idx="260">
                        <c:v>44182</c:v>
                      </c:pt>
                      <c:pt idx="261">
                        <c:v>44183</c:v>
                      </c:pt>
                      <c:pt idx="262">
                        <c:v>44184</c:v>
                      </c:pt>
                      <c:pt idx="263">
                        <c:v>44185</c:v>
                      </c:pt>
                      <c:pt idx="264">
                        <c:v>44186</c:v>
                      </c:pt>
                      <c:pt idx="265">
                        <c:v>44187</c:v>
                      </c:pt>
                      <c:pt idx="266">
                        <c:v>44188</c:v>
                      </c:pt>
                      <c:pt idx="267">
                        <c:v>44189</c:v>
                      </c:pt>
                      <c:pt idx="268">
                        <c:v>44190</c:v>
                      </c:pt>
                      <c:pt idx="269">
                        <c:v>44191</c:v>
                      </c:pt>
                      <c:pt idx="270">
                        <c:v>44192</c:v>
                      </c:pt>
                      <c:pt idx="271">
                        <c:v>44193</c:v>
                      </c:pt>
                      <c:pt idx="272">
                        <c:v>44194</c:v>
                      </c:pt>
                      <c:pt idx="273">
                        <c:v>44195</c:v>
                      </c:pt>
                      <c:pt idx="274">
                        <c:v>44196</c:v>
                      </c:pt>
                      <c:pt idx="275">
                        <c:v>44197</c:v>
                      </c:pt>
                      <c:pt idx="276">
                        <c:v>44198</c:v>
                      </c:pt>
                      <c:pt idx="277">
                        <c:v>44199</c:v>
                      </c:pt>
                      <c:pt idx="278">
                        <c:v>44200</c:v>
                      </c:pt>
                      <c:pt idx="279">
                        <c:v>44201</c:v>
                      </c:pt>
                      <c:pt idx="280">
                        <c:v>44202</c:v>
                      </c:pt>
                      <c:pt idx="281">
                        <c:v>44203</c:v>
                      </c:pt>
                      <c:pt idx="282">
                        <c:v>44204</c:v>
                      </c:pt>
                      <c:pt idx="283">
                        <c:v>44205</c:v>
                      </c:pt>
                      <c:pt idx="284">
                        <c:v>44206</c:v>
                      </c:pt>
                      <c:pt idx="285">
                        <c:v>44207</c:v>
                      </c:pt>
                      <c:pt idx="286">
                        <c:v>44208</c:v>
                      </c:pt>
                      <c:pt idx="287">
                        <c:v>44209</c:v>
                      </c:pt>
                      <c:pt idx="288">
                        <c:v>44210</c:v>
                      </c:pt>
                      <c:pt idx="289">
                        <c:v>44211</c:v>
                      </c:pt>
                      <c:pt idx="290">
                        <c:v>44212</c:v>
                      </c:pt>
                      <c:pt idx="291">
                        <c:v>44213</c:v>
                      </c:pt>
                      <c:pt idx="292">
                        <c:v>44214</c:v>
                      </c:pt>
                      <c:pt idx="293">
                        <c:v>44215</c:v>
                      </c:pt>
                      <c:pt idx="294">
                        <c:v>44216</c:v>
                      </c:pt>
                      <c:pt idx="295">
                        <c:v>44217</c:v>
                      </c:pt>
                      <c:pt idx="296">
                        <c:v>44218</c:v>
                      </c:pt>
                      <c:pt idx="297">
                        <c:v>44219</c:v>
                      </c:pt>
                      <c:pt idx="298">
                        <c:v>44220</c:v>
                      </c:pt>
                      <c:pt idx="299">
                        <c:v>44221</c:v>
                      </c:pt>
                      <c:pt idx="300">
                        <c:v>44222</c:v>
                      </c:pt>
                      <c:pt idx="301">
                        <c:v>44223</c:v>
                      </c:pt>
                      <c:pt idx="302">
                        <c:v>44224</c:v>
                      </c:pt>
                      <c:pt idx="303">
                        <c:v>44225</c:v>
                      </c:pt>
                      <c:pt idx="304">
                        <c:v>44226</c:v>
                      </c:pt>
                      <c:pt idx="305">
                        <c:v>44227</c:v>
                      </c:pt>
                      <c:pt idx="306">
                        <c:v>44228</c:v>
                      </c:pt>
                      <c:pt idx="307">
                        <c:v>44229</c:v>
                      </c:pt>
                      <c:pt idx="308">
                        <c:v>44230</c:v>
                      </c:pt>
                      <c:pt idx="309">
                        <c:v>44231</c:v>
                      </c:pt>
                      <c:pt idx="310">
                        <c:v>44232</c:v>
                      </c:pt>
                      <c:pt idx="311">
                        <c:v>44233</c:v>
                      </c:pt>
                      <c:pt idx="312">
                        <c:v>44234</c:v>
                      </c:pt>
                      <c:pt idx="313">
                        <c:v>44235</c:v>
                      </c:pt>
                      <c:pt idx="314">
                        <c:v>44236</c:v>
                      </c:pt>
                      <c:pt idx="315">
                        <c:v>44237</c:v>
                      </c:pt>
                      <c:pt idx="316">
                        <c:v>44238</c:v>
                      </c:pt>
                      <c:pt idx="317">
                        <c:v>44239</c:v>
                      </c:pt>
                      <c:pt idx="318">
                        <c:v>44240</c:v>
                      </c:pt>
                      <c:pt idx="319">
                        <c:v>44241</c:v>
                      </c:pt>
                      <c:pt idx="320">
                        <c:v>44242</c:v>
                      </c:pt>
                      <c:pt idx="321">
                        <c:v>44243</c:v>
                      </c:pt>
                      <c:pt idx="322">
                        <c:v>44244</c:v>
                      </c:pt>
                      <c:pt idx="323">
                        <c:v>44245</c:v>
                      </c:pt>
                      <c:pt idx="324">
                        <c:v>44246</c:v>
                      </c:pt>
                      <c:pt idx="325">
                        <c:v>44247</c:v>
                      </c:pt>
                      <c:pt idx="326">
                        <c:v>44248</c:v>
                      </c:pt>
                      <c:pt idx="327">
                        <c:v>44249</c:v>
                      </c:pt>
                      <c:pt idx="328">
                        <c:v>44250</c:v>
                      </c:pt>
                      <c:pt idx="329">
                        <c:v>44251</c:v>
                      </c:pt>
                      <c:pt idx="330">
                        <c:v>44252</c:v>
                      </c:pt>
                      <c:pt idx="331">
                        <c:v>44253</c:v>
                      </c:pt>
                      <c:pt idx="332">
                        <c:v>44254</c:v>
                      </c:pt>
                      <c:pt idx="333">
                        <c:v>44255</c:v>
                      </c:pt>
                      <c:pt idx="334">
                        <c:v>44256</c:v>
                      </c:pt>
                      <c:pt idx="335">
                        <c:v>44257</c:v>
                      </c:pt>
                      <c:pt idx="336">
                        <c:v>44258</c:v>
                      </c:pt>
                      <c:pt idx="337">
                        <c:v>44259</c:v>
                      </c:pt>
                      <c:pt idx="338">
                        <c:v>44260</c:v>
                      </c:pt>
                      <c:pt idx="339">
                        <c:v>44261</c:v>
                      </c:pt>
                      <c:pt idx="340">
                        <c:v>44262</c:v>
                      </c:pt>
                      <c:pt idx="341">
                        <c:v>44263</c:v>
                      </c:pt>
                      <c:pt idx="342">
                        <c:v>44264</c:v>
                      </c:pt>
                      <c:pt idx="343">
                        <c:v>44265</c:v>
                      </c:pt>
                      <c:pt idx="344">
                        <c:v>44266</c:v>
                      </c:pt>
                      <c:pt idx="345">
                        <c:v>44267</c:v>
                      </c:pt>
                      <c:pt idx="346">
                        <c:v>44268</c:v>
                      </c:pt>
                      <c:pt idx="347">
                        <c:v>44269</c:v>
                      </c:pt>
                      <c:pt idx="348">
                        <c:v>44270</c:v>
                      </c:pt>
                      <c:pt idx="349">
                        <c:v>44271</c:v>
                      </c:pt>
                      <c:pt idx="350">
                        <c:v>44272</c:v>
                      </c:pt>
                      <c:pt idx="351">
                        <c:v>44273</c:v>
                      </c:pt>
                      <c:pt idx="352">
                        <c:v>44274</c:v>
                      </c:pt>
                      <c:pt idx="353">
                        <c:v>44275</c:v>
                      </c:pt>
                      <c:pt idx="354">
                        <c:v>44276</c:v>
                      </c:pt>
                      <c:pt idx="355">
                        <c:v>44277</c:v>
                      </c:pt>
                      <c:pt idx="356">
                        <c:v>44278</c:v>
                      </c:pt>
                      <c:pt idx="357">
                        <c:v>44279</c:v>
                      </c:pt>
                      <c:pt idx="358">
                        <c:v>44280</c:v>
                      </c:pt>
                      <c:pt idx="359">
                        <c:v>44281</c:v>
                      </c:pt>
                      <c:pt idx="360">
                        <c:v>44282</c:v>
                      </c:pt>
                      <c:pt idx="361">
                        <c:v>44283</c:v>
                      </c:pt>
                      <c:pt idx="362">
                        <c:v>44284</c:v>
                      </c:pt>
                      <c:pt idx="363">
                        <c:v>44285</c:v>
                      </c:pt>
                      <c:pt idx="364">
                        <c:v>44286</c:v>
                      </c:pt>
                      <c:pt idx="365">
                        <c:v>44287</c:v>
                      </c:pt>
                      <c:pt idx="366">
                        <c:v>44288</c:v>
                      </c:pt>
                      <c:pt idx="367">
                        <c:v>44289</c:v>
                      </c:pt>
                      <c:pt idx="368">
                        <c:v>44290</c:v>
                      </c:pt>
                      <c:pt idx="369">
                        <c:v>44291</c:v>
                      </c:pt>
                      <c:pt idx="370">
                        <c:v>44292</c:v>
                      </c:pt>
                      <c:pt idx="371">
                        <c:v>44293</c:v>
                      </c:pt>
                      <c:pt idx="372">
                        <c:v>44294</c:v>
                      </c:pt>
                      <c:pt idx="373">
                        <c:v>44295</c:v>
                      </c:pt>
                      <c:pt idx="374">
                        <c:v>44296</c:v>
                      </c:pt>
                      <c:pt idx="375">
                        <c:v>44297</c:v>
                      </c:pt>
                      <c:pt idx="376">
                        <c:v>44298</c:v>
                      </c:pt>
                      <c:pt idx="377">
                        <c:v>44299</c:v>
                      </c:pt>
                      <c:pt idx="378">
                        <c:v>44300</c:v>
                      </c:pt>
                      <c:pt idx="379">
                        <c:v>44301</c:v>
                      </c:pt>
                      <c:pt idx="380">
                        <c:v>44302</c:v>
                      </c:pt>
                      <c:pt idx="381">
                        <c:v>44303</c:v>
                      </c:pt>
                      <c:pt idx="382">
                        <c:v>44304</c:v>
                      </c:pt>
                      <c:pt idx="383">
                        <c:v>44305</c:v>
                      </c:pt>
                      <c:pt idx="384">
                        <c:v>44306</c:v>
                      </c:pt>
                      <c:pt idx="385">
                        <c:v>44307</c:v>
                      </c:pt>
                      <c:pt idx="386">
                        <c:v>44308</c:v>
                      </c:pt>
                      <c:pt idx="387">
                        <c:v>44309</c:v>
                      </c:pt>
                      <c:pt idx="388">
                        <c:v>44310</c:v>
                      </c:pt>
                      <c:pt idx="389">
                        <c:v>44311</c:v>
                      </c:pt>
                      <c:pt idx="390">
                        <c:v>44312</c:v>
                      </c:pt>
                      <c:pt idx="391">
                        <c:v>44313</c:v>
                      </c:pt>
                      <c:pt idx="392">
                        <c:v>44314</c:v>
                      </c:pt>
                      <c:pt idx="393">
                        <c:v>44315</c:v>
                      </c:pt>
                      <c:pt idx="394">
                        <c:v>44316</c:v>
                      </c:pt>
                      <c:pt idx="395">
                        <c:v>44317</c:v>
                      </c:pt>
                      <c:pt idx="396">
                        <c:v>44318</c:v>
                      </c:pt>
                      <c:pt idx="397">
                        <c:v>44319</c:v>
                      </c:pt>
                      <c:pt idx="398">
                        <c:v>44320</c:v>
                      </c:pt>
                      <c:pt idx="399">
                        <c:v>44321</c:v>
                      </c:pt>
                      <c:pt idx="400">
                        <c:v>44322</c:v>
                      </c:pt>
                      <c:pt idx="401">
                        <c:v>44323</c:v>
                      </c:pt>
                      <c:pt idx="402">
                        <c:v>44324</c:v>
                      </c:pt>
                      <c:pt idx="403">
                        <c:v>44325</c:v>
                      </c:pt>
                      <c:pt idx="404">
                        <c:v>44326</c:v>
                      </c:pt>
                      <c:pt idx="405">
                        <c:v>44327</c:v>
                      </c:pt>
                      <c:pt idx="406">
                        <c:v>44328</c:v>
                      </c:pt>
                      <c:pt idx="407">
                        <c:v>44329</c:v>
                      </c:pt>
                      <c:pt idx="408">
                        <c:v>44330</c:v>
                      </c:pt>
                      <c:pt idx="409">
                        <c:v>44331</c:v>
                      </c:pt>
                      <c:pt idx="410">
                        <c:v>44332</c:v>
                      </c:pt>
                      <c:pt idx="411">
                        <c:v>44333</c:v>
                      </c:pt>
                      <c:pt idx="412">
                        <c:v>44334</c:v>
                      </c:pt>
                      <c:pt idx="413">
                        <c:v>44335</c:v>
                      </c:pt>
                      <c:pt idx="414">
                        <c:v>44336</c:v>
                      </c:pt>
                      <c:pt idx="415">
                        <c:v>44337</c:v>
                      </c:pt>
                      <c:pt idx="416">
                        <c:v>44338</c:v>
                      </c:pt>
                      <c:pt idx="417">
                        <c:v>44339</c:v>
                      </c:pt>
                      <c:pt idx="418">
                        <c:v>44340</c:v>
                      </c:pt>
                      <c:pt idx="419">
                        <c:v>44341</c:v>
                      </c:pt>
                      <c:pt idx="420">
                        <c:v>44342</c:v>
                      </c:pt>
                      <c:pt idx="421">
                        <c:v>44343</c:v>
                      </c:pt>
                      <c:pt idx="422">
                        <c:v>44344</c:v>
                      </c:pt>
                      <c:pt idx="423">
                        <c:v>44345</c:v>
                      </c:pt>
                      <c:pt idx="424">
                        <c:v>44346</c:v>
                      </c:pt>
                      <c:pt idx="425">
                        <c:v>44347</c:v>
                      </c:pt>
                      <c:pt idx="426">
                        <c:v>44348</c:v>
                      </c:pt>
                      <c:pt idx="427">
                        <c:v>44349</c:v>
                      </c:pt>
                      <c:pt idx="428">
                        <c:v>44350</c:v>
                      </c:pt>
                      <c:pt idx="429">
                        <c:v>44351</c:v>
                      </c:pt>
                      <c:pt idx="430">
                        <c:v>44352</c:v>
                      </c:pt>
                      <c:pt idx="431">
                        <c:v>44353</c:v>
                      </c:pt>
                      <c:pt idx="432">
                        <c:v>44354</c:v>
                      </c:pt>
                      <c:pt idx="433">
                        <c:v>44355</c:v>
                      </c:pt>
                      <c:pt idx="434">
                        <c:v>44356</c:v>
                      </c:pt>
                      <c:pt idx="435">
                        <c:v>44357</c:v>
                      </c:pt>
                      <c:pt idx="436">
                        <c:v>44358</c:v>
                      </c:pt>
                      <c:pt idx="437">
                        <c:v>44359</c:v>
                      </c:pt>
                      <c:pt idx="438">
                        <c:v>44360</c:v>
                      </c:pt>
                      <c:pt idx="439">
                        <c:v>44361</c:v>
                      </c:pt>
                      <c:pt idx="440">
                        <c:v>44362</c:v>
                      </c:pt>
                      <c:pt idx="441">
                        <c:v>44363</c:v>
                      </c:pt>
                      <c:pt idx="442">
                        <c:v>44364</c:v>
                      </c:pt>
                      <c:pt idx="443">
                        <c:v>44365</c:v>
                      </c:pt>
                      <c:pt idx="444">
                        <c:v>44366</c:v>
                      </c:pt>
                      <c:pt idx="445">
                        <c:v>44367</c:v>
                      </c:pt>
                      <c:pt idx="446">
                        <c:v>44368</c:v>
                      </c:pt>
                      <c:pt idx="447">
                        <c:v>44369</c:v>
                      </c:pt>
                      <c:pt idx="448">
                        <c:v>44370</c:v>
                      </c:pt>
                      <c:pt idx="449">
                        <c:v>44371</c:v>
                      </c:pt>
                      <c:pt idx="450">
                        <c:v>44372</c:v>
                      </c:pt>
                      <c:pt idx="451">
                        <c:v>44373</c:v>
                      </c:pt>
                      <c:pt idx="452">
                        <c:v>44374</c:v>
                      </c:pt>
                      <c:pt idx="453">
                        <c:v>44375</c:v>
                      </c:pt>
                      <c:pt idx="454">
                        <c:v>44376</c:v>
                      </c:pt>
                      <c:pt idx="455">
                        <c:v>44377</c:v>
                      </c:pt>
                      <c:pt idx="456">
                        <c:v>44378</c:v>
                      </c:pt>
                      <c:pt idx="457">
                        <c:v>44379</c:v>
                      </c:pt>
                      <c:pt idx="458">
                        <c:v>44380</c:v>
                      </c:pt>
                      <c:pt idx="459">
                        <c:v>44381</c:v>
                      </c:pt>
                      <c:pt idx="460">
                        <c:v>44382</c:v>
                      </c:pt>
                      <c:pt idx="461">
                        <c:v>44383</c:v>
                      </c:pt>
                      <c:pt idx="462">
                        <c:v>44384</c:v>
                      </c:pt>
                      <c:pt idx="463">
                        <c:v>44385</c:v>
                      </c:pt>
                      <c:pt idx="464">
                        <c:v>44386</c:v>
                      </c:pt>
                      <c:pt idx="465">
                        <c:v>44387</c:v>
                      </c:pt>
                      <c:pt idx="466">
                        <c:v>44388</c:v>
                      </c:pt>
                      <c:pt idx="467">
                        <c:v>44389</c:v>
                      </c:pt>
                      <c:pt idx="468">
                        <c:v>44390</c:v>
                      </c:pt>
                      <c:pt idx="469">
                        <c:v>44391</c:v>
                      </c:pt>
                      <c:pt idx="470">
                        <c:v>44392</c:v>
                      </c:pt>
                      <c:pt idx="471">
                        <c:v>44393</c:v>
                      </c:pt>
                      <c:pt idx="472">
                        <c:v>44394</c:v>
                      </c:pt>
                      <c:pt idx="473">
                        <c:v>44395</c:v>
                      </c:pt>
                      <c:pt idx="474">
                        <c:v>44396</c:v>
                      </c:pt>
                      <c:pt idx="475">
                        <c:v>44397</c:v>
                      </c:pt>
                      <c:pt idx="476">
                        <c:v>44398</c:v>
                      </c:pt>
                      <c:pt idx="477">
                        <c:v>44399</c:v>
                      </c:pt>
                      <c:pt idx="478">
                        <c:v>44400</c:v>
                      </c:pt>
                      <c:pt idx="479">
                        <c:v>44401</c:v>
                      </c:pt>
                      <c:pt idx="480">
                        <c:v>44402</c:v>
                      </c:pt>
                      <c:pt idx="481">
                        <c:v>44403</c:v>
                      </c:pt>
                      <c:pt idx="482">
                        <c:v>44404</c:v>
                      </c:pt>
                      <c:pt idx="483">
                        <c:v>44405</c:v>
                      </c:pt>
                      <c:pt idx="484">
                        <c:v>44406</c:v>
                      </c:pt>
                      <c:pt idx="485">
                        <c:v>44407</c:v>
                      </c:pt>
                      <c:pt idx="486">
                        <c:v>44408</c:v>
                      </c:pt>
                      <c:pt idx="487">
                        <c:v>44409</c:v>
                      </c:pt>
                      <c:pt idx="488">
                        <c:v>44410</c:v>
                      </c:pt>
                      <c:pt idx="489">
                        <c:v>44411</c:v>
                      </c:pt>
                      <c:pt idx="490">
                        <c:v>44412</c:v>
                      </c:pt>
                      <c:pt idx="491">
                        <c:v>44413</c:v>
                      </c:pt>
                      <c:pt idx="492">
                        <c:v>44414</c:v>
                      </c:pt>
                      <c:pt idx="493">
                        <c:v>44415</c:v>
                      </c:pt>
                      <c:pt idx="494">
                        <c:v>44416</c:v>
                      </c:pt>
                      <c:pt idx="495">
                        <c:v>44417</c:v>
                      </c:pt>
                      <c:pt idx="496">
                        <c:v>44418</c:v>
                      </c:pt>
                      <c:pt idx="497">
                        <c:v>44419</c:v>
                      </c:pt>
                      <c:pt idx="498">
                        <c:v>44420</c:v>
                      </c:pt>
                      <c:pt idx="499">
                        <c:v>44421</c:v>
                      </c:pt>
                      <c:pt idx="500">
                        <c:v>44422</c:v>
                      </c:pt>
                      <c:pt idx="501">
                        <c:v>44423</c:v>
                      </c:pt>
                      <c:pt idx="502">
                        <c:v>44424</c:v>
                      </c:pt>
                      <c:pt idx="503">
                        <c:v>44425</c:v>
                      </c:pt>
                      <c:pt idx="504">
                        <c:v>44426</c:v>
                      </c:pt>
                    </c:numCache>
                  </c:numRef>
                </c:cat>
                <c:val>
                  <c:numRef>
                    <c:extLst xmlns:c15="http://schemas.microsoft.com/office/drawing/2012/chart">
                      <c:ext xmlns:c15="http://schemas.microsoft.com/office/drawing/2012/chart" uri="{02D57815-91ED-43cb-92C2-25804820EDAC}">
                        <c15:formulaRef>
                          <c15:sqref>'Costa Rica'!$D$94:$D$371</c15:sqref>
                        </c15:formulaRef>
                      </c:ext>
                    </c:extLst>
                    <c:numCache>
                      <c:formatCode>General</c:formatCode>
                      <c:ptCount val="278"/>
                      <c:pt idx="0">
                        <c:v>28</c:v>
                      </c:pt>
                      <c:pt idx="1">
                        <c:v>21</c:v>
                      </c:pt>
                      <c:pt idx="2">
                        <c:v>20</c:v>
                      </c:pt>
                      <c:pt idx="3">
                        <c:v>19</c:v>
                      </c:pt>
                      <c:pt idx="4">
                        <c:v>19</c:v>
                      </c:pt>
                      <c:pt idx="5">
                        <c:v>13</c:v>
                      </c:pt>
                      <c:pt idx="6">
                        <c:v>16</c:v>
                      </c:pt>
                      <c:pt idx="7">
                        <c:v>19</c:v>
                      </c:pt>
                      <c:pt idx="8">
                        <c:v>37</c:v>
                      </c:pt>
                      <c:pt idx="9">
                        <c:v>19</c:v>
                      </c:pt>
                      <c:pt idx="10">
                        <c:v>19</c:v>
                      </c:pt>
                      <c:pt idx="11">
                        <c:v>18</c:v>
                      </c:pt>
                      <c:pt idx="12">
                        <c:v>17</c:v>
                      </c:pt>
                      <c:pt idx="13">
                        <c:v>6</c:v>
                      </c:pt>
                      <c:pt idx="14">
                        <c:v>8</c:v>
                      </c:pt>
                      <c:pt idx="15">
                        <c:v>16</c:v>
                      </c:pt>
                      <c:pt idx="16">
                        <c:v>7</c:v>
                      </c:pt>
                      <c:pt idx="17">
                        <c:v>6</c:v>
                      </c:pt>
                      <c:pt idx="18">
                        <c:v>5</c:v>
                      </c:pt>
                      <c:pt idx="19">
                        <c:v>2</c:v>
                      </c:pt>
                      <c:pt idx="20">
                        <c:v>7</c:v>
                      </c:pt>
                      <c:pt idx="21">
                        <c:v>12</c:v>
                      </c:pt>
                      <c:pt idx="22">
                        <c:v>5</c:v>
                      </c:pt>
                      <c:pt idx="23">
                        <c:v>1</c:v>
                      </c:pt>
                      <c:pt idx="24">
                        <c:v>6</c:v>
                      </c:pt>
                      <c:pt idx="25">
                        <c:v>2</c:v>
                      </c:pt>
                      <c:pt idx="26">
                        <c:v>2</c:v>
                      </c:pt>
                      <c:pt idx="27">
                        <c:v>8</c:v>
                      </c:pt>
                      <c:pt idx="28">
                        <c:v>8</c:v>
                      </c:pt>
                      <c:pt idx="29">
                        <c:v>6</c:v>
                      </c:pt>
                      <c:pt idx="30">
                        <c:v>6</c:v>
                      </c:pt>
                      <c:pt idx="31">
                        <c:v>8</c:v>
                      </c:pt>
                      <c:pt idx="32">
                        <c:v>6</c:v>
                      </c:pt>
                      <c:pt idx="33">
                        <c:v>3</c:v>
                      </c:pt>
                      <c:pt idx="34">
                        <c:v>13</c:v>
                      </c:pt>
                      <c:pt idx="35">
                        <c:v>6</c:v>
                      </c:pt>
                      <c:pt idx="36">
                        <c:v>4</c:v>
                      </c:pt>
                      <c:pt idx="37">
                        <c:v>8</c:v>
                      </c:pt>
                      <c:pt idx="38">
                        <c:v>7</c:v>
                      </c:pt>
                      <c:pt idx="39">
                        <c:v>12</c:v>
                      </c:pt>
                      <c:pt idx="40">
                        <c:v>9</c:v>
                      </c:pt>
                      <c:pt idx="41">
                        <c:v>3</c:v>
                      </c:pt>
                      <c:pt idx="42">
                        <c:v>11</c:v>
                      </c:pt>
                      <c:pt idx="43">
                        <c:v>15</c:v>
                      </c:pt>
                      <c:pt idx="44">
                        <c:v>13</c:v>
                      </c:pt>
                      <c:pt idx="45">
                        <c:v>10</c:v>
                      </c:pt>
                      <c:pt idx="46">
                        <c:v>10</c:v>
                      </c:pt>
                      <c:pt idx="47">
                        <c:v>3</c:v>
                      </c:pt>
                      <c:pt idx="48">
                        <c:v>16</c:v>
                      </c:pt>
                      <c:pt idx="49">
                        <c:v>15</c:v>
                      </c:pt>
                      <c:pt idx="50">
                        <c:v>6</c:v>
                      </c:pt>
                      <c:pt idx="51">
                        <c:v>8</c:v>
                      </c:pt>
                      <c:pt idx="52">
                        <c:v>7</c:v>
                      </c:pt>
                      <c:pt idx="53">
                        <c:v>12</c:v>
                      </c:pt>
                      <c:pt idx="54">
                        <c:v>21</c:v>
                      </c:pt>
                      <c:pt idx="55">
                        <c:v>5</c:v>
                      </c:pt>
                      <c:pt idx="56">
                        <c:v>28</c:v>
                      </c:pt>
                      <c:pt idx="57">
                        <c:v>16</c:v>
                      </c:pt>
                      <c:pt idx="58">
                        <c:v>22</c:v>
                      </c:pt>
                      <c:pt idx="59">
                        <c:v>25</c:v>
                      </c:pt>
                      <c:pt idx="60">
                        <c:v>9</c:v>
                      </c:pt>
                      <c:pt idx="61">
                        <c:v>28</c:v>
                      </c:pt>
                      <c:pt idx="62">
                        <c:v>21</c:v>
                      </c:pt>
                      <c:pt idx="63">
                        <c:v>52</c:v>
                      </c:pt>
                      <c:pt idx="64">
                        <c:v>37</c:v>
                      </c:pt>
                      <c:pt idx="65">
                        <c:v>34</c:v>
                      </c:pt>
                      <c:pt idx="66">
                        <c:v>35</c:v>
                      </c:pt>
                      <c:pt idx="67">
                        <c:v>55</c:v>
                      </c:pt>
                      <c:pt idx="68">
                        <c:v>24</c:v>
                      </c:pt>
                      <c:pt idx="69">
                        <c:v>33</c:v>
                      </c:pt>
                      <c:pt idx="70">
                        <c:v>86</c:v>
                      </c:pt>
                      <c:pt idx="71">
                        <c:v>77</c:v>
                      </c:pt>
                      <c:pt idx="72">
                        <c:v>74</c:v>
                      </c:pt>
                      <c:pt idx="73">
                        <c:v>50</c:v>
                      </c:pt>
                      <c:pt idx="74">
                        <c:v>53</c:v>
                      </c:pt>
                      <c:pt idx="75">
                        <c:v>29</c:v>
                      </c:pt>
                      <c:pt idx="76">
                        <c:v>52</c:v>
                      </c:pt>
                      <c:pt idx="77">
                        <c:v>75</c:v>
                      </c:pt>
                      <c:pt idx="78">
                        <c:v>68</c:v>
                      </c:pt>
                      <c:pt idx="79">
                        <c:v>119</c:v>
                      </c:pt>
                      <c:pt idx="80">
                        <c:v>69</c:v>
                      </c:pt>
                      <c:pt idx="81">
                        <c:v>86</c:v>
                      </c:pt>
                      <c:pt idx="82">
                        <c:v>64</c:v>
                      </c:pt>
                      <c:pt idx="83">
                        <c:v>91</c:v>
                      </c:pt>
                      <c:pt idx="84">
                        <c:v>147</c:v>
                      </c:pt>
                      <c:pt idx="85">
                        <c:v>169</c:v>
                      </c:pt>
                      <c:pt idx="86">
                        <c:v>152</c:v>
                      </c:pt>
                      <c:pt idx="87">
                        <c:v>143</c:v>
                      </c:pt>
                      <c:pt idx="88">
                        <c:v>151</c:v>
                      </c:pt>
                      <c:pt idx="89">
                        <c:v>139</c:v>
                      </c:pt>
                      <c:pt idx="90">
                        <c:v>190</c:v>
                      </c:pt>
                      <c:pt idx="91">
                        <c:v>294</c:v>
                      </c:pt>
                      <c:pt idx="92">
                        <c:v>270</c:v>
                      </c:pt>
                      <c:pt idx="93">
                        <c:v>288</c:v>
                      </c:pt>
                      <c:pt idx="94">
                        <c:v>310</c:v>
                      </c:pt>
                      <c:pt idx="95">
                        <c:v>375</c:v>
                      </c:pt>
                      <c:pt idx="96">
                        <c:v>245</c:v>
                      </c:pt>
                      <c:pt idx="97">
                        <c:v>245</c:v>
                      </c:pt>
                      <c:pt idx="98">
                        <c:v>350</c:v>
                      </c:pt>
                      <c:pt idx="99">
                        <c:v>649</c:v>
                      </c:pt>
                      <c:pt idx="100">
                        <c:v>360</c:v>
                      </c:pt>
                      <c:pt idx="101">
                        <c:v>386</c:v>
                      </c:pt>
                      <c:pt idx="102">
                        <c:v>365</c:v>
                      </c:pt>
                      <c:pt idx="103">
                        <c:v>440</c:v>
                      </c:pt>
                      <c:pt idx="104">
                        <c:v>446</c:v>
                      </c:pt>
                      <c:pt idx="105">
                        <c:v>504</c:v>
                      </c:pt>
                      <c:pt idx="106">
                        <c:v>560</c:v>
                      </c:pt>
                      <c:pt idx="107">
                        <c:v>423</c:v>
                      </c:pt>
                      <c:pt idx="108">
                        <c:v>582</c:v>
                      </c:pt>
                      <c:pt idx="109">
                        <c:v>563</c:v>
                      </c:pt>
                      <c:pt idx="110">
                        <c:v>420</c:v>
                      </c:pt>
                      <c:pt idx="111">
                        <c:v>277</c:v>
                      </c:pt>
                      <c:pt idx="112">
                        <c:v>550</c:v>
                      </c:pt>
                      <c:pt idx="113">
                        <c:v>768</c:v>
                      </c:pt>
                      <c:pt idx="114">
                        <c:v>540</c:v>
                      </c:pt>
                      <c:pt idx="115">
                        <c:v>931</c:v>
                      </c:pt>
                      <c:pt idx="116">
                        <c:v>629</c:v>
                      </c:pt>
                      <c:pt idx="117">
                        <c:v>612</c:v>
                      </c:pt>
                      <c:pt idx="118">
                        <c:v>503</c:v>
                      </c:pt>
                      <c:pt idx="119">
                        <c:v>456</c:v>
                      </c:pt>
                      <c:pt idx="120">
                        <c:v>490</c:v>
                      </c:pt>
                      <c:pt idx="121">
                        <c:v>530</c:v>
                      </c:pt>
                      <c:pt idx="122">
                        <c:v>367</c:v>
                      </c:pt>
                      <c:pt idx="123">
                        <c:v>788</c:v>
                      </c:pt>
                      <c:pt idx="124">
                        <c:v>427</c:v>
                      </c:pt>
                      <c:pt idx="125">
                        <c:v>435</c:v>
                      </c:pt>
                      <c:pt idx="126">
                        <c:v>580</c:v>
                      </c:pt>
                      <c:pt idx="127">
                        <c:v>653</c:v>
                      </c:pt>
                      <c:pt idx="128">
                        <c:v>1011</c:v>
                      </c:pt>
                      <c:pt idx="129">
                        <c:v>721</c:v>
                      </c:pt>
                      <c:pt idx="130">
                        <c:v>484</c:v>
                      </c:pt>
                      <c:pt idx="131">
                        <c:v>586</c:v>
                      </c:pt>
                      <c:pt idx="132">
                        <c:v>636</c:v>
                      </c:pt>
                      <c:pt idx="133">
                        <c:v>549</c:v>
                      </c:pt>
                      <c:pt idx="134">
                        <c:v>1072</c:v>
                      </c:pt>
                      <c:pt idx="135">
                        <c:v>802</c:v>
                      </c:pt>
                      <c:pt idx="136">
                        <c:v>806</c:v>
                      </c:pt>
                      <c:pt idx="137">
                        <c:v>728</c:v>
                      </c:pt>
                      <c:pt idx="138">
                        <c:v>619</c:v>
                      </c:pt>
                      <c:pt idx="139">
                        <c:v>559</c:v>
                      </c:pt>
                      <c:pt idx="140">
                        <c:v>766</c:v>
                      </c:pt>
                      <c:pt idx="141">
                        <c:v>666</c:v>
                      </c:pt>
                      <c:pt idx="142">
                        <c:v>1059</c:v>
                      </c:pt>
                      <c:pt idx="143">
                        <c:v>950</c:v>
                      </c:pt>
                      <c:pt idx="144">
                        <c:v>736</c:v>
                      </c:pt>
                      <c:pt idx="145">
                        <c:v>643</c:v>
                      </c:pt>
                      <c:pt idx="146">
                        <c:v>842</c:v>
                      </c:pt>
                      <c:pt idx="147">
                        <c:v>1002</c:v>
                      </c:pt>
                      <c:pt idx="148">
                        <c:v>985</c:v>
                      </c:pt>
                      <c:pt idx="149">
                        <c:v>1193</c:v>
                      </c:pt>
                      <c:pt idx="150">
                        <c:v>1214</c:v>
                      </c:pt>
                      <c:pt idx="151">
                        <c:v>0</c:v>
                      </c:pt>
                      <c:pt idx="152">
                        <c:v>1588</c:v>
                      </c:pt>
                      <c:pt idx="153">
                        <c:v>897</c:v>
                      </c:pt>
                      <c:pt idx="154">
                        <c:v>1121</c:v>
                      </c:pt>
                      <c:pt idx="155">
                        <c:v>1153</c:v>
                      </c:pt>
                      <c:pt idx="156">
                        <c:v>1222</c:v>
                      </c:pt>
                      <c:pt idx="157">
                        <c:v>1240</c:v>
                      </c:pt>
                      <c:pt idx="158">
                        <c:v>0</c:v>
                      </c:pt>
                      <c:pt idx="159">
                        <c:v>1860</c:v>
                      </c:pt>
                      <c:pt idx="160">
                        <c:v>1117</c:v>
                      </c:pt>
                      <c:pt idx="161">
                        <c:v>1327</c:v>
                      </c:pt>
                      <c:pt idx="162">
                        <c:v>1325</c:v>
                      </c:pt>
                      <c:pt idx="163">
                        <c:v>1420</c:v>
                      </c:pt>
                      <c:pt idx="164">
                        <c:v>1485</c:v>
                      </c:pt>
                      <c:pt idx="165">
                        <c:v>0</c:v>
                      </c:pt>
                      <c:pt idx="166">
                        <c:v>1907</c:v>
                      </c:pt>
                      <c:pt idx="167">
                        <c:v>776</c:v>
                      </c:pt>
                      <c:pt idx="168">
                        <c:v>1379</c:v>
                      </c:pt>
                      <c:pt idx="169">
                        <c:v>1302</c:v>
                      </c:pt>
                      <c:pt idx="170">
                        <c:v>1556</c:v>
                      </c:pt>
                      <c:pt idx="171">
                        <c:v>1338</c:v>
                      </c:pt>
                      <c:pt idx="172">
                        <c:v>0</c:v>
                      </c:pt>
                      <c:pt idx="173">
                        <c:v>1890</c:v>
                      </c:pt>
                      <c:pt idx="174">
                        <c:v>1087</c:v>
                      </c:pt>
                      <c:pt idx="175">
                        <c:v>1370</c:v>
                      </c:pt>
                      <c:pt idx="176">
                        <c:v>1400</c:v>
                      </c:pt>
                      <c:pt idx="177">
                        <c:v>1357</c:v>
                      </c:pt>
                      <c:pt idx="178">
                        <c:v>1233</c:v>
                      </c:pt>
                      <c:pt idx="179">
                        <c:v>0</c:v>
                      </c:pt>
                      <c:pt idx="180">
                        <c:v>1665</c:v>
                      </c:pt>
                      <c:pt idx="181">
                        <c:v>890</c:v>
                      </c:pt>
                      <c:pt idx="182">
                        <c:v>1156</c:v>
                      </c:pt>
                      <c:pt idx="183">
                        <c:v>1068</c:v>
                      </c:pt>
                      <c:pt idx="184">
                        <c:v>1001</c:v>
                      </c:pt>
                      <c:pt idx="185">
                        <c:v>1353</c:v>
                      </c:pt>
                      <c:pt idx="186">
                        <c:v>0</c:v>
                      </c:pt>
                      <c:pt idx="187">
                        <c:v>1947</c:v>
                      </c:pt>
                      <c:pt idx="188">
                        <c:v>1013</c:v>
                      </c:pt>
                      <c:pt idx="189">
                        <c:v>1355</c:v>
                      </c:pt>
                      <c:pt idx="190">
                        <c:v>1331</c:v>
                      </c:pt>
                      <c:pt idx="191">
                        <c:v>1225</c:v>
                      </c:pt>
                      <c:pt idx="192">
                        <c:v>1386</c:v>
                      </c:pt>
                      <c:pt idx="193">
                        <c:v>0</c:v>
                      </c:pt>
                      <c:pt idx="194">
                        <c:v>1784</c:v>
                      </c:pt>
                      <c:pt idx="195">
                        <c:v>1015</c:v>
                      </c:pt>
                      <c:pt idx="196">
                        <c:v>1542</c:v>
                      </c:pt>
                      <c:pt idx="197">
                        <c:v>1372</c:v>
                      </c:pt>
                      <c:pt idx="198">
                        <c:v>1196</c:v>
                      </c:pt>
                      <c:pt idx="199">
                        <c:v>1166</c:v>
                      </c:pt>
                      <c:pt idx="200">
                        <c:v>0</c:v>
                      </c:pt>
                      <c:pt idx="201">
                        <c:v>1561</c:v>
                      </c:pt>
                      <c:pt idx="202">
                        <c:v>847</c:v>
                      </c:pt>
                      <c:pt idx="203">
                        <c:v>1503</c:v>
                      </c:pt>
                      <c:pt idx="204">
                        <c:v>1191</c:v>
                      </c:pt>
                      <c:pt idx="205">
                        <c:v>1210</c:v>
                      </c:pt>
                      <c:pt idx="206">
                        <c:v>1262</c:v>
                      </c:pt>
                      <c:pt idx="207">
                        <c:v>0</c:v>
                      </c:pt>
                      <c:pt idx="208">
                        <c:v>1372</c:v>
                      </c:pt>
                      <c:pt idx="209">
                        <c:v>862</c:v>
                      </c:pt>
                      <c:pt idx="210">
                        <c:v>1231</c:v>
                      </c:pt>
                      <c:pt idx="211">
                        <c:v>1017</c:v>
                      </c:pt>
                      <c:pt idx="212">
                        <c:v>1296</c:v>
                      </c:pt>
                      <c:pt idx="213">
                        <c:v>1105</c:v>
                      </c:pt>
                      <c:pt idx="214">
                        <c:v>0</c:v>
                      </c:pt>
                      <c:pt idx="215">
                        <c:v>1286</c:v>
                      </c:pt>
                      <c:pt idx="216">
                        <c:v>863</c:v>
                      </c:pt>
                      <c:pt idx="217">
                        <c:v>1141</c:v>
                      </c:pt>
                      <c:pt idx="218">
                        <c:v>1106</c:v>
                      </c:pt>
                      <c:pt idx="219">
                        <c:v>1050</c:v>
                      </c:pt>
                      <c:pt idx="220">
                        <c:v>946</c:v>
                      </c:pt>
                      <c:pt idx="221">
                        <c:v>0</c:v>
                      </c:pt>
                      <c:pt idx="222">
                        <c:v>1224</c:v>
                      </c:pt>
                      <c:pt idx="223">
                        <c:v>979</c:v>
                      </c:pt>
                      <c:pt idx="224">
                        <c:v>1202</c:v>
                      </c:pt>
                      <c:pt idx="225">
                        <c:v>1171</c:v>
                      </c:pt>
                      <c:pt idx="226">
                        <c:v>1184</c:v>
                      </c:pt>
                      <c:pt idx="227">
                        <c:v>1100</c:v>
                      </c:pt>
                      <c:pt idx="228">
                        <c:v>0</c:v>
                      </c:pt>
                      <c:pt idx="229">
                        <c:v>1369</c:v>
                      </c:pt>
                      <c:pt idx="230">
                        <c:v>998</c:v>
                      </c:pt>
                      <c:pt idx="231">
                        <c:v>1422</c:v>
                      </c:pt>
                      <c:pt idx="232">
                        <c:v>1219</c:v>
                      </c:pt>
                      <c:pt idx="233">
                        <c:v>1187</c:v>
                      </c:pt>
                      <c:pt idx="234">
                        <c:v>0</c:v>
                      </c:pt>
                      <c:pt idx="235">
                        <c:v>0</c:v>
                      </c:pt>
                      <c:pt idx="236">
                        <c:v>2877</c:v>
                      </c:pt>
                      <c:pt idx="237">
                        <c:v>895</c:v>
                      </c:pt>
                      <c:pt idx="238">
                        <c:v>1330</c:v>
                      </c:pt>
                      <c:pt idx="239">
                        <c:v>1222</c:v>
                      </c:pt>
                      <c:pt idx="240">
                        <c:v>1351</c:v>
                      </c:pt>
                      <c:pt idx="241">
                        <c:v>0</c:v>
                      </c:pt>
                      <c:pt idx="242">
                        <c:v>0</c:v>
                      </c:pt>
                      <c:pt idx="243">
                        <c:v>2545</c:v>
                      </c:pt>
                      <c:pt idx="244">
                        <c:v>534</c:v>
                      </c:pt>
                      <c:pt idx="245">
                        <c:v>1168</c:v>
                      </c:pt>
                      <c:pt idx="246">
                        <c:v>1165</c:v>
                      </c:pt>
                      <c:pt idx="247">
                        <c:v>1180</c:v>
                      </c:pt>
                      <c:pt idx="248">
                        <c:v>0</c:v>
                      </c:pt>
                      <c:pt idx="249">
                        <c:v>0</c:v>
                      </c:pt>
                      <c:pt idx="250">
                        <c:v>2736</c:v>
                      </c:pt>
                      <c:pt idx="251">
                        <c:v>1009</c:v>
                      </c:pt>
                      <c:pt idx="252">
                        <c:v>1258</c:v>
                      </c:pt>
                      <c:pt idx="253">
                        <c:v>1127</c:v>
                      </c:pt>
                      <c:pt idx="254">
                        <c:v>1132</c:v>
                      </c:pt>
                      <c:pt idx="255">
                        <c:v>0</c:v>
                      </c:pt>
                      <c:pt idx="256">
                        <c:v>0</c:v>
                      </c:pt>
                      <c:pt idx="257">
                        <c:v>2222</c:v>
                      </c:pt>
                      <c:pt idx="258">
                        <c:v>927</c:v>
                      </c:pt>
                      <c:pt idx="259">
                        <c:v>1167</c:v>
                      </c:pt>
                      <c:pt idx="260">
                        <c:v>1125</c:v>
                      </c:pt>
                      <c:pt idx="261">
                        <c:v>1084</c:v>
                      </c:pt>
                      <c:pt idx="262">
                        <c:v>0</c:v>
                      </c:pt>
                      <c:pt idx="263">
                        <c:v>0</c:v>
                      </c:pt>
                      <c:pt idx="264">
                        <c:v>2421</c:v>
                      </c:pt>
                      <c:pt idx="265">
                        <c:v>911</c:v>
                      </c:pt>
                      <c:pt idx="266">
                        <c:v>1138</c:v>
                      </c:pt>
                      <c:pt idx="267">
                        <c:v>1048</c:v>
                      </c:pt>
                      <c:pt idx="268">
                        <c:v>0</c:v>
                      </c:pt>
                      <c:pt idx="269">
                        <c:v>0</c:v>
                      </c:pt>
                      <c:pt idx="270">
                        <c:v>0</c:v>
                      </c:pt>
                      <c:pt idx="271">
                        <c:v>2772</c:v>
                      </c:pt>
                      <c:pt idx="272">
                        <c:v>1037</c:v>
                      </c:pt>
                      <c:pt idx="273">
                        <c:v>1315</c:v>
                      </c:pt>
                      <c:pt idx="274">
                        <c:v>1207</c:v>
                      </c:pt>
                      <c:pt idx="275">
                        <c:v>0</c:v>
                      </c:pt>
                      <c:pt idx="276">
                        <c:v>0</c:v>
                      </c:pt>
                      <c:pt idx="277">
                        <c:v>0</c:v>
                      </c:pt>
                    </c:numCache>
                  </c:numRef>
                </c:val>
                <c:extLst xmlns:c15="http://schemas.microsoft.com/office/drawing/2012/chart">
                  <c:ext xmlns:c16="http://schemas.microsoft.com/office/drawing/2014/chart" uri="{C3380CC4-5D6E-409C-BE32-E72D297353CC}">
                    <c16:uniqueId val="{00000005-ABFF-4F69-A778-B65D06386B92}"/>
                  </c:ext>
                </c:extLst>
              </c15:ser>
            </c15:filteredBarSeries>
            <c15:filteredBarSeries>
              <c15:ser>
                <c:idx val="3"/>
                <c:order val="5"/>
                <c:tx>
                  <c:strRef>
                    <c:extLst xmlns:c15="http://schemas.microsoft.com/office/drawing/2012/chart">
                      <c:ext xmlns:c15="http://schemas.microsoft.com/office/drawing/2012/chart" uri="{02D57815-91ED-43cb-92C2-25804820EDAC}">
                        <c15:formulaRef>
                          <c15:sqref>Detalle!#REF!</c15:sqref>
                        </c15:formulaRef>
                      </c:ext>
                    </c:extLst>
                    <c:strCache>
                      <c:ptCount val="1"/>
                      <c:pt idx="0">
                        <c:v>#REF!</c:v>
                      </c:pt>
                    </c:strCache>
                  </c:strRef>
                </c:tx>
                <c:spPr>
                  <a:solidFill>
                    <a:schemeClr val="accent4"/>
                  </a:solidFill>
                  <a:ln>
                    <a:noFill/>
                  </a:ln>
                  <a:effectLst/>
                </c:spPr>
                <c:invertIfNegative val="0"/>
                <c:cat>
                  <c:numRef>
                    <c:extLst xmlns:c15="http://schemas.microsoft.com/office/drawing/2012/chart">
                      <c:ext xmlns:c15="http://schemas.microsoft.com/office/drawing/2012/chart" uri="{02D57815-91ED-43cb-92C2-25804820EDAC}">
                        <c15:formulaRef>
                          <c15:sqref>World!$A$94:$A$598</c15:sqref>
                        </c15:formulaRef>
                      </c:ext>
                    </c:extLst>
                    <c:numCache>
                      <c:formatCode>dd/mm/yy;@</c:formatCode>
                      <c:ptCount val="505"/>
                      <c:pt idx="0">
                        <c:v>43922</c:v>
                      </c:pt>
                      <c:pt idx="1">
                        <c:v>43923</c:v>
                      </c:pt>
                      <c:pt idx="2">
                        <c:v>43924</c:v>
                      </c:pt>
                      <c:pt idx="3">
                        <c:v>43925</c:v>
                      </c:pt>
                      <c:pt idx="4">
                        <c:v>43926</c:v>
                      </c:pt>
                      <c:pt idx="5">
                        <c:v>43927</c:v>
                      </c:pt>
                      <c:pt idx="6">
                        <c:v>43928</c:v>
                      </c:pt>
                      <c:pt idx="7">
                        <c:v>43929</c:v>
                      </c:pt>
                      <c:pt idx="8">
                        <c:v>43930</c:v>
                      </c:pt>
                      <c:pt idx="9">
                        <c:v>43931</c:v>
                      </c:pt>
                      <c:pt idx="10">
                        <c:v>43932</c:v>
                      </c:pt>
                      <c:pt idx="11">
                        <c:v>43933</c:v>
                      </c:pt>
                      <c:pt idx="12">
                        <c:v>43934</c:v>
                      </c:pt>
                      <c:pt idx="13">
                        <c:v>43935</c:v>
                      </c:pt>
                      <c:pt idx="14">
                        <c:v>43936</c:v>
                      </c:pt>
                      <c:pt idx="15">
                        <c:v>43937</c:v>
                      </c:pt>
                      <c:pt idx="16">
                        <c:v>43938</c:v>
                      </c:pt>
                      <c:pt idx="17">
                        <c:v>43939</c:v>
                      </c:pt>
                      <c:pt idx="18">
                        <c:v>43940</c:v>
                      </c:pt>
                      <c:pt idx="19">
                        <c:v>43941</c:v>
                      </c:pt>
                      <c:pt idx="20">
                        <c:v>43942</c:v>
                      </c:pt>
                      <c:pt idx="21">
                        <c:v>43943</c:v>
                      </c:pt>
                      <c:pt idx="22">
                        <c:v>43944</c:v>
                      </c:pt>
                      <c:pt idx="23">
                        <c:v>43945</c:v>
                      </c:pt>
                      <c:pt idx="24">
                        <c:v>43946</c:v>
                      </c:pt>
                      <c:pt idx="25">
                        <c:v>43947</c:v>
                      </c:pt>
                      <c:pt idx="26">
                        <c:v>43948</c:v>
                      </c:pt>
                      <c:pt idx="27">
                        <c:v>43949</c:v>
                      </c:pt>
                      <c:pt idx="28">
                        <c:v>43950</c:v>
                      </c:pt>
                      <c:pt idx="29">
                        <c:v>43951</c:v>
                      </c:pt>
                      <c:pt idx="30">
                        <c:v>43952</c:v>
                      </c:pt>
                      <c:pt idx="31">
                        <c:v>43953</c:v>
                      </c:pt>
                      <c:pt idx="32">
                        <c:v>43954</c:v>
                      </c:pt>
                      <c:pt idx="33">
                        <c:v>43955</c:v>
                      </c:pt>
                      <c:pt idx="34">
                        <c:v>43956</c:v>
                      </c:pt>
                      <c:pt idx="35">
                        <c:v>43957</c:v>
                      </c:pt>
                      <c:pt idx="36">
                        <c:v>43958</c:v>
                      </c:pt>
                      <c:pt idx="37">
                        <c:v>43959</c:v>
                      </c:pt>
                      <c:pt idx="38">
                        <c:v>43960</c:v>
                      </c:pt>
                      <c:pt idx="39">
                        <c:v>43961</c:v>
                      </c:pt>
                      <c:pt idx="40">
                        <c:v>43962</c:v>
                      </c:pt>
                      <c:pt idx="41">
                        <c:v>43963</c:v>
                      </c:pt>
                      <c:pt idx="42">
                        <c:v>43964</c:v>
                      </c:pt>
                      <c:pt idx="43">
                        <c:v>43965</c:v>
                      </c:pt>
                      <c:pt idx="44">
                        <c:v>43966</c:v>
                      </c:pt>
                      <c:pt idx="45">
                        <c:v>43967</c:v>
                      </c:pt>
                      <c:pt idx="46">
                        <c:v>43968</c:v>
                      </c:pt>
                      <c:pt idx="47">
                        <c:v>43969</c:v>
                      </c:pt>
                      <c:pt idx="48">
                        <c:v>43970</c:v>
                      </c:pt>
                      <c:pt idx="49">
                        <c:v>43971</c:v>
                      </c:pt>
                      <c:pt idx="50">
                        <c:v>43972</c:v>
                      </c:pt>
                      <c:pt idx="51">
                        <c:v>43973</c:v>
                      </c:pt>
                      <c:pt idx="52">
                        <c:v>43974</c:v>
                      </c:pt>
                      <c:pt idx="53">
                        <c:v>43975</c:v>
                      </c:pt>
                      <c:pt idx="54">
                        <c:v>43976</c:v>
                      </c:pt>
                      <c:pt idx="55">
                        <c:v>43977</c:v>
                      </c:pt>
                      <c:pt idx="56">
                        <c:v>43978</c:v>
                      </c:pt>
                      <c:pt idx="57">
                        <c:v>43979</c:v>
                      </c:pt>
                      <c:pt idx="58">
                        <c:v>43980</c:v>
                      </c:pt>
                      <c:pt idx="59">
                        <c:v>43981</c:v>
                      </c:pt>
                      <c:pt idx="60">
                        <c:v>43982</c:v>
                      </c:pt>
                      <c:pt idx="61">
                        <c:v>43983</c:v>
                      </c:pt>
                      <c:pt idx="62">
                        <c:v>43984</c:v>
                      </c:pt>
                      <c:pt idx="63">
                        <c:v>43985</c:v>
                      </c:pt>
                      <c:pt idx="64">
                        <c:v>43986</c:v>
                      </c:pt>
                      <c:pt idx="65">
                        <c:v>43987</c:v>
                      </c:pt>
                      <c:pt idx="66">
                        <c:v>43988</c:v>
                      </c:pt>
                      <c:pt idx="67">
                        <c:v>43989</c:v>
                      </c:pt>
                      <c:pt idx="68">
                        <c:v>43990</c:v>
                      </c:pt>
                      <c:pt idx="69">
                        <c:v>43991</c:v>
                      </c:pt>
                      <c:pt idx="70">
                        <c:v>43992</c:v>
                      </c:pt>
                      <c:pt idx="71">
                        <c:v>43993</c:v>
                      </c:pt>
                      <c:pt idx="72">
                        <c:v>43994</c:v>
                      </c:pt>
                      <c:pt idx="73">
                        <c:v>43995</c:v>
                      </c:pt>
                      <c:pt idx="74">
                        <c:v>43996</c:v>
                      </c:pt>
                      <c:pt idx="75">
                        <c:v>43997</c:v>
                      </c:pt>
                      <c:pt idx="76">
                        <c:v>43998</c:v>
                      </c:pt>
                      <c:pt idx="77">
                        <c:v>43999</c:v>
                      </c:pt>
                      <c:pt idx="78">
                        <c:v>44000</c:v>
                      </c:pt>
                      <c:pt idx="79">
                        <c:v>44001</c:v>
                      </c:pt>
                      <c:pt idx="80">
                        <c:v>44002</c:v>
                      </c:pt>
                      <c:pt idx="81">
                        <c:v>44003</c:v>
                      </c:pt>
                      <c:pt idx="82">
                        <c:v>44004</c:v>
                      </c:pt>
                      <c:pt idx="83">
                        <c:v>44005</c:v>
                      </c:pt>
                      <c:pt idx="84">
                        <c:v>44006</c:v>
                      </c:pt>
                      <c:pt idx="85">
                        <c:v>44007</c:v>
                      </c:pt>
                      <c:pt idx="86">
                        <c:v>44008</c:v>
                      </c:pt>
                      <c:pt idx="87">
                        <c:v>44009</c:v>
                      </c:pt>
                      <c:pt idx="88">
                        <c:v>44010</c:v>
                      </c:pt>
                      <c:pt idx="89">
                        <c:v>44011</c:v>
                      </c:pt>
                      <c:pt idx="90">
                        <c:v>44012</c:v>
                      </c:pt>
                      <c:pt idx="91">
                        <c:v>44013</c:v>
                      </c:pt>
                      <c:pt idx="92">
                        <c:v>44014</c:v>
                      </c:pt>
                      <c:pt idx="93">
                        <c:v>44015</c:v>
                      </c:pt>
                      <c:pt idx="94">
                        <c:v>44016</c:v>
                      </c:pt>
                      <c:pt idx="95">
                        <c:v>44017</c:v>
                      </c:pt>
                      <c:pt idx="96">
                        <c:v>44018</c:v>
                      </c:pt>
                      <c:pt idx="97">
                        <c:v>44019</c:v>
                      </c:pt>
                      <c:pt idx="98">
                        <c:v>44020</c:v>
                      </c:pt>
                      <c:pt idx="99">
                        <c:v>44021</c:v>
                      </c:pt>
                      <c:pt idx="100">
                        <c:v>44022</c:v>
                      </c:pt>
                      <c:pt idx="101">
                        <c:v>44023</c:v>
                      </c:pt>
                      <c:pt idx="102">
                        <c:v>44024</c:v>
                      </c:pt>
                      <c:pt idx="103">
                        <c:v>44025</c:v>
                      </c:pt>
                      <c:pt idx="104">
                        <c:v>44026</c:v>
                      </c:pt>
                      <c:pt idx="105">
                        <c:v>44027</c:v>
                      </c:pt>
                      <c:pt idx="106">
                        <c:v>44028</c:v>
                      </c:pt>
                      <c:pt idx="107">
                        <c:v>44029</c:v>
                      </c:pt>
                      <c:pt idx="108">
                        <c:v>44030</c:v>
                      </c:pt>
                      <c:pt idx="109">
                        <c:v>44031</c:v>
                      </c:pt>
                      <c:pt idx="110">
                        <c:v>44032</c:v>
                      </c:pt>
                      <c:pt idx="111">
                        <c:v>44033</c:v>
                      </c:pt>
                      <c:pt idx="112">
                        <c:v>44034</c:v>
                      </c:pt>
                      <c:pt idx="113">
                        <c:v>44035</c:v>
                      </c:pt>
                      <c:pt idx="114">
                        <c:v>44036</c:v>
                      </c:pt>
                      <c:pt idx="115">
                        <c:v>44037</c:v>
                      </c:pt>
                      <c:pt idx="116">
                        <c:v>44038</c:v>
                      </c:pt>
                      <c:pt idx="117">
                        <c:v>44039</c:v>
                      </c:pt>
                      <c:pt idx="118">
                        <c:v>44040</c:v>
                      </c:pt>
                      <c:pt idx="119">
                        <c:v>44041</c:v>
                      </c:pt>
                      <c:pt idx="120">
                        <c:v>44042</c:v>
                      </c:pt>
                      <c:pt idx="121">
                        <c:v>44043</c:v>
                      </c:pt>
                      <c:pt idx="122">
                        <c:v>44044</c:v>
                      </c:pt>
                      <c:pt idx="123">
                        <c:v>44045</c:v>
                      </c:pt>
                      <c:pt idx="124">
                        <c:v>44046</c:v>
                      </c:pt>
                      <c:pt idx="125">
                        <c:v>44047</c:v>
                      </c:pt>
                      <c:pt idx="126">
                        <c:v>44048</c:v>
                      </c:pt>
                      <c:pt idx="127">
                        <c:v>44049</c:v>
                      </c:pt>
                      <c:pt idx="128">
                        <c:v>44050</c:v>
                      </c:pt>
                      <c:pt idx="129">
                        <c:v>44051</c:v>
                      </c:pt>
                      <c:pt idx="130">
                        <c:v>44052</c:v>
                      </c:pt>
                      <c:pt idx="131">
                        <c:v>44053</c:v>
                      </c:pt>
                      <c:pt idx="132">
                        <c:v>44054</c:v>
                      </c:pt>
                      <c:pt idx="133">
                        <c:v>44055</c:v>
                      </c:pt>
                      <c:pt idx="134">
                        <c:v>44056</c:v>
                      </c:pt>
                      <c:pt idx="135">
                        <c:v>44057</c:v>
                      </c:pt>
                      <c:pt idx="136">
                        <c:v>44058</c:v>
                      </c:pt>
                      <c:pt idx="137">
                        <c:v>44059</c:v>
                      </c:pt>
                      <c:pt idx="138">
                        <c:v>44060</c:v>
                      </c:pt>
                      <c:pt idx="139">
                        <c:v>44061</c:v>
                      </c:pt>
                      <c:pt idx="140">
                        <c:v>44062</c:v>
                      </c:pt>
                      <c:pt idx="141">
                        <c:v>44063</c:v>
                      </c:pt>
                      <c:pt idx="142">
                        <c:v>44064</c:v>
                      </c:pt>
                      <c:pt idx="143">
                        <c:v>44065</c:v>
                      </c:pt>
                      <c:pt idx="144">
                        <c:v>44066</c:v>
                      </c:pt>
                      <c:pt idx="145">
                        <c:v>44067</c:v>
                      </c:pt>
                      <c:pt idx="146">
                        <c:v>44068</c:v>
                      </c:pt>
                      <c:pt idx="147">
                        <c:v>44069</c:v>
                      </c:pt>
                      <c:pt idx="148">
                        <c:v>44070</c:v>
                      </c:pt>
                      <c:pt idx="149">
                        <c:v>44071</c:v>
                      </c:pt>
                      <c:pt idx="150">
                        <c:v>44072</c:v>
                      </c:pt>
                      <c:pt idx="151">
                        <c:v>44073</c:v>
                      </c:pt>
                      <c:pt idx="152">
                        <c:v>44074</c:v>
                      </c:pt>
                      <c:pt idx="153">
                        <c:v>44075</c:v>
                      </c:pt>
                      <c:pt idx="154">
                        <c:v>44076</c:v>
                      </c:pt>
                      <c:pt idx="155">
                        <c:v>44077</c:v>
                      </c:pt>
                      <c:pt idx="156">
                        <c:v>44078</c:v>
                      </c:pt>
                      <c:pt idx="157">
                        <c:v>44079</c:v>
                      </c:pt>
                      <c:pt idx="158">
                        <c:v>44080</c:v>
                      </c:pt>
                      <c:pt idx="159">
                        <c:v>44081</c:v>
                      </c:pt>
                      <c:pt idx="160">
                        <c:v>44082</c:v>
                      </c:pt>
                      <c:pt idx="161">
                        <c:v>44083</c:v>
                      </c:pt>
                      <c:pt idx="162">
                        <c:v>44084</c:v>
                      </c:pt>
                      <c:pt idx="163">
                        <c:v>44085</c:v>
                      </c:pt>
                      <c:pt idx="164">
                        <c:v>44086</c:v>
                      </c:pt>
                      <c:pt idx="165">
                        <c:v>44087</c:v>
                      </c:pt>
                      <c:pt idx="166">
                        <c:v>44088</c:v>
                      </c:pt>
                      <c:pt idx="167">
                        <c:v>44089</c:v>
                      </c:pt>
                      <c:pt idx="168">
                        <c:v>44090</c:v>
                      </c:pt>
                      <c:pt idx="169">
                        <c:v>44091</c:v>
                      </c:pt>
                      <c:pt idx="170">
                        <c:v>44092</c:v>
                      </c:pt>
                      <c:pt idx="171">
                        <c:v>44093</c:v>
                      </c:pt>
                      <c:pt idx="172">
                        <c:v>44094</c:v>
                      </c:pt>
                      <c:pt idx="173">
                        <c:v>44095</c:v>
                      </c:pt>
                      <c:pt idx="174">
                        <c:v>44096</c:v>
                      </c:pt>
                      <c:pt idx="175">
                        <c:v>44097</c:v>
                      </c:pt>
                      <c:pt idx="176">
                        <c:v>44098</c:v>
                      </c:pt>
                      <c:pt idx="177">
                        <c:v>44099</c:v>
                      </c:pt>
                      <c:pt idx="178">
                        <c:v>44100</c:v>
                      </c:pt>
                      <c:pt idx="179">
                        <c:v>44101</c:v>
                      </c:pt>
                      <c:pt idx="180">
                        <c:v>44102</c:v>
                      </c:pt>
                      <c:pt idx="181">
                        <c:v>44103</c:v>
                      </c:pt>
                      <c:pt idx="182">
                        <c:v>44104</c:v>
                      </c:pt>
                      <c:pt idx="183">
                        <c:v>44105</c:v>
                      </c:pt>
                      <c:pt idx="184">
                        <c:v>44106</c:v>
                      </c:pt>
                      <c:pt idx="185">
                        <c:v>44107</c:v>
                      </c:pt>
                      <c:pt idx="186">
                        <c:v>44108</c:v>
                      </c:pt>
                      <c:pt idx="187">
                        <c:v>44109</c:v>
                      </c:pt>
                      <c:pt idx="188">
                        <c:v>44110</c:v>
                      </c:pt>
                      <c:pt idx="189">
                        <c:v>44111</c:v>
                      </c:pt>
                      <c:pt idx="190">
                        <c:v>44112</c:v>
                      </c:pt>
                      <c:pt idx="191">
                        <c:v>44113</c:v>
                      </c:pt>
                      <c:pt idx="192">
                        <c:v>44114</c:v>
                      </c:pt>
                      <c:pt idx="193">
                        <c:v>44115</c:v>
                      </c:pt>
                      <c:pt idx="194">
                        <c:v>44116</c:v>
                      </c:pt>
                      <c:pt idx="195">
                        <c:v>44117</c:v>
                      </c:pt>
                      <c:pt idx="196">
                        <c:v>44118</c:v>
                      </c:pt>
                      <c:pt idx="197">
                        <c:v>44119</c:v>
                      </c:pt>
                      <c:pt idx="198">
                        <c:v>44120</c:v>
                      </c:pt>
                      <c:pt idx="199">
                        <c:v>44121</c:v>
                      </c:pt>
                      <c:pt idx="200">
                        <c:v>44122</c:v>
                      </c:pt>
                      <c:pt idx="201">
                        <c:v>44123</c:v>
                      </c:pt>
                      <c:pt idx="202">
                        <c:v>44124</c:v>
                      </c:pt>
                      <c:pt idx="203">
                        <c:v>44125</c:v>
                      </c:pt>
                      <c:pt idx="204">
                        <c:v>44126</c:v>
                      </c:pt>
                      <c:pt idx="205">
                        <c:v>44127</c:v>
                      </c:pt>
                      <c:pt idx="206">
                        <c:v>44128</c:v>
                      </c:pt>
                      <c:pt idx="207">
                        <c:v>44129</c:v>
                      </c:pt>
                      <c:pt idx="208">
                        <c:v>44130</c:v>
                      </c:pt>
                      <c:pt idx="209">
                        <c:v>44131</c:v>
                      </c:pt>
                      <c:pt idx="210">
                        <c:v>44132</c:v>
                      </c:pt>
                      <c:pt idx="211">
                        <c:v>44133</c:v>
                      </c:pt>
                      <c:pt idx="212">
                        <c:v>44134</c:v>
                      </c:pt>
                      <c:pt idx="213">
                        <c:v>44135</c:v>
                      </c:pt>
                      <c:pt idx="214">
                        <c:v>44136</c:v>
                      </c:pt>
                      <c:pt idx="215">
                        <c:v>44137</c:v>
                      </c:pt>
                      <c:pt idx="216">
                        <c:v>44138</c:v>
                      </c:pt>
                      <c:pt idx="217">
                        <c:v>44139</c:v>
                      </c:pt>
                      <c:pt idx="218">
                        <c:v>44140</c:v>
                      </c:pt>
                      <c:pt idx="219">
                        <c:v>44141</c:v>
                      </c:pt>
                      <c:pt idx="220">
                        <c:v>44142</c:v>
                      </c:pt>
                      <c:pt idx="221">
                        <c:v>44143</c:v>
                      </c:pt>
                      <c:pt idx="222">
                        <c:v>44144</c:v>
                      </c:pt>
                      <c:pt idx="223">
                        <c:v>44145</c:v>
                      </c:pt>
                      <c:pt idx="224">
                        <c:v>44146</c:v>
                      </c:pt>
                      <c:pt idx="225">
                        <c:v>44147</c:v>
                      </c:pt>
                      <c:pt idx="226">
                        <c:v>44148</c:v>
                      </c:pt>
                      <c:pt idx="227">
                        <c:v>44149</c:v>
                      </c:pt>
                      <c:pt idx="228">
                        <c:v>44150</c:v>
                      </c:pt>
                      <c:pt idx="229">
                        <c:v>44151</c:v>
                      </c:pt>
                      <c:pt idx="230">
                        <c:v>44152</c:v>
                      </c:pt>
                      <c:pt idx="231">
                        <c:v>44153</c:v>
                      </c:pt>
                      <c:pt idx="232">
                        <c:v>44154</c:v>
                      </c:pt>
                      <c:pt idx="233">
                        <c:v>44155</c:v>
                      </c:pt>
                      <c:pt idx="234">
                        <c:v>44156</c:v>
                      </c:pt>
                      <c:pt idx="235">
                        <c:v>44157</c:v>
                      </c:pt>
                      <c:pt idx="236">
                        <c:v>44158</c:v>
                      </c:pt>
                      <c:pt idx="237">
                        <c:v>44159</c:v>
                      </c:pt>
                      <c:pt idx="238">
                        <c:v>44160</c:v>
                      </c:pt>
                      <c:pt idx="239">
                        <c:v>44161</c:v>
                      </c:pt>
                      <c:pt idx="240">
                        <c:v>44162</c:v>
                      </c:pt>
                      <c:pt idx="241">
                        <c:v>44163</c:v>
                      </c:pt>
                      <c:pt idx="242">
                        <c:v>44164</c:v>
                      </c:pt>
                      <c:pt idx="243">
                        <c:v>44165</c:v>
                      </c:pt>
                      <c:pt idx="244">
                        <c:v>44166</c:v>
                      </c:pt>
                      <c:pt idx="245">
                        <c:v>44167</c:v>
                      </c:pt>
                      <c:pt idx="246">
                        <c:v>44168</c:v>
                      </c:pt>
                      <c:pt idx="247">
                        <c:v>44169</c:v>
                      </c:pt>
                      <c:pt idx="248">
                        <c:v>44170</c:v>
                      </c:pt>
                      <c:pt idx="249">
                        <c:v>44171</c:v>
                      </c:pt>
                      <c:pt idx="250">
                        <c:v>44172</c:v>
                      </c:pt>
                      <c:pt idx="251">
                        <c:v>44173</c:v>
                      </c:pt>
                      <c:pt idx="252">
                        <c:v>44174</c:v>
                      </c:pt>
                      <c:pt idx="253">
                        <c:v>44175</c:v>
                      </c:pt>
                      <c:pt idx="254">
                        <c:v>44176</c:v>
                      </c:pt>
                      <c:pt idx="255">
                        <c:v>44177</c:v>
                      </c:pt>
                      <c:pt idx="256">
                        <c:v>44178</c:v>
                      </c:pt>
                      <c:pt idx="257">
                        <c:v>44179</c:v>
                      </c:pt>
                      <c:pt idx="258">
                        <c:v>44180</c:v>
                      </c:pt>
                      <c:pt idx="259">
                        <c:v>44181</c:v>
                      </c:pt>
                      <c:pt idx="260">
                        <c:v>44182</c:v>
                      </c:pt>
                      <c:pt idx="261">
                        <c:v>44183</c:v>
                      </c:pt>
                      <c:pt idx="262">
                        <c:v>44184</c:v>
                      </c:pt>
                      <c:pt idx="263">
                        <c:v>44185</c:v>
                      </c:pt>
                      <c:pt idx="264">
                        <c:v>44186</c:v>
                      </c:pt>
                      <c:pt idx="265">
                        <c:v>44187</c:v>
                      </c:pt>
                      <c:pt idx="266">
                        <c:v>44188</c:v>
                      </c:pt>
                      <c:pt idx="267">
                        <c:v>44189</c:v>
                      </c:pt>
                      <c:pt idx="268">
                        <c:v>44190</c:v>
                      </c:pt>
                      <c:pt idx="269">
                        <c:v>44191</c:v>
                      </c:pt>
                      <c:pt idx="270">
                        <c:v>44192</c:v>
                      </c:pt>
                      <c:pt idx="271">
                        <c:v>44193</c:v>
                      </c:pt>
                      <c:pt idx="272">
                        <c:v>44194</c:v>
                      </c:pt>
                      <c:pt idx="273">
                        <c:v>44195</c:v>
                      </c:pt>
                      <c:pt idx="274">
                        <c:v>44196</c:v>
                      </c:pt>
                      <c:pt idx="275">
                        <c:v>44197</c:v>
                      </c:pt>
                      <c:pt idx="276">
                        <c:v>44198</c:v>
                      </c:pt>
                      <c:pt idx="277">
                        <c:v>44199</c:v>
                      </c:pt>
                      <c:pt idx="278">
                        <c:v>44200</c:v>
                      </c:pt>
                      <c:pt idx="279">
                        <c:v>44201</c:v>
                      </c:pt>
                      <c:pt idx="280">
                        <c:v>44202</c:v>
                      </c:pt>
                      <c:pt idx="281">
                        <c:v>44203</c:v>
                      </c:pt>
                      <c:pt idx="282">
                        <c:v>44204</c:v>
                      </c:pt>
                      <c:pt idx="283">
                        <c:v>44205</c:v>
                      </c:pt>
                      <c:pt idx="284">
                        <c:v>44206</c:v>
                      </c:pt>
                      <c:pt idx="285">
                        <c:v>44207</c:v>
                      </c:pt>
                      <c:pt idx="286">
                        <c:v>44208</c:v>
                      </c:pt>
                      <c:pt idx="287">
                        <c:v>44209</c:v>
                      </c:pt>
                      <c:pt idx="288">
                        <c:v>44210</c:v>
                      </c:pt>
                      <c:pt idx="289">
                        <c:v>44211</c:v>
                      </c:pt>
                      <c:pt idx="290">
                        <c:v>44212</c:v>
                      </c:pt>
                      <c:pt idx="291">
                        <c:v>44213</c:v>
                      </c:pt>
                      <c:pt idx="292">
                        <c:v>44214</c:v>
                      </c:pt>
                      <c:pt idx="293">
                        <c:v>44215</c:v>
                      </c:pt>
                      <c:pt idx="294">
                        <c:v>44216</c:v>
                      </c:pt>
                      <c:pt idx="295">
                        <c:v>44217</c:v>
                      </c:pt>
                      <c:pt idx="296">
                        <c:v>44218</c:v>
                      </c:pt>
                      <c:pt idx="297">
                        <c:v>44219</c:v>
                      </c:pt>
                      <c:pt idx="298">
                        <c:v>44220</c:v>
                      </c:pt>
                      <c:pt idx="299">
                        <c:v>44221</c:v>
                      </c:pt>
                      <c:pt idx="300">
                        <c:v>44222</c:v>
                      </c:pt>
                      <c:pt idx="301">
                        <c:v>44223</c:v>
                      </c:pt>
                      <c:pt idx="302">
                        <c:v>44224</c:v>
                      </c:pt>
                      <c:pt idx="303">
                        <c:v>44225</c:v>
                      </c:pt>
                      <c:pt idx="304">
                        <c:v>44226</c:v>
                      </c:pt>
                      <c:pt idx="305">
                        <c:v>44227</c:v>
                      </c:pt>
                      <c:pt idx="306">
                        <c:v>44228</c:v>
                      </c:pt>
                      <c:pt idx="307">
                        <c:v>44229</c:v>
                      </c:pt>
                      <c:pt idx="308">
                        <c:v>44230</c:v>
                      </c:pt>
                      <c:pt idx="309">
                        <c:v>44231</c:v>
                      </c:pt>
                      <c:pt idx="310">
                        <c:v>44232</c:v>
                      </c:pt>
                      <c:pt idx="311">
                        <c:v>44233</c:v>
                      </c:pt>
                      <c:pt idx="312">
                        <c:v>44234</c:v>
                      </c:pt>
                      <c:pt idx="313">
                        <c:v>44235</c:v>
                      </c:pt>
                      <c:pt idx="314">
                        <c:v>44236</c:v>
                      </c:pt>
                      <c:pt idx="315">
                        <c:v>44237</c:v>
                      </c:pt>
                      <c:pt idx="316">
                        <c:v>44238</c:v>
                      </c:pt>
                      <c:pt idx="317">
                        <c:v>44239</c:v>
                      </c:pt>
                      <c:pt idx="318">
                        <c:v>44240</c:v>
                      </c:pt>
                      <c:pt idx="319">
                        <c:v>44241</c:v>
                      </c:pt>
                      <c:pt idx="320">
                        <c:v>44242</c:v>
                      </c:pt>
                      <c:pt idx="321">
                        <c:v>44243</c:v>
                      </c:pt>
                      <c:pt idx="322">
                        <c:v>44244</c:v>
                      </c:pt>
                      <c:pt idx="323">
                        <c:v>44245</c:v>
                      </c:pt>
                      <c:pt idx="324">
                        <c:v>44246</c:v>
                      </c:pt>
                      <c:pt idx="325">
                        <c:v>44247</c:v>
                      </c:pt>
                      <c:pt idx="326">
                        <c:v>44248</c:v>
                      </c:pt>
                      <c:pt idx="327">
                        <c:v>44249</c:v>
                      </c:pt>
                      <c:pt idx="328">
                        <c:v>44250</c:v>
                      </c:pt>
                      <c:pt idx="329">
                        <c:v>44251</c:v>
                      </c:pt>
                      <c:pt idx="330">
                        <c:v>44252</c:v>
                      </c:pt>
                      <c:pt idx="331">
                        <c:v>44253</c:v>
                      </c:pt>
                      <c:pt idx="332">
                        <c:v>44254</c:v>
                      </c:pt>
                      <c:pt idx="333">
                        <c:v>44255</c:v>
                      </c:pt>
                      <c:pt idx="334">
                        <c:v>44256</c:v>
                      </c:pt>
                      <c:pt idx="335">
                        <c:v>44257</c:v>
                      </c:pt>
                      <c:pt idx="336">
                        <c:v>44258</c:v>
                      </c:pt>
                      <c:pt idx="337">
                        <c:v>44259</c:v>
                      </c:pt>
                      <c:pt idx="338">
                        <c:v>44260</c:v>
                      </c:pt>
                      <c:pt idx="339">
                        <c:v>44261</c:v>
                      </c:pt>
                      <c:pt idx="340">
                        <c:v>44262</c:v>
                      </c:pt>
                      <c:pt idx="341">
                        <c:v>44263</c:v>
                      </c:pt>
                      <c:pt idx="342">
                        <c:v>44264</c:v>
                      </c:pt>
                      <c:pt idx="343">
                        <c:v>44265</c:v>
                      </c:pt>
                      <c:pt idx="344">
                        <c:v>44266</c:v>
                      </c:pt>
                      <c:pt idx="345">
                        <c:v>44267</c:v>
                      </c:pt>
                      <c:pt idx="346">
                        <c:v>44268</c:v>
                      </c:pt>
                      <c:pt idx="347">
                        <c:v>44269</c:v>
                      </c:pt>
                      <c:pt idx="348">
                        <c:v>44270</c:v>
                      </c:pt>
                      <c:pt idx="349">
                        <c:v>44271</c:v>
                      </c:pt>
                      <c:pt idx="350">
                        <c:v>44272</c:v>
                      </c:pt>
                      <c:pt idx="351">
                        <c:v>44273</c:v>
                      </c:pt>
                      <c:pt idx="352">
                        <c:v>44274</c:v>
                      </c:pt>
                      <c:pt idx="353">
                        <c:v>44275</c:v>
                      </c:pt>
                      <c:pt idx="354">
                        <c:v>44276</c:v>
                      </c:pt>
                      <c:pt idx="355">
                        <c:v>44277</c:v>
                      </c:pt>
                      <c:pt idx="356">
                        <c:v>44278</c:v>
                      </c:pt>
                      <c:pt idx="357">
                        <c:v>44279</c:v>
                      </c:pt>
                      <c:pt idx="358">
                        <c:v>44280</c:v>
                      </c:pt>
                      <c:pt idx="359">
                        <c:v>44281</c:v>
                      </c:pt>
                      <c:pt idx="360">
                        <c:v>44282</c:v>
                      </c:pt>
                      <c:pt idx="361">
                        <c:v>44283</c:v>
                      </c:pt>
                      <c:pt idx="362">
                        <c:v>44284</c:v>
                      </c:pt>
                      <c:pt idx="363">
                        <c:v>44285</c:v>
                      </c:pt>
                      <c:pt idx="364">
                        <c:v>44286</c:v>
                      </c:pt>
                      <c:pt idx="365">
                        <c:v>44287</c:v>
                      </c:pt>
                      <c:pt idx="366">
                        <c:v>44288</c:v>
                      </c:pt>
                      <c:pt idx="367">
                        <c:v>44289</c:v>
                      </c:pt>
                      <c:pt idx="368">
                        <c:v>44290</c:v>
                      </c:pt>
                      <c:pt idx="369">
                        <c:v>44291</c:v>
                      </c:pt>
                      <c:pt idx="370">
                        <c:v>44292</c:v>
                      </c:pt>
                      <c:pt idx="371">
                        <c:v>44293</c:v>
                      </c:pt>
                      <c:pt idx="372">
                        <c:v>44294</c:v>
                      </c:pt>
                      <c:pt idx="373">
                        <c:v>44295</c:v>
                      </c:pt>
                      <c:pt idx="374">
                        <c:v>44296</c:v>
                      </c:pt>
                      <c:pt idx="375">
                        <c:v>44297</c:v>
                      </c:pt>
                      <c:pt idx="376">
                        <c:v>44298</c:v>
                      </c:pt>
                      <c:pt idx="377">
                        <c:v>44299</c:v>
                      </c:pt>
                      <c:pt idx="378">
                        <c:v>44300</c:v>
                      </c:pt>
                      <c:pt idx="379">
                        <c:v>44301</c:v>
                      </c:pt>
                      <c:pt idx="380">
                        <c:v>44302</c:v>
                      </c:pt>
                      <c:pt idx="381">
                        <c:v>44303</c:v>
                      </c:pt>
                      <c:pt idx="382">
                        <c:v>44304</c:v>
                      </c:pt>
                      <c:pt idx="383">
                        <c:v>44305</c:v>
                      </c:pt>
                      <c:pt idx="384">
                        <c:v>44306</c:v>
                      </c:pt>
                      <c:pt idx="385">
                        <c:v>44307</c:v>
                      </c:pt>
                      <c:pt idx="386">
                        <c:v>44308</c:v>
                      </c:pt>
                      <c:pt idx="387">
                        <c:v>44309</c:v>
                      </c:pt>
                      <c:pt idx="388">
                        <c:v>44310</c:v>
                      </c:pt>
                      <c:pt idx="389">
                        <c:v>44311</c:v>
                      </c:pt>
                      <c:pt idx="390">
                        <c:v>44312</c:v>
                      </c:pt>
                      <c:pt idx="391">
                        <c:v>44313</c:v>
                      </c:pt>
                      <c:pt idx="392">
                        <c:v>44314</c:v>
                      </c:pt>
                      <c:pt idx="393">
                        <c:v>44315</c:v>
                      </c:pt>
                      <c:pt idx="394">
                        <c:v>44316</c:v>
                      </c:pt>
                      <c:pt idx="395">
                        <c:v>44317</c:v>
                      </c:pt>
                      <c:pt idx="396">
                        <c:v>44318</c:v>
                      </c:pt>
                      <c:pt idx="397">
                        <c:v>44319</c:v>
                      </c:pt>
                      <c:pt idx="398">
                        <c:v>44320</c:v>
                      </c:pt>
                      <c:pt idx="399">
                        <c:v>44321</c:v>
                      </c:pt>
                      <c:pt idx="400">
                        <c:v>44322</c:v>
                      </c:pt>
                      <c:pt idx="401">
                        <c:v>44323</c:v>
                      </c:pt>
                      <c:pt idx="402">
                        <c:v>44324</c:v>
                      </c:pt>
                      <c:pt idx="403">
                        <c:v>44325</c:v>
                      </c:pt>
                      <c:pt idx="404">
                        <c:v>44326</c:v>
                      </c:pt>
                      <c:pt idx="405">
                        <c:v>44327</c:v>
                      </c:pt>
                      <c:pt idx="406">
                        <c:v>44328</c:v>
                      </c:pt>
                      <c:pt idx="407">
                        <c:v>44329</c:v>
                      </c:pt>
                      <c:pt idx="408">
                        <c:v>44330</c:v>
                      </c:pt>
                      <c:pt idx="409">
                        <c:v>44331</c:v>
                      </c:pt>
                      <c:pt idx="410">
                        <c:v>44332</c:v>
                      </c:pt>
                      <c:pt idx="411">
                        <c:v>44333</c:v>
                      </c:pt>
                      <c:pt idx="412">
                        <c:v>44334</c:v>
                      </c:pt>
                      <c:pt idx="413">
                        <c:v>44335</c:v>
                      </c:pt>
                      <c:pt idx="414">
                        <c:v>44336</c:v>
                      </c:pt>
                      <c:pt idx="415">
                        <c:v>44337</c:v>
                      </c:pt>
                      <c:pt idx="416">
                        <c:v>44338</c:v>
                      </c:pt>
                      <c:pt idx="417">
                        <c:v>44339</c:v>
                      </c:pt>
                      <c:pt idx="418">
                        <c:v>44340</c:v>
                      </c:pt>
                      <c:pt idx="419">
                        <c:v>44341</c:v>
                      </c:pt>
                      <c:pt idx="420">
                        <c:v>44342</c:v>
                      </c:pt>
                      <c:pt idx="421">
                        <c:v>44343</c:v>
                      </c:pt>
                      <c:pt idx="422">
                        <c:v>44344</c:v>
                      </c:pt>
                      <c:pt idx="423">
                        <c:v>44345</c:v>
                      </c:pt>
                      <c:pt idx="424">
                        <c:v>44346</c:v>
                      </c:pt>
                      <c:pt idx="425">
                        <c:v>44347</c:v>
                      </c:pt>
                      <c:pt idx="426">
                        <c:v>44348</c:v>
                      </c:pt>
                      <c:pt idx="427">
                        <c:v>44349</c:v>
                      </c:pt>
                      <c:pt idx="428">
                        <c:v>44350</c:v>
                      </c:pt>
                      <c:pt idx="429">
                        <c:v>44351</c:v>
                      </c:pt>
                      <c:pt idx="430">
                        <c:v>44352</c:v>
                      </c:pt>
                      <c:pt idx="431">
                        <c:v>44353</c:v>
                      </c:pt>
                      <c:pt idx="432">
                        <c:v>44354</c:v>
                      </c:pt>
                      <c:pt idx="433">
                        <c:v>44355</c:v>
                      </c:pt>
                      <c:pt idx="434">
                        <c:v>44356</c:v>
                      </c:pt>
                      <c:pt idx="435">
                        <c:v>44357</c:v>
                      </c:pt>
                      <c:pt idx="436">
                        <c:v>44358</c:v>
                      </c:pt>
                      <c:pt idx="437">
                        <c:v>44359</c:v>
                      </c:pt>
                      <c:pt idx="438">
                        <c:v>44360</c:v>
                      </c:pt>
                      <c:pt idx="439">
                        <c:v>44361</c:v>
                      </c:pt>
                      <c:pt idx="440">
                        <c:v>44362</c:v>
                      </c:pt>
                      <c:pt idx="441">
                        <c:v>44363</c:v>
                      </c:pt>
                      <c:pt idx="442">
                        <c:v>44364</c:v>
                      </c:pt>
                      <c:pt idx="443">
                        <c:v>44365</c:v>
                      </c:pt>
                      <c:pt idx="444">
                        <c:v>44366</c:v>
                      </c:pt>
                      <c:pt idx="445">
                        <c:v>44367</c:v>
                      </c:pt>
                      <c:pt idx="446">
                        <c:v>44368</c:v>
                      </c:pt>
                      <c:pt idx="447">
                        <c:v>44369</c:v>
                      </c:pt>
                      <c:pt idx="448">
                        <c:v>44370</c:v>
                      </c:pt>
                      <c:pt idx="449">
                        <c:v>44371</c:v>
                      </c:pt>
                      <c:pt idx="450">
                        <c:v>44372</c:v>
                      </c:pt>
                      <c:pt idx="451">
                        <c:v>44373</c:v>
                      </c:pt>
                      <c:pt idx="452">
                        <c:v>44374</c:v>
                      </c:pt>
                      <c:pt idx="453">
                        <c:v>44375</c:v>
                      </c:pt>
                      <c:pt idx="454">
                        <c:v>44376</c:v>
                      </c:pt>
                      <c:pt idx="455">
                        <c:v>44377</c:v>
                      </c:pt>
                      <c:pt idx="456">
                        <c:v>44378</c:v>
                      </c:pt>
                      <c:pt idx="457">
                        <c:v>44379</c:v>
                      </c:pt>
                      <c:pt idx="458">
                        <c:v>44380</c:v>
                      </c:pt>
                      <c:pt idx="459">
                        <c:v>44381</c:v>
                      </c:pt>
                      <c:pt idx="460">
                        <c:v>44382</c:v>
                      </c:pt>
                      <c:pt idx="461">
                        <c:v>44383</c:v>
                      </c:pt>
                      <c:pt idx="462">
                        <c:v>44384</c:v>
                      </c:pt>
                      <c:pt idx="463">
                        <c:v>44385</c:v>
                      </c:pt>
                      <c:pt idx="464">
                        <c:v>44386</c:v>
                      </c:pt>
                      <c:pt idx="465">
                        <c:v>44387</c:v>
                      </c:pt>
                      <c:pt idx="466">
                        <c:v>44388</c:v>
                      </c:pt>
                      <c:pt idx="467">
                        <c:v>44389</c:v>
                      </c:pt>
                      <c:pt idx="468">
                        <c:v>44390</c:v>
                      </c:pt>
                      <c:pt idx="469">
                        <c:v>44391</c:v>
                      </c:pt>
                      <c:pt idx="470">
                        <c:v>44392</c:v>
                      </c:pt>
                      <c:pt idx="471">
                        <c:v>44393</c:v>
                      </c:pt>
                      <c:pt idx="472">
                        <c:v>44394</c:v>
                      </c:pt>
                      <c:pt idx="473">
                        <c:v>44395</c:v>
                      </c:pt>
                      <c:pt idx="474">
                        <c:v>44396</c:v>
                      </c:pt>
                      <c:pt idx="475">
                        <c:v>44397</c:v>
                      </c:pt>
                      <c:pt idx="476">
                        <c:v>44398</c:v>
                      </c:pt>
                      <c:pt idx="477">
                        <c:v>44399</c:v>
                      </c:pt>
                      <c:pt idx="478">
                        <c:v>44400</c:v>
                      </c:pt>
                      <c:pt idx="479">
                        <c:v>44401</c:v>
                      </c:pt>
                      <c:pt idx="480">
                        <c:v>44402</c:v>
                      </c:pt>
                      <c:pt idx="481">
                        <c:v>44403</c:v>
                      </c:pt>
                      <c:pt idx="482">
                        <c:v>44404</c:v>
                      </c:pt>
                      <c:pt idx="483">
                        <c:v>44405</c:v>
                      </c:pt>
                      <c:pt idx="484">
                        <c:v>44406</c:v>
                      </c:pt>
                      <c:pt idx="485">
                        <c:v>44407</c:v>
                      </c:pt>
                      <c:pt idx="486">
                        <c:v>44408</c:v>
                      </c:pt>
                      <c:pt idx="487">
                        <c:v>44409</c:v>
                      </c:pt>
                      <c:pt idx="488">
                        <c:v>44410</c:v>
                      </c:pt>
                      <c:pt idx="489">
                        <c:v>44411</c:v>
                      </c:pt>
                      <c:pt idx="490">
                        <c:v>44412</c:v>
                      </c:pt>
                      <c:pt idx="491">
                        <c:v>44413</c:v>
                      </c:pt>
                      <c:pt idx="492">
                        <c:v>44414</c:v>
                      </c:pt>
                      <c:pt idx="493">
                        <c:v>44415</c:v>
                      </c:pt>
                      <c:pt idx="494">
                        <c:v>44416</c:v>
                      </c:pt>
                      <c:pt idx="495">
                        <c:v>44417</c:v>
                      </c:pt>
                      <c:pt idx="496">
                        <c:v>44418</c:v>
                      </c:pt>
                      <c:pt idx="497">
                        <c:v>44419</c:v>
                      </c:pt>
                      <c:pt idx="498">
                        <c:v>44420</c:v>
                      </c:pt>
                      <c:pt idx="499">
                        <c:v>44421</c:v>
                      </c:pt>
                      <c:pt idx="500">
                        <c:v>44422</c:v>
                      </c:pt>
                      <c:pt idx="501">
                        <c:v>44423</c:v>
                      </c:pt>
                      <c:pt idx="502">
                        <c:v>44424</c:v>
                      </c:pt>
                      <c:pt idx="503">
                        <c:v>44425</c:v>
                      </c:pt>
                      <c:pt idx="504">
                        <c:v>44426</c:v>
                      </c:pt>
                    </c:numCache>
                  </c:numRef>
                </c:cat>
                <c:val>
                  <c:numRef>
                    <c:extLst xmlns:c15="http://schemas.microsoft.com/office/drawing/2012/chart">
                      <c:ext xmlns:c15="http://schemas.microsoft.com/office/drawing/2012/chart" uri="{02D57815-91ED-43cb-92C2-25804820EDAC}">
                        <c15:formulaRef>
                          <c15:sqref>'Rep Dom'!$D$94:$D$371</c15:sqref>
                        </c15:formulaRef>
                      </c:ext>
                    </c:extLst>
                    <c:numCache>
                      <c:formatCode>General</c:formatCode>
                      <c:ptCount val="278"/>
                      <c:pt idx="0">
                        <c:v>175</c:v>
                      </c:pt>
                      <c:pt idx="1">
                        <c:v>96</c:v>
                      </c:pt>
                      <c:pt idx="2">
                        <c:v>108</c:v>
                      </c:pt>
                      <c:pt idx="3">
                        <c:v>0</c:v>
                      </c:pt>
                      <c:pt idx="4">
                        <c:v>257</c:v>
                      </c:pt>
                      <c:pt idx="5">
                        <c:v>83</c:v>
                      </c:pt>
                      <c:pt idx="6">
                        <c:v>128</c:v>
                      </c:pt>
                      <c:pt idx="7">
                        <c:v>155</c:v>
                      </c:pt>
                      <c:pt idx="8">
                        <c:v>238</c:v>
                      </c:pt>
                      <c:pt idx="9">
                        <c:v>271</c:v>
                      </c:pt>
                      <c:pt idx="10">
                        <c:v>139</c:v>
                      </c:pt>
                      <c:pt idx="11">
                        <c:v>208</c:v>
                      </c:pt>
                      <c:pt idx="12">
                        <c:v>200</c:v>
                      </c:pt>
                      <c:pt idx="13">
                        <c:v>119</c:v>
                      </c:pt>
                      <c:pt idx="14">
                        <c:v>328</c:v>
                      </c:pt>
                      <c:pt idx="15">
                        <c:v>141</c:v>
                      </c:pt>
                      <c:pt idx="16">
                        <c:v>371</c:v>
                      </c:pt>
                      <c:pt idx="17">
                        <c:v>209</c:v>
                      </c:pt>
                      <c:pt idx="18">
                        <c:v>345</c:v>
                      </c:pt>
                      <c:pt idx="19">
                        <c:v>284</c:v>
                      </c:pt>
                      <c:pt idx="20">
                        <c:v>80</c:v>
                      </c:pt>
                      <c:pt idx="21">
                        <c:v>256</c:v>
                      </c:pt>
                      <c:pt idx="22">
                        <c:v>243</c:v>
                      </c:pt>
                      <c:pt idx="23">
                        <c:v>206</c:v>
                      </c:pt>
                      <c:pt idx="24">
                        <c:v>177</c:v>
                      </c:pt>
                      <c:pt idx="25">
                        <c:v>209</c:v>
                      </c:pt>
                      <c:pt idx="26">
                        <c:v>158</c:v>
                      </c:pt>
                      <c:pt idx="27">
                        <c:v>123</c:v>
                      </c:pt>
                      <c:pt idx="28">
                        <c:v>236</c:v>
                      </c:pt>
                      <c:pt idx="29">
                        <c:v>320</c:v>
                      </c:pt>
                      <c:pt idx="30">
                        <c:v>316</c:v>
                      </c:pt>
                      <c:pt idx="31">
                        <c:v>290</c:v>
                      </c:pt>
                      <c:pt idx="32">
                        <c:v>376</c:v>
                      </c:pt>
                      <c:pt idx="33">
                        <c:v>281</c:v>
                      </c:pt>
                      <c:pt idx="34">
                        <c:v>245</c:v>
                      </c:pt>
                      <c:pt idx="35">
                        <c:v>327</c:v>
                      </c:pt>
                      <c:pt idx="36">
                        <c:v>288</c:v>
                      </c:pt>
                      <c:pt idx="37">
                        <c:v>281</c:v>
                      </c:pt>
                      <c:pt idx="38">
                        <c:v>506</c:v>
                      </c:pt>
                      <c:pt idx="39">
                        <c:v>465</c:v>
                      </c:pt>
                      <c:pt idx="40">
                        <c:v>287</c:v>
                      </c:pt>
                      <c:pt idx="41">
                        <c:v>266</c:v>
                      </c:pt>
                      <c:pt idx="42">
                        <c:v>296</c:v>
                      </c:pt>
                      <c:pt idx="43">
                        <c:v>124</c:v>
                      </c:pt>
                      <c:pt idx="44">
                        <c:v>419</c:v>
                      </c:pt>
                      <c:pt idx="45">
                        <c:v>371</c:v>
                      </c:pt>
                      <c:pt idx="46">
                        <c:v>204</c:v>
                      </c:pt>
                      <c:pt idx="47">
                        <c:v>411</c:v>
                      </c:pt>
                      <c:pt idx="48">
                        <c:v>498</c:v>
                      </c:pt>
                      <c:pt idx="49">
                        <c:v>254</c:v>
                      </c:pt>
                      <c:pt idx="50">
                        <c:v>180</c:v>
                      </c:pt>
                      <c:pt idx="51">
                        <c:v>332</c:v>
                      </c:pt>
                      <c:pt idx="52">
                        <c:v>433</c:v>
                      </c:pt>
                      <c:pt idx="53">
                        <c:v>379</c:v>
                      </c:pt>
                      <c:pt idx="54">
                        <c:v>272</c:v>
                      </c:pt>
                      <c:pt idx="55">
                        <c:v>191</c:v>
                      </c:pt>
                      <c:pt idx="56">
                        <c:v>459</c:v>
                      </c:pt>
                      <c:pt idx="57">
                        <c:v>345</c:v>
                      </c:pt>
                      <c:pt idx="58">
                        <c:v>463</c:v>
                      </c:pt>
                      <c:pt idx="59">
                        <c:v>377</c:v>
                      </c:pt>
                      <c:pt idx="60">
                        <c:v>377</c:v>
                      </c:pt>
                      <c:pt idx="61">
                        <c:v>287</c:v>
                      </c:pt>
                      <c:pt idx="62">
                        <c:v>180</c:v>
                      </c:pt>
                      <c:pt idx="63">
                        <c:v>288</c:v>
                      </c:pt>
                      <c:pt idx="64">
                        <c:v>279</c:v>
                      </c:pt>
                      <c:pt idx="65">
                        <c:v>389</c:v>
                      </c:pt>
                      <c:pt idx="66">
                        <c:v>487</c:v>
                      </c:pt>
                      <c:pt idx="67">
                        <c:v>405</c:v>
                      </c:pt>
                      <c:pt idx="68">
                        <c:v>526</c:v>
                      </c:pt>
                      <c:pt idx="69">
                        <c:v>289</c:v>
                      </c:pt>
                      <c:pt idx="70">
                        <c:v>393</c:v>
                      </c:pt>
                      <c:pt idx="71">
                        <c:v>629</c:v>
                      </c:pt>
                      <c:pt idx="72">
                        <c:v>571</c:v>
                      </c:pt>
                      <c:pt idx="73">
                        <c:v>564</c:v>
                      </c:pt>
                      <c:pt idx="74">
                        <c:v>390</c:v>
                      </c:pt>
                      <c:pt idx="75">
                        <c:v>309</c:v>
                      </c:pt>
                      <c:pt idx="76">
                        <c:v>415</c:v>
                      </c:pt>
                      <c:pt idx="77">
                        <c:v>419</c:v>
                      </c:pt>
                      <c:pt idx="78">
                        <c:v>540</c:v>
                      </c:pt>
                      <c:pt idx="79">
                        <c:v>423</c:v>
                      </c:pt>
                      <c:pt idx="80">
                        <c:v>710</c:v>
                      </c:pt>
                      <c:pt idx="81">
                        <c:v>899</c:v>
                      </c:pt>
                      <c:pt idx="82">
                        <c:v>693</c:v>
                      </c:pt>
                      <c:pt idx="83">
                        <c:v>566</c:v>
                      </c:pt>
                      <c:pt idx="84">
                        <c:v>695</c:v>
                      </c:pt>
                      <c:pt idx="85">
                        <c:v>510</c:v>
                      </c:pt>
                      <c:pt idx="86">
                        <c:v>623</c:v>
                      </c:pt>
                      <c:pt idx="87">
                        <c:v>855</c:v>
                      </c:pt>
                      <c:pt idx="88">
                        <c:v>754</c:v>
                      </c:pt>
                      <c:pt idx="89">
                        <c:v>443</c:v>
                      </c:pt>
                      <c:pt idx="90">
                        <c:v>752</c:v>
                      </c:pt>
                      <c:pt idx="91">
                        <c:v>819</c:v>
                      </c:pt>
                      <c:pt idx="92">
                        <c:v>810</c:v>
                      </c:pt>
                      <c:pt idx="93">
                        <c:v>951</c:v>
                      </c:pt>
                      <c:pt idx="94">
                        <c:v>1036</c:v>
                      </c:pt>
                      <c:pt idx="95">
                        <c:v>1241</c:v>
                      </c:pt>
                      <c:pt idx="96">
                        <c:v>703</c:v>
                      </c:pt>
                      <c:pt idx="97">
                        <c:v>302</c:v>
                      </c:pt>
                      <c:pt idx="98">
                        <c:v>1158</c:v>
                      </c:pt>
                      <c:pt idx="99">
                        <c:v>1202</c:v>
                      </c:pt>
                      <c:pt idx="100">
                        <c:v>1125</c:v>
                      </c:pt>
                      <c:pt idx="101">
                        <c:v>1199</c:v>
                      </c:pt>
                      <c:pt idx="102">
                        <c:v>1418</c:v>
                      </c:pt>
                      <c:pt idx="103">
                        <c:v>974</c:v>
                      </c:pt>
                      <c:pt idx="104">
                        <c:v>799</c:v>
                      </c:pt>
                      <c:pt idx="105">
                        <c:v>1366</c:v>
                      </c:pt>
                      <c:pt idx="106">
                        <c:v>1072</c:v>
                      </c:pt>
                      <c:pt idx="107">
                        <c:v>1370</c:v>
                      </c:pt>
                      <c:pt idx="108">
                        <c:v>1406</c:v>
                      </c:pt>
                      <c:pt idx="109">
                        <c:v>1336</c:v>
                      </c:pt>
                      <c:pt idx="110">
                        <c:v>1101</c:v>
                      </c:pt>
                      <c:pt idx="111">
                        <c:v>841</c:v>
                      </c:pt>
                      <c:pt idx="112">
                        <c:v>1246</c:v>
                      </c:pt>
                      <c:pt idx="113">
                        <c:v>1572</c:v>
                      </c:pt>
                      <c:pt idx="114">
                        <c:v>1462</c:v>
                      </c:pt>
                      <c:pt idx="115">
                        <c:v>1819</c:v>
                      </c:pt>
                      <c:pt idx="116">
                        <c:v>2012</c:v>
                      </c:pt>
                      <c:pt idx="117">
                        <c:v>1248</c:v>
                      </c:pt>
                      <c:pt idx="118">
                        <c:v>534</c:v>
                      </c:pt>
                      <c:pt idx="119">
                        <c:v>1492</c:v>
                      </c:pt>
                      <c:pt idx="120">
                        <c:v>1733</c:v>
                      </c:pt>
                      <c:pt idx="121">
                        <c:v>1734</c:v>
                      </c:pt>
                      <c:pt idx="122">
                        <c:v>1766</c:v>
                      </c:pt>
                      <c:pt idx="123">
                        <c:v>828</c:v>
                      </c:pt>
                      <c:pt idx="124">
                        <c:v>874</c:v>
                      </c:pt>
                      <c:pt idx="125">
                        <c:v>1178</c:v>
                      </c:pt>
                      <c:pt idx="126">
                        <c:v>1365</c:v>
                      </c:pt>
                      <c:pt idx="127">
                        <c:v>876</c:v>
                      </c:pt>
                      <c:pt idx="128">
                        <c:v>1173</c:v>
                      </c:pt>
                      <c:pt idx="129">
                        <c:v>1069</c:v>
                      </c:pt>
                      <c:pt idx="130">
                        <c:v>954</c:v>
                      </c:pt>
                      <c:pt idx="131">
                        <c:v>767</c:v>
                      </c:pt>
                      <c:pt idx="132">
                        <c:v>595</c:v>
                      </c:pt>
                      <c:pt idx="133">
                        <c:v>1130</c:v>
                      </c:pt>
                      <c:pt idx="134">
                        <c:v>910</c:v>
                      </c:pt>
                      <c:pt idx="135">
                        <c:v>1354</c:v>
                      </c:pt>
                      <c:pt idx="136">
                        <c:v>1057</c:v>
                      </c:pt>
                      <c:pt idx="137">
                        <c:v>764</c:v>
                      </c:pt>
                      <c:pt idx="138">
                        <c:v>428</c:v>
                      </c:pt>
                      <c:pt idx="139">
                        <c:v>386</c:v>
                      </c:pt>
                      <c:pt idx="140">
                        <c:v>1004</c:v>
                      </c:pt>
                      <c:pt idx="141">
                        <c:v>883</c:v>
                      </c:pt>
                      <c:pt idx="142">
                        <c:v>857</c:v>
                      </c:pt>
                      <c:pt idx="143">
                        <c:v>694</c:v>
                      </c:pt>
                      <c:pt idx="144">
                        <c:v>600</c:v>
                      </c:pt>
                      <c:pt idx="145">
                        <c:v>447</c:v>
                      </c:pt>
                      <c:pt idx="146">
                        <c:v>609</c:v>
                      </c:pt>
                      <c:pt idx="147">
                        <c:v>340</c:v>
                      </c:pt>
                      <c:pt idx="148">
                        <c:v>407</c:v>
                      </c:pt>
                      <c:pt idx="149">
                        <c:v>426</c:v>
                      </c:pt>
                      <c:pt idx="150">
                        <c:v>342</c:v>
                      </c:pt>
                      <c:pt idx="151">
                        <c:v>509</c:v>
                      </c:pt>
                      <c:pt idx="152">
                        <c:v>474</c:v>
                      </c:pt>
                      <c:pt idx="153">
                        <c:v>264</c:v>
                      </c:pt>
                      <c:pt idx="154">
                        <c:v>648</c:v>
                      </c:pt>
                      <c:pt idx="155">
                        <c:v>1002</c:v>
                      </c:pt>
                      <c:pt idx="156">
                        <c:v>0</c:v>
                      </c:pt>
                      <c:pt idx="157">
                        <c:v>2147</c:v>
                      </c:pt>
                      <c:pt idx="158">
                        <c:v>557</c:v>
                      </c:pt>
                      <c:pt idx="159">
                        <c:v>565</c:v>
                      </c:pt>
                      <c:pt idx="160">
                        <c:v>233</c:v>
                      </c:pt>
                      <c:pt idx="161">
                        <c:v>806</c:v>
                      </c:pt>
                      <c:pt idx="162">
                        <c:v>779</c:v>
                      </c:pt>
                      <c:pt idx="163">
                        <c:v>516</c:v>
                      </c:pt>
                      <c:pt idx="164">
                        <c:v>860</c:v>
                      </c:pt>
                      <c:pt idx="165">
                        <c:v>568</c:v>
                      </c:pt>
                      <c:pt idx="166">
                        <c:v>450</c:v>
                      </c:pt>
                      <c:pt idx="167">
                        <c:v>693</c:v>
                      </c:pt>
                      <c:pt idx="168">
                        <c:v>718</c:v>
                      </c:pt>
                      <c:pt idx="169">
                        <c:v>615</c:v>
                      </c:pt>
                      <c:pt idx="170">
                        <c:v>596</c:v>
                      </c:pt>
                      <c:pt idx="171">
                        <c:v>968</c:v>
                      </c:pt>
                      <c:pt idx="172">
                        <c:v>589</c:v>
                      </c:pt>
                      <c:pt idx="173">
                        <c:v>494</c:v>
                      </c:pt>
                      <c:pt idx="174">
                        <c:v>486</c:v>
                      </c:pt>
                      <c:pt idx="175">
                        <c:v>468</c:v>
                      </c:pt>
                      <c:pt idx="176">
                        <c:v>385</c:v>
                      </c:pt>
                      <c:pt idx="177">
                        <c:v>475</c:v>
                      </c:pt>
                      <c:pt idx="178">
                        <c:v>360</c:v>
                      </c:pt>
                      <c:pt idx="179">
                        <c:v>429</c:v>
                      </c:pt>
                      <c:pt idx="180">
                        <c:v>280</c:v>
                      </c:pt>
                      <c:pt idx="181">
                        <c:v>234</c:v>
                      </c:pt>
                      <c:pt idx="182">
                        <c:v>309</c:v>
                      </c:pt>
                      <c:pt idx="183">
                        <c:v>519</c:v>
                      </c:pt>
                      <c:pt idx="184">
                        <c:v>622</c:v>
                      </c:pt>
                      <c:pt idx="185">
                        <c:v>576</c:v>
                      </c:pt>
                      <c:pt idx="186">
                        <c:v>554</c:v>
                      </c:pt>
                      <c:pt idx="187">
                        <c:v>574</c:v>
                      </c:pt>
                      <c:pt idx="188">
                        <c:v>317</c:v>
                      </c:pt>
                      <c:pt idx="189">
                        <c:v>777</c:v>
                      </c:pt>
                      <c:pt idx="190">
                        <c:v>724</c:v>
                      </c:pt>
                      <c:pt idx="191">
                        <c:v>585</c:v>
                      </c:pt>
                      <c:pt idx="192">
                        <c:v>557</c:v>
                      </c:pt>
                      <c:pt idx="193">
                        <c:v>463</c:v>
                      </c:pt>
                      <c:pt idx="194">
                        <c:v>366</c:v>
                      </c:pt>
                      <c:pt idx="195">
                        <c:v>165</c:v>
                      </c:pt>
                      <c:pt idx="196">
                        <c:v>654</c:v>
                      </c:pt>
                      <c:pt idx="197">
                        <c:v>404</c:v>
                      </c:pt>
                      <c:pt idx="198">
                        <c:v>384</c:v>
                      </c:pt>
                      <c:pt idx="199">
                        <c:v>475</c:v>
                      </c:pt>
                      <c:pt idx="200">
                        <c:v>422</c:v>
                      </c:pt>
                      <c:pt idx="201">
                        <c:v>320</c:v>
                      </c:pt>
                      <c:pt idx="202">
                        <c:v>306</c:v>
                      </c:pt>
                      <c:pt idx="203">
                        <c:v>425</c:v>
                      </c:pt>
                      <c:pt idx="204">
                        <c:v>475</c:v>
                      </c:pt>
                      <c:pt idx="205">
                        <c:v>0</c:v>
                      </c:pt>
                      <c:pt idx="206">
                        <c:v>1145</c:v>
                      </c:pt>
                      <c:pt idx="207">
                        <c:v>509</c:v>
                      </c:pt>
                      <c:pt idx="208">
                        <c:v>316</c:v>
                      </c:pt>
                      <c:pt idx="209">
                        <c:v>165</c:v>
                      </c:pt>
                      <c:pt idx="210">
                        <c:v>562</c:v>
                      </c:pt>
                      <c:pt idx="211">
                        <c:v>343</c:v>
                      </c:pt>
                      <c:pt idx="212">
                        <c:v>419</c:v>
                      </c:pt>
                      <c:pt idx="213">
                        <c:v>686</c:v>
                      </c:pt>
                      <c:pt idx="214">
                        <c:v>314</c:v>
                      </c:pt>
                      <c:pt idx="215">
                        <c:v>259</c:v>
                      </c:pt>
                      <c:pt idx="216">
                        <c:v>257</c:v>
                      </c:pt>
                      <c:pt idx="217">
                        <c:v>430</c:v>
                      </c:pt>
                      <c:pt idx="218">
                        <c:v>546</c:v>
                      </c:pt>
                      <c:pt idx="219">
                        <c:v>476</c:v>
                      </c:pt>
                      <c:pt idx="220">
                        <c:v>345</c:v>
                      </c:pt>
                      <c:pt idx="221">
                        <c:v>537</c:v>
                      </c:pt>
                      <c:pt idx="222">
                        <c:v>421</c:v>
                      </c:pt>
                      <c:pt idx="223">
                        <c:v>528</c:v>
                      </c:pt>
                      <c:pt idx="224">
                        <c:v>134</c:v>
                      </c:pt>
                      <c:pt idx="225">
                        <c:v>371</c:v>
                      </c:pt>
                      <c:pt idx="226">
                        <c:v>918</c:v>
                      </c:pt>
                      <c:pt idx="227">
                        <c:v>671</c:v>
                      </c:pt>
                      <c:pt idx="228">
                        <c:v>499</c:v>
                      </c:pt>
                      <c:pt idx="229">
                        <c:v>479</c:v>
                      </c:pt>
                      <c:pt idx="230">
                        <c:v>494</c:v>
                      </c:pt>
                      <c:pt idx="231">
                        <c:v>460</c:v>
                      </c:pt>
                      <c:pt idx="232">
                        <c:v>1026</c:v>
                      </c:pt>
                      <c:pt idx="233">
                        <c:v>601</c:v>
                      </c:pt>
                      <c:pt idx="234">
                        <c:v>986</c:v>
                      </c:pt>
                      <c:pt idx="235">
                        <c:v>640</c:v>
                      </c:pt>
                      <c:pt idx="236">
                        <c:v>419</c:v>
                      </c:pt>
                      <c:pt idx="237">
                        <c:v>282</c:v>
                      </c:pt>
                      <c:pt idx="238">
                        <c:v>285</c:v>
                      </c:pt>
                      <c:pt idx="239">
                        <c:v>1526</c:v>
                      </c:pt>
                      <c:pt idx="240">
                        <c:v>855</c:v>
                      </c:pt>
                      <c:pt idx="241">
                        <c:v>876</c:v>
                      </c:pt>
                      <c:pt idx="242">
                        <c:v>820</c:v>
                      </c:pt>
                      <c:pt idx="243">
                        <c:v>515</c:v>
                      </c:pt>
                      <c:pt idx="244">
                        <c:v>314</c:v>
                      </c:pt>
                      <c:pt idx="245">
                        <c:v>895</c:v>
                      </c:pt>
                      <c:pt idx="246">
                        <c:v>812</c:v>
                      </c:pt>
                      <c:pt idx="247">
                        <c:v>671</c:v>
                      </c:pt>
                      <c:pt idx="248">
                        <c:v>975</c:v>
                      </c:pt>
                      <c:pt idx="249">
                        <c:v>798</c:v>
                      </c:pt>
                      <c:pt idx="250">
                        <c:v>685</c:v>
                      </c:pt>
                      <c:pt idx="251">
                        <c:v>492</c:v>
                      </c:pt>
                      <c:pt idx="252">
                        <c:v>531</c:v>
                      </c:pt>
                      <c:pt idx="253">
                        <c:v>1560</c:v>
                      </c:pt>
                      <c:pt idx="254">
                        <c:v>731</c:v>
                      </c:pt>
                      <c:pt idx="255">
                        <c:v>1133</c:v>
                      </c:pt>
                      <c:pt idx="256">
                        <c:v>1107</c:v>
                      </c:pt>
                      <c:pt idx="257">
                        <c:v>492</c:v>
                      </c:pt>
                      <c:pt idx="258">
                        <c:v>613</c:v>
                      </c:pt>
                      <c:pt idx="259">
                        <c:v>788</c:v>
                      </c:pt>
                      <c:pt idx="260">
                        <c:v>720</c:v>
                      </c:pt>
                      <c:pt idx="261">
                        <c:v>624</c:v>
                      </c:pt>
                      <c:pt idx="262">
                        <c:v>1135</c:v>
                      </c:pt>
                      <c:pt idx="263">
                        <c:v>1322</c:v>
                      </c:pt>
                      <c:pt idx="264">
                        <c:v>666</c:v>
                      </c:pt>
                      <c:pt idx="265">
                        <c:v>878</c:v>
                      </c:pt>
                      <c:pt idx="266">
                        <c:v>566</c:v>
                      </c:pt>
                      <c:pt idx="267">
                        <c:v>1158</c:v>
                      </c:pt>
                      <c:pt idx="268">
                        <c:v>1381</c:v>
                      </c:pt>
                      <c:pt idx="269">
                        <c:v>905</c:v>
                      </c:pt>
                      <c:pt idx="270">
                        <c:v>824</c:v>
                      </c:pt>
                      <c:pt idx="271">
                        <c:v>641</c:v>
                      </c:pt>
                      <c:pt idx="272">
                        <c:v>860</c:v>
                      </c:pt>
                      <c:pt idx="273">
                        <c:v>1314</c:v>
                      </c:pt>
                      <c:pt idx="274">
                        <c:v>1206</c:v>
                      </c:pt>
                      <c:pt idx="275">
                        <c:v>1433</c:v>
                      </c:pt>
                      <c:pt idx="276">
                        <c:v>747</c:v>
                      </c:pt>
                      <c:pt idx="277">
                        <c:v>366</c:v>
                      </c:pt>
                    </c:numCache>
                  </c:numRef>
                </c:val>
                <c:extLst xmlns:c15="http://schemas.microsoft.com/office/drawing/2012/chart">
                  <c:ext xmlns:c16="http://schemas.microsoft.com/office/drawing/2014/chart" uri="{C3380CC4-5D6E-409C-BE32-E72D297353CC}">
                    <c16:uniqueId val="{00000006-ABFF-4F69-A778-B65D06386B92}"/>
                  </c:ext>
                </c:extLst>
              </c15:ser>
            </c15:filteredBarSeries>
          </c:ext>
        </c:extLst>
      </c:barChart>
      <c:lineChart>
        <c:grouping val="standard"/>
        <c:varyColors val="0"/>
        <c:ser>
          <c:idx val="4"/>
          <c:order val="0"/>
          <c:tx>
            <c:strRef>
              <c:f>Resumen!$A$14</c:f>
              <c:strCache>
                <c:ptCount val="1"/>
                <c:pt idx="0">
                  <c:v>GUATEMALA 1/</c:v>
                </c:pt>
              </c:strCache>
            </c:strRef>
          </c:tx>
          <c:spPr>
            <a:ln w="22225" cap="rnd">
              <a:solidFill>
                <a:srgbClr val="0B3963"/>
              </a:solidFill>
              <a:round/>
            </a:ln>
            <a:effectLst/>
          </c:spPr>
          <c:marker>
            <c:symbol val="none"/>
          </c:marker>
          <c:cat>
            <c:numRef>
              <c:f>World!$A$94:$A$596</c:f>
              <c:numCache>
                <c:formatCode>dd/mm/yy;@</c:formatCode>
                <c:ptCount val="503"/>
                <c:pt idx="0">
                  <c:v>43922</c:v>
                </c:pt>
                <c:pt idx="1">
                  <c:v>43923</c:v>
                </c:pt>
                <c:pt idx="2">
                  <c:v>43924</c:v>
                </c:pt>
                <c:pt idx="3">
                  <c:v>43925</c:v>
                </c:pt>
                <c:pt idx="4">
                  <c:v>43926</c:v>
                </c:pt>
                <c:pt idx="5">
                  <c:v>43927</c:v>
                </c:pt>
                <c:pt idx="6">
                  <c:v>43928</c:v>
                </c:pt>
                <c:pt idx="7">
                  <c:v>43929</c:v>
                </c:pt>
                <c:pt idx="8">
                  <c:v>43930</c:v>
                </c:pt>
                <c:pt idx="9">
                  <c:v>43931</c:v>
                </c:pt>
                <c:pt idx="10">
                  <c:v>43932</c:v>
                </c:pt>
                <c:pt idx="11">
                  <c:v>43933</c:v>
                </c:pt>
                <c:pt idx="12">
                  <c:v>43934</c:v>
                </c:pt>
                <c:pt idx="13">
                  <c:v>43935</c:v>
                </c:pt>
                <c:pt idx="14">
                  <c:v>43936</c:v>
                </c:pt>
                <c:pt idx="15">
                  <c:v>43937</c:v>
                </c:pt>
                <c:pt idx="16">
                  <c:v>43938</c:v>
                </c:pt>
                <c:pt idx="17">
                  <c:v>43939</c:v>
                </c:pt>
                <c:pt idx="18">
                  <c:v>43940</c:v>
                </c:pt>
                <c:pt idx="19">
                  <c:v>43941</c:v>
                </c:pt>
                <c:pt idx="20">
                  <c:v>43942</c:v>
                </c:pt>
                <c:pt idx="21">
                  <c:v>43943</c:v>
                </c:pt>
                <c:pt idx="22">
                  <c:v>43944</c:v>
                </c:pt>
                <c:pt idx="23">
                  <c:v>43945</c:v>
                </c:pt>
                <c:pt idx="24">
                  <c:v>43946</c:v>
                </c:pt>
                <c:pt idx="25">
                  <c:v>43947</c:v>
                </c:pt>
                <c:pt idx="26">
                  <c:v>43948</c:v>
                </c:pt>
                <c:pt idx="27">
                  <c:v>43949</c:v>
                </c:pt>
                <c:pt idx="28">
                  <c:v>43950</c:v>
                </c:pt>
                <c:pt idx="29">
                  <c:v>43951</c:v>
                </c:pt>
                <c:pt idx="30">
                  <c:v>43952</c:v>
                </c:pt>
                <c:pt idx="31">
                  <c:v>43953</c:v>
                </c:pt>
                <c:pt idx="32">
                  <c:v>43954</c:v>
                </c:pt>
                <c:pt idx="33">
                  <c:v>43955</c:v>
                </c:pt>
                <c:pt idx="34">
                  <c:v>43956</c:v>
                </c:pt>
                <c:pt idx="35">
                  <c:v>43957</c:v>
                </c:pt>
                <c:pt idx="36">
                  <c:v>43958</c:v>
                </c:pt>
                <c:pt idx="37">
                  <c:v>43959</c:v>
                </c:pt>
                <c:pt idx="38">
                  <c:v>43960</c:v>
                </c:pt>
                <c:pt idx="39">
                  <c:v>43961</c:v>
                </c:pt>
                <c:pt idx="40">
                  <c:v>43962</c:v>
                </c:pt>
                <c:pt idx="41">
                  <c:v>43963</c:v>
                </c:pt>
                <c:pt idx="42">
                  <c:v>43964</c:v>
                </c:pt>
                <c:pt idx="43">
                  <c:v>43965</c:v>
                </c:pt>
                <c:pt idx="44">
                  <c:v>43966</c:v>
                </c:pt>
                <c:pt idx="45">
                  <c:v>43967</c:v>
                </c:pt>
                <c:pt idx="46">
                  <c:v>43968</c:v>
                </c:pt>
                <c:pt idx="47">
                  <c:v>43969</c:v>
                </c:pt>
                <c:pt idx="48">
                  <c:v>43970</c:v>
                </c:pt>
                <c:pt idx="49">
                  <c:v>43971</c:v>
                </c:pt>
                <c:pt idx="50">
                  <c:v>43972</c:v>
                </c:pt>
                <c:pt idx="51">
                  <c:v>43973</c:v>
                </c:pt>
                <c:pt idx="52">
                  <c:v>43974</c:v>
                </c:pt>
                <c:pt idx="53">
                  <c:v>43975</c:v>
                </c:pt>
                <c:pt idx="54">
                  <c:v>43976</c:v>
                </c:pt>
                <c:pt idx="55">
                  <c:v>43977</c:v>
                </c:pt>
                <c:pt idx="56">
                  <c:v>43978</c:v>
                </c:pt>
                <c:pt idx="57">
                  <c:v>43979</c:v>
                </c:pt>
                <c:pt idx="58">
                  <c:v>43980</c:v>
                </c:pt>
                <c:pt idx="59">
                  <c:v>43981</c:v>
                </c:pt>
                <c:pt idx="60">
                  <c:v>43982</c:v>
                </c:pt>
                <c:pt idx="61">
                  <c:v>43983</c:v>
                </c:pt>
                <c:pt idx="62">
                  <c:v>43984</c:v>
                </c:pt>
                <c:pt idx="63">
                  <c:v>43985</c:v>
                </c:pt>
                <c:pt idx="64">
                  <c:v>43986</c:v>
                </c:pt>
                <c:pt idx="65">
                  <c:v>43987</c:v>
                </c:pt>
                <c:pt idx="66">
                  <c:v>43988</c:v>
                </c:pt>
                <c:pt idx="67">
                  <c:v>43989</c:v>
                </c:pt>
                <c:pt idx="68">
                  <c:v>43990</c:v>
                </c:pt>
                <c:pt idx="69">
                  <c:v>43991</c:v>
                </c:pt>
                <c:pt idx="70">
                  <c:v>43992</c:v>
                </c:pt>
                <c:pt idx="71">
                  <c:v>43993</c:v>
                </c:pt>
                <c:pt idx="72">
                  <c:v>43994</c:v>
                </c:pt>
                <c:pt idx="73">
                  <c:v>43995</c:v>
                </c:pt>
                <c:pt idx="74">
                  <c:v>43996</c:v>
                </c:pt>
                <c:pt idx="75">
                  <c:v>43997</c:v>
                </c:pt>
                <c:pt idx="76">
                  <c:v>43998</c:v>
                </c:pt>
                <c:pt idx="77">
                  <c:v>43999</c:v>
                </c:pt>
                <c:pt idx="78">
                  <c:v>44000</c:v>
                </c:pt>
                <c:pt idx="79">
                  <c:v>44001</c:v>
                </c:pt>
                <c:pt idx="80">
                  <c:v>44002</c:v>
                </c:pt>
                <c:pt idx="81">
                  <c:v>44003</c:v>
                </c:pt>
                <c:pt idx="82">
                  <c:v>44004</c:v>
                </c:pt>
                <c:pt idx="83">
                  <c:v>44005</c:v>
                </c:pt>
                <c:pt idx="84">
                  <c:v>44006</c:v>
                </c:pt>
                <c:pt idx="85">
                  <c:v>44007</c:v>
                </c:pt>
                <c:pt idx="86">
                  <c:v>44008</c:v>
                </c:pt>
                <c:pt idx="87">
                  <c:v>44009</c:v>
                </c:pt>
                <c:pt idx="88">
                  <c:v>44010</c:v>
                </c:pt>
                <c:pt idx="89">
                  <c:v>44011</c:v>
                </c:pt>
                <c:pt idx="90">
                  <c:v>44012</c:v>
                </c:pt>
                <c:pt idx="91">
                  <c:v>44013</c:v>
                </c:pt>
                <c:pt idx="92">
                  <c:v>44014</c:v>
                </c:pt>
                <c:pt idx="93">
                  <c:v>44015</c:v>
                </c:pt>
                <c:pt idx="94">
                  <c:v>44016</c:v>
                </c:pt>
                <c:pt idx="95">
                  <c:v>44017</c:v>
                </c:pt>
                <c:pt idx="96">
                  <c:v>44018</c:v>
                </c:pt>
                <c:pt idx="97">
                  <c:v>44019</c:v>
                </c:pt>
                <c:pt idx="98">
                  <c:v>44020</c:v>
                </c:pt>
                <c:pt idx="99">
                  <c:v>44021</c:v>
                </c:pt>
                <c:pt idx="100">
                  <c:v>44022</c:v>
                </c:pt>
                <c:pt idx="101">
                  <c:v>44023</c:v>
                </c:pt>
                <c:pt idx="102">
                  <c:v>44024</c:v>
                </c:pt>
                <c:pt idx="103">
                  <c:v>44025</c:v>
                </c:pt>
                <c:pt idx="104">
                  <c:v>44026</c:v>
                </c:pt>
                <c:pt idx="105">
                  <c:v>44027</c:v>
                </c:pt>
                <c:pt idx="106">
                  <c:v>44028</c:v>
                </c:pt>
                <c:pt idx="107">
                  <c:v>44029</c:v>
                </c:pt>
                <c:pt idx="108">
                  <c:v>44030</c:v>
                </c:pt>
                <c:pt idx="109">
                  <c:v>44031</c:v>
                </c:pt>
                <c:pt idx="110">
                  <c:v>44032</c:v>
                </c:pt>
                <c:pt idx="111">
                  <c:v>44033</c:v>
                </c:pt>
                <c:pt idx="112">
                  <c:v>44034</c:v>
                </c:pt>
                <c:pt idx="113">
                  <c:v>44035</c:v>
                </c:pt>
                <c:pt idx="114">
                  <c:v>44036</c:v>
                </c:pt>
                <c:pt idx="115">
                  <c:v>44037</c:v>
                </c:pt>
                <c:pt idx="116">
                  <c:v>44038</c:v>
                </c:pt>
                <c:pt idx="117">
                  <c:v>44039</c:v>
                </c:pt>
                <c:pt idx="118">
                  <c:v>44040</c:v>
                </c:pt>
                <c:pt idx="119">
                  <c:v>44041</c:v>
                </c:pt>
                <c:pt idx="120">
                  <c:v>44042</c:v>
                </c:pt>
                <c:pt idx="121">
                  <c:v>44043</c:v>
                </c:pt>
                <c:pt idx="122">
                  <c:v>44044</c:v>
                </c:pt>
                <c:pt idx="123">
                  <c:v>44045</c:v>
                </c:pt>
                <c:pt idx="124">
                  <c:v>44046</c:v>
                </c:pt>
                <c:pt idx="125">
                  <c:v>44047</c:v>
                </c:pt>
                <c:pt idx="126">
                  <c:v>44048</c:v>
                </c:pt>
                <c:pt idx="127">
                  <c:v>44049</c:v>
                </c:pt>
                <c:pt idx="128">
                  <c:v>44050</c:v>
                </c:pt>
                <c:pt idx="129">
                  <c:v>44051</c:v>
                </c:pt>
                <c:pt idx="130">
                  <c:v>44052</c:v>
                </c:pt>
                <c:pt idx="131">
                  <c:v>44053</c:v>
                </c:pt>
                <c:pt idx="132">
                  <c:v>44054</c:v>
                </c:pt>
                <c:pt idx="133">
                  <c:v>44055</c:v>
                </c:pt>
                <c:pt idx="134">
                  <c:v>44056</c:v>
                </c:pt>
                <c:pt idx="135">
                  <c:v>44057</c:v>
                </c:pt>
                <c:pt idx="136">
                  <c:v>44058</c:v>
                </c:pt>
                <c:pt idx="137">
                  <c:v>44059</c:v>
                </c:pt>
                <c:pt idx="138">
                  <c:v>44060</c:v>
                </c:pt>
                <c:pt idx="139">
                  <c:v>44061</c:v>
                </c:pt>
                <c:pt idx="140">
                  <c:v>44062</c:v>
                </c:pt>
                <c:pt idx="141">
                  <c:v>44063</c:v>
                </c:pt>
                <c:pt idx="142">
                  <c:v>44064</c:v>
                </c:pt>
                <c:pt idx="143">
                  <c:v>44065</c:v>
                </c:pt>
                <c:pt idx="144">
                  <c:v>44066</c:v>
                </c:pt>
                <c:pt idx="145">
                  <c:v>44067</c:v>
                </c:pt>
                <c:pt idx="146">
                  <c:v>44068</c:v>
                </c:pt>
                <c:pt idx="147">
                  <c:v>44069</c:v>
                </c:pt>
                <c:pt idx="148">
                  <c:v>44070</c:v>
                </c:pt>
                <c:pt idx="149">
                  <c:v>44071</c:v>
                </c:pt>
                <c:pt idx="150">
                  <c:v>44072</c:v>
                </c:pt>
                <c:pt idx="151">
                  <c:v>44073</c:v>
                </c:pt>
                <c:pt idx="152">
                  <c:v>44074</c:v>
                </c:pt>
                <c:pt idx="153">
                  <c:v>44075</c:v>
                </c:pt>
                <c:pt idx="154">
                  <c:v>44076</c:v>
                </c:pt>
                <c:pt idx="155">
                  <c:v>44077</c:v>
                </c:pt>
                <c:pt idx="156">
                  <c:v>44078</c:v>
                </c:pt>
                <c:pt idx="157">
                  <c:v>44079</c:v>
                </c:pt>
                <c:pt idx="158">
                  <c:v>44080</c:v>
                </c:pt>
                <c:pt idx="159">
                  <c:v>44081</c:v>
                </c:pt>
                <c:pt idx="160">
                  <c:v>44082</c:v>
                </c:pt>
                <c:pt idx="161">
                  <c:v>44083</c:v>
                </c:pt>
                <c:pt idx="162">
                  <c:v>44084</c:v>
                </c:pt>
                <c:pt idx="163">
                  <c:v>44085</c:v>
                </c:pt>
                <c:pt idx="164">
                  <c:v>44086</c:v>
                </c:pt>
                <c:pt idx="165">
                  <c:v>44087</c:v>
                </c:pt>
                <c:pt idx="166">
                  <c:v>44088</c:v>
                </c:pt>
                <c:pt idx="167">
                  <c:v>44089</c:v>
                </c:pt>
                <c:pt idx="168">
                  <c:v>44090</c:v>
                </c:pt>
                <c:pt idx="169">
                  <c:v>44091</c:v>
                </c:pt>
                <c:pt idx="170">
                  <c:v>44092</c:v>
                </c:pt>
                <c:pt idx="171">
                  <c:v>44093</c:v>
                </c:pt>
                <c:pt idx="172">
                  <c:v>44094</c:v>
                </c:pt>
                <c:pt idx="173">
                  <c:v>44095</c:v>
                </c:pt>
                <c:pt idx="174">
                  <c:v>44096</c:v>
                </c:pt>
                <c:pt idx="175">
                  <c:v>44097</c:v>
                </c:pt>
                <c:pt idx="176">
                  <c:v>44098</c:v>
                </c:pt>
                <c:pt idx="177">
                  <c:v>44099</c:v>
                </c:pt>
                <c:pt idx="178">
                  <c:v>44100</c:v>
                </c:pt>
                <c:pt idx="179">
                  <c:v>44101</c:v>
                </c:pt>
                <c:pt idx="180">
                  <c:v>44102</c:v>
                </c:pt>
                <c:pt idx="181">
                  <c:v>44103</c:v>
                </c:pt>
                <c:pt idx="182">
                  <c:v>44104</c:v>
                </c:pt>
                <c:pt idx="183">
                  <c:v>44105</c:v>
                </c:pt>
                <c:pt idx="184">
                  <c:v>44106</c:v>
                </c:pt>
                <c:pt idx="185">
                  <c:v>44107</c:v>
                </c:pt>
                <c:pt idx="186">
                  <c:v>44108</c:v>
                </c:pt>
                <c:pt idx="187">
                  <c:v>44109</c:v>
                </c:pt>
                <c:pt idx="188">
                  <c:v>44110</c:v>
                </c:pt>
                <c:pt idx="189">
                  <c:v>44111</c:v>
                </c:pt>
                <c:pt idx="190">
                  <c:v>44112</c:v>
                </c:pt>
                <c:pt idx="191">
                  <c:v>44113</c:v>
                </c:pt>
                <c:pt idx="192">
                  <c:v>44114</c:v>
                </c:pt>
                <c:pt idx="193">
                  <c:v>44115</c:v>
                </c:pt>
                <c:pt idx="194">
                  <c:v>44116</c:v>
                </c:pt>
                <c:pt idx="195">
                  <c:v>44117</c:v>
                </c:pt>
                <c:pt idx="196">
                  <c:v>44118</c:v>
                </c:pt>
                <c:pt idx="197">
                  <c:v>44119</c:v>
                </c:pt>
                <c:pt idx="198">
                  <c:v>44120</c:v>
                </c:pt>
                <c:pt idx="199">
                  <c:v>44121</c:v>
                </c:pt>
                <c:pt idx="200">
                  <c:v>44122</c:v>
                </c:pt>
                <c:pt idx="201">
                  <c:v>44123</c:v>
                </c:pt>
                <c:pt idx="202">
                  <c:v>44124</c:v>
                </c:pt>
                <c:pt idx="203">
                  <c:v>44125</c:v>
                </c:pt>
                <c:pt idx="204">
                  <c:v>44126</c:v>
                </c:pt>
                <c:pt idx="205">
                  <c:v>44127</c:v>
                </c:pt>
                <c:pt idx="206">
                  <c:v>44128</c:v>
                </c:pt>
                <c:pt idx="207">
                  <c:v>44129</c:v>
                </c:pt>
                <c:pt idx="208">
                  <c:v>44130</c:v>
                </c:pt>
                <c:pt idx="209">
                  <c:v>44131</c:v>
                </c:pt>
                <c:pt idx="210">
                  <c:v>44132</c:v>
                </c:pt>
                <c:pt idx="211">
                  <c:v>44133</c:v>
                </c:pt>
                <c:pt idx="212">
                  <c:v>44134</c:v>
                </c:pt>
                <c:pt idx="213">
                  <c:v>44135</c:v>
                </c:pt>
                <c:pt idx="214">
                  <c:v>44136</c:v>
                </c:pt>
                <c:pt idx="215">
                  <c:v>44137</c:v>
                </c:pt>
                <c:pt idx="216">
                  <c:v>44138</c:v>
                </c:pt>
                <c:pt idx="217">
                  <c:v>44139</c:v>
                </c:pt>
                <c:pt idx="218">
                  <c:v>44140</c:v>
                </c:pt>
                <c:pt idx="219">
                  <c:v>44141</c:v>
                </c:pt>
                <c:pt idx="220">
                  <c:v>44142</c:v>
                </c:pt>
                <c:pt idx="221">
                  <c:v>44143</c:v>
                </c:pt>
                <c:pt idx="222">
                  <c:v>44144</c:v>
                </c:pt>
                <c:pt idx="223">
                  <c:v>44145</c:v>
                </c:pt>
                <c:pt idx="224">
                  <c:v>44146</c:v>
                </c:pt>
                <c:pt idx="225">
                  <c:v>44147</c:v>
                </c:pt>
                <c:pt idx="226">
                  <c:v>44148</c:v>
                </c:pt>
                <c:pt idx="227">
                  <c:v>44149</c:v>
                </c:pt>
                <c:pt idx="228">
                  <c:v>44150</c:v>
                </c:pt>
                <c:pt idx="229">
                  <c:v>44151</c:v>
                </c:pt>
                <c:pt idx="230">
                  <c:v>44152</c:v>
                </c:pt>
                <c:pt idx="231">
                  <c:v>44153</c:v>
                </c:pt>
                <c:pt idx="232">
                  <c:v>44154</c:v>
                </c:pt>
                <c:pt idx="233">
                  <c:v>44155</c:v>
                </c:pt>
                <c:pt idx="234">
                  <c:v>44156</c:v>
                </c:pt>
                <c:pt idx="235">
                  <c:v>44157</c:v>
                </c:pt>
                <c:pt idx="236">
                  <c:v>44158</c:v>
                </c:pt>
                <c:pt idx="237">
                  <c:v>44159</c:v>
                </c:pt>
                <c:pt idx="238">
                  <c:v>44160</c:v>
                </c:pt>
                <c:pt idx="239">
                  <c:v>44161</c:v>
                </c:pt>
                <c:pt idx="240">
                  <c:v>44162</c:v>
                </c:pt>
                <c:pt idx="241">
                  <c:v>44163</c:v>
                </c:pt>
                <c:pt idx="242">
                  <c:v>44164</c:v>
                </c:pt>
                <c:pt idx="243">
                  <c:v>44165</c:v>
                </c:pt>
                <c:pt idx="244">
                  <c:v>44166</c:v>
                </c:pt>
                <c:pt idx="245">
                  <c:v>44167</c:v>
                </c:pt>
                <c:pt idx="246">
                  <c:v>44168</c:v>
                </c:pt>
                <c:pt idx="247">
                  <c:v>44169</c:v>
                </c:pt>
                <c:pt idx="248">
                  <c:v>44170</c:v>
                </c:pt>
                <c:pt idx="249">
                  <c:v>44171</c:v>
                </c:pt>
                <c:pt idx="250">
                  <c:v>44172</c:v>
                </c:pt>
                <c:pt idx="251">
                  <c:v>44173</c:v>
                </c:pt>
                <c:pt idx="252">
                  <c:v>44174</c:v>
                </c:pt>
                <c:pt idx="253">
                  <c:v>44175</c:v>
                </c:pt>
                <c:pt idx="254">
                  <c:v>44176</c:v>
                </c:pt>
                <c:pt idx="255">
                  <c:v>44177</c:v>
                </c:pt>
                <c:pt idx="256">
                  <c:v>44178</c:v>
                </c:pt>
                <c:pt idx="257">
                  <c:v>44179</c:v>
                </c:pt>
                <c:pt idx="258">
                  <c:v>44180</c:v>
                </c:pt>
                <c:pt idx="259">
                  <c:v>44181</c:v>
                </c:pt>
                <c:pt idx="260">
                  <c:v>44182</c:v>
                </c:pt>
                <c:pt idx="261">
                  <c:v>44183</c:v>
                </c:pt>
                <c:pt idx="262">
                  <c:v>44184</c:v>
                </c:pt>
                <c:pt idx="263">
                  <c:v>44185</c:v>
                </c:pt>
                <c:pt idx="264">
                  <c:v>44186</c:v>
                </c:pt>
                <c:pt idx="265">
                  <c:v>44187</c:v>
                </c:pt>
                <c:pt idx="266">
                  <c:v>44188</c:v>
                </c:pt>
                <c:pt idx="267">
                  <c:v>44189</c:v>
                </c:pt>
                <c:pt idx="268">
                  <c:v>44190</c:v>
                </c:pt>
                <c:pt idx="269">
                  <c:v>44191</c:v>
                </c:pt>
                <c:pt idx="270">
                  <c:v>44192</c:v>
                </c:pt>
                <c:pt idx="271">
                  <c:v>44193</c:v>
                </c:pt>
                <c:pt idx="272">
                  <c:v>44194</c:v>
                </c:pt>
                <c:pt idx="273">
                  <c:v>44195</c:v>
                </c:pt>
                <c:pt idx="274">
                  <c:v>44196</c:v>
                </c:pt>
                <c:pt idx="275">
                  <c:v>44197</c:v>
                </c:pt>
                <c:pt idx="276">
                  <c:v>44198</c:v>
                </c:pt>
                <c:pt idx="277">
                  <c:v>44199</c:v>
                </c:pt>
                <c:pt idx="278">
                  <c:v>44200</c:v>
                </c:pt>
                <c:pt idx="279">
                  <c:v>44201</c:v>
                </c:pt>
                <c:pt idx="280">
                  <c:v>44202</c:v>
                </c:pt>
                <c:pt idx="281">
                  <c:v>44203</c:v>
                </c:pt>
                <c:pt idx="282">
                  <c:v>44204</c:v>
                </c:pt>
                <c:pt idx="283">
                  <c:v>44205</c:v>
                </c:pt>
                <c:pt idx="284">
                  <c:v>44206</c:v>
                </c:pt>
                <c:pt idx="285">
                  <c:v>44207</c:v>
                </c:pt>
                <c:pt idx="286">
                  <c:v>44208</c:v>
                </c:pt>
                <c:pt idx="287">
                  <c:v>44209</c:v>
                </c:pt>
                <c:pt idx="288">
                  <c:v>44210</c:v>
                </c:pt>
                <c:pt idx="289">
                  <c:v>44211</c:v>
                </c:pt>
                <c:pt idx="290">
                  <c:v>44212</c:v>
                </c:pt>
                <c:pt idx="291">
                  <c:v>44213</c:v>
                </c:pt>
                <c:pt idx="292">
                  <c:v>44214</c:v>
                </c:pt>
                <c:pt idx="293">
                  <c:v>44215</c:v>
                </c:pt>
                <c:pt idx="294">
                  <c:v>44216</c:v>
                </c:pt>
                <c:pt idx="295">
                  <c:v>44217</c:v>
                </c:pt>
                <c:pt idx="296">
                  <c:v>44218</c:v>
                </c:pt>
                <c:pt idx="297">
                  <c:v>44219</c:v>
                </c:pt>
                <c:pt idx="298">
                  <c:v>44220</c:v>
                </c:pt>
                <c:pt idx="299">
                  <c:v>44221</c:v>
                </c:pt>
                <c:pt idx="300">
                  <c:v>44222</c:v>
                </c:pt>
                <c:pt idx="301">
                  <c:v>44223</c:v>
                </c:pt>
                <c:pt idx="302">
                  <c:v>44224</c:v>
                </c:pt>
                <c:pt idx="303">
                  <c:v>44225</c:v>
                </c:pt>
                <c:pt idx="304">
                  <c:v>44226</c:v>
                </c:pt>
                <c:pt idx="305">
                  <c:v>44227</c:v>
                </c:pt>
                <c:pt idx="306">
                  <c:v>44228</c:v>
                </c:pt>
                <c:pt idx="307">
                  <c:v>44229</c:v>
                </c:pt>
                <c:pt idx="308">
                  <c:v>44230</c:v>
                </c:pt>
                <c:pt idx="309">
                  <c:v>44231</c:v>
                </c:pt>
                <c:pt idx="310">
                  <c:v>44232</c:v>
                </c:pt>
                <c:pt idx="311">
                  <c:v>44233</c:v>
                </c:pt>
                <c:pt idx="312">
                  <c:v>44234</c:v>
                </c:pt>
                <c:pt idx="313">
                  <c:v>44235</c:v>
                </c:pt>
                <c:pt idx="314">
                  <c:v>44236</c:v>
                </c:pt>
                <c:pt idx="315">
                  <c:v>44237</c:v>
                </c:pt>
                <c:pt idx="316">
                  <c:v>44238</c:v>
                </c:pt>
                <c:pt idx="317">
                  <c:v>44239</c:v>
                </c:pt>
                <c:pt idx="318">
                  <c:v>44240</c:v>
                </c:pt>
                <c:pt idx="319">
                  <c:v>44241</c:v>
                </c:pt>
                <c:pt idx="320">
                  <c:v>44242</c:v>
                </c:pt>
                <c:pt idx="321">
                  <c:v>44243</c:v>
                </c:pt>
                <c:pt idx="322">
                  <c:v>44244</c:v>
                </c:pt>
                <c:pt idx="323">
                  <c:v>44245</c:v>
                </c:pt>
                <c:pt idx="324">
                  <c:v>44246</c:v>
                </c:pt>
                <c:pt idx="325">
                  <c:v>44247</c:v>
                </c:pt>
                <c:pt idx="326">
                  <c:v>44248</c:v>
                </c:pt>
                <c:pt idx="327">
                  <c:v>44249</c:v>
                </c:pt>
                <c:pt idx="328">
                  <c:v>44250</c:v>
                </c:pt>
                <c:pt idx="329">
                  <c:v>44251</c:v>
                </c:pt>
                <c:pt idx="330">
                  <c:v>44252</c:v>
                </c:pt>
                <c:pt idx="331">
                  <c:v>44253</c:v>
                </c:pt>
                <c:pt idx="332">
                  <c:v>44254</c:v>
                </c:pt>
                <c:pt idx="333">
                  <c:v>44255</c:v>
                </c:pt>
                <c:pt idx="334">
                  <c:v>44256</c:v>
                </c:pt>
                <c:pt idx="335">
                  <c:v>44257</c:v>
                </c:pt>
                <c:pt idx="336">
                  <c:v>44258</c:v>
                </c:pt>
                <c:pt idx="337">
                  <c:v>44259</c:v>
                </c:pt>
                <c:pt idx="338">
                  <c:v>44260</c:v>
                </c:pt>
                <c:pt idx="339">
                  <c:v>44261</c:v>
                </c:pt>
                <c:pt idx="340">
                  <c:v>44262</c:v>
                </c:pt>
                <c:pt idx="341">
                  <c:v>44263</c:v>
                </c:pt>
                <c:pt idx="342">
                  <c:v>44264</c:v>
                </c:pt>
                <c:pt idx="343">
                  <c:v>44265</c:v>
                </c:pt>
                <c:pt idx="344">
                  <c:v>44266</c:v>
                </c:pt>
                <c:pt idx="345">
                  <c:v>44267</c:v>
                </c:pt>
                <c:pt idx="346">
                  <c:v>44268</c:v>
                </c:pt>
                <c:pt idx="347">
                  <c:v>44269</c:v>
                </c:pt>
                <c:pt idx="348">
                  <c:v>44270</c:v>
                </c:pt>
                <c:pt idx="349">
                  <c:v>44271</c:v>
                </c:pt>
                <c:pt idx="350">
                  <c:v>44272</c:v>
                </c:pt>
                <c:pt idx="351">
                  <c:v>44273</c:v>
                </c:pt>
                <c:pt idx="352">
                  <c:v>44274</c:v>
                </c:pt>
                <c:pt idx="353">
                  <c:v>44275</c:v>
                </c:pt>
                <c:pt idx="354">
                  <c:v>44276</c:v>
                </c:pt>
                <c:pt idx="355">
                  <c:v>44277</c:v>
                </c:pt>
                <c:pt idx="356">
                  <c:v>44278</c:v>
                </c:pt>
                <c:pt idx="357">
                  <c:v>44279</c:v>
                </c:pt>
                <c:pt idx="358">
                  <c:v>44280</c:v>
                </c:pt>
                <c:pt idx="359">
                  <c:v>44281</c:v>
                </c:pt>
                <c:pt idx="360">
                  <c:v>44282</c:v>
                </c:pt>
                <c:pt idx="361">
                  <c:v>44283</c:v>
                </c:pt>
                <c:pt idx="362">
                  <c:v>44284</c:v>
                </c:pt>
                <c:pt idx="363">
                  <c:v>44285</c:v>
                </c:pt>
                <c:pt idx="364">
                  <c:v>44286</c:v>
                </c:pt>
                <c:pt idx="365">
                  <c:v>44287</c:v>
                </c:pt>
                <c:pt idx="366">
                  <c:v>44288</c:v>
                </c:pt>
                <c:pt idx="367">
                  <c:v>44289</c:v>
                </c:pt>
                <c:pt idx="368">
                  <c:v>44290</c:v>
                </c:pt>
                <c:pt idx="369">
                  <c:v>44291</c:v>
                </c:pt>
                <c:pt idx="370">
                  <c:v>44292</c:v>
                </c:pt>
                <c:pt idx="371">
                  <c:v>44293</c:v>
                </c:pt>
                <c:pt idx="372">
                  <c:v>44294</c:v>
                </c:pt>
                <c:pt idx="373">
                  <c:v>44295</c:v>
                </c:pt>
                <c:pt idx="374">
                  <c:v>44296</c:v>
                </c:pt>
                <c:pt idx="375">
                  <c:v>44297</c:v>
                </c:pt>
                <c:pt idx="376">
                  <c:v>44298</c:v>
                </c:pt>
                <c:pt idx="377">
                  <c:v>44299</c:v>
                </c:pt>
                <c:pt idx="378">
                  <c:v>44300</c:v>
                </c:pt>
                <c:pt idx="379">
                  <c:v>44301</c:v>
                </c:pt>
                <c:pt idx="380">
                  <c:v>44302</c:v>
                </c:pt>
                <c:pt idx="381">
                  <c:v>44303</c:v>
                </c:pt>
                <c:pt idx="382">
                  <c:v>44304</c:v>
                </c:pt>
                <c:pt idx="383">
                  <c:v>44305</c:v>
                </c:pt>
                <c:pt idx="384">
                  <c:v>44306</c:v>
                </c:pt>
                <c:pt idx="385">
                  <c:v>44307</c:v>
                </c:pt>
                <c:pt idx="386">
                  <c:v>44308</c:v>
                </c:pt>
                <c:pt idx="387">
                  <c:v>44309</c:v>
                </c:pt>
                <c:pt idx="388">
                  <c:v>44310</c:v>
                </c:pt>
                <c:pt idx="389">
                  <c:v>44311</c:v>
                </c:pt>
                <c:pt idx="390">
                  <c:v>44312</c:v>
                </c:pt>
                <c:pt idx="391">
                  <c:v>44313</c:v>
                </c:pt>
                <c:pt idx="392">
                  <c:v>44314</c:v>
                </c:pt>
                <c:pt idx="393">
                  <c:v>44315</c:v>
                </c:pt>
                <c:pt idx="394">
                  <c:v>44316</c:v>
                </c:pt>
                <c:pt idx="395">
                  <c:v>44317</c:v>
                </c:pt>
                <c:pt idx="396">
                  <c:v>44318</c:v>
                </c:pt>
                <c:pt idx="397">
                  <c:v>44319</c:v>
                </c:pt>
                <c:pt idx="398">
                  <c:v>44320</c:v>
                </c:pt>
                <c:pt idx="399">
                  <c:v>44321</c:v>
                </c:pt>
                <c:pt idx="400">
                  <c:v>44322</c:v>
                </c:pt>
                <c:pt idx="401">
                  <c:v>44323</c:v>
                </c:pt>
                <c:pt idx="402">
                  <c:v>44324</c:v>
                </c:pt>
                <c:pt idx="403">
                  <c:v>44325</c:v>
                </c:pt>
                <c:pt idx="404">
                  <c:v>44326</c:v>
                </c:pt>
                <c:pt idx="405">
                  <c:v>44327</c:v>
                </c:pt>
                <c:pt idx="406">
                  <c:v>44328</c:v>
                </c:pt>
                <c:pt idx="407">
                  <c:v>44329</c:v>
                </c:pt>
                <c:pt idx="408">
                  <c:v>44330</c:v>
                </c:pt>
                <c:pt idx="409">
                  <c:v>44331</c:v>
                </c:pt>
                <c:pt idx="410">
                  <c:v>44332</c:v>
                </c:pt>
                <c:pt idx="411">
                  <c:v>44333</c:v>
                </c:pt>
                <c:pt idx="412">
                  <c:v>44334</c:v>
                </c:pt>
                <c:pt idx="413">
                  <c:v>44335</c:v>
                </c:pt>
                <c:pt idx="414">
                  <c:v>44336</c:v>
                </c:pt>
                <c:pt idx="415">
                  <c:v>44337</c:v>
                </c:pt>
                <c:pt idx="416">
                  <c:v>44338</c:v>
                </c:pt>
                <c:pt idx="417">
                  <c:v>44339</c:v>
                </c:pt>
                <c:pt idx="418">
                  <c:v>44340</c:v>
                </c:pt>
                <c:pt idx="419">
                  <c:v>44341</c:v>
                </c:pt>
                <c:pt idx="420">
                  <c:v>44342</c:v>
                </c:pt>
                <c:pt idx="421">
                  <c:v>44343</c:v>
                </c:pt>
                <c:pt idx="422">
                  <c:v>44344</c:v>
                </c:pt>
                <c:pt idx="423">
                  <c:v>44345</c:v>
                </c:pt>
                <c:pt idx="424">
                  <c:v>44346</c:v>
                </c:pt>
                <c:pt idx="425">
                  <c:v>44347</c:v>
                </c:pt>
                <c:pt idx="426">
                  <c:v>44348</c:v>
                </c:pt>
                <c:pt idx="427">
                  <c:v>44349</c:v>
                </c:pt>
                <c:pt idx="428">
                  <c:v>44350</c:v>
                </c:pt>
                <c:pt idx="429">
                  <c:v>44351</c:v>
                </c:pt>
                <c:pt idx="430">
                  <c:v>44352</c:v>
                </c:pt>
                <c:pt idx="431">
                  <c:v>44353</c:v>
                </c:pt>
                <c:pt idx="432">
                  <c:v>44354</c:v>
                </c:pt>
                <c:pt idx="433">
                  <c:v>44355</c:v>
                </c:pt>
                <c:pt idx="434">
                  <c:v>44356</c:v>
                </c:pt>
                <c:pt idx="435">
                  <c:v>44357</c:v>
                </c:pt>
                <c:pt idx="436">
                  <c:v>44358</c:v>
                </c:pt>
                <c:pt idx="437">
                  <c:v>44359</c:v>
                </c:pt>
                <c:pt idx="438">
                  <c:v>44360</c:v>
                </c:pt>
                <c:pt idx="439">
                  <c:v>44361</c:v>
                </c:pt>
                <c:pt idx="440">
                  <c:v>44362</c:v>
                </c:pt>
                <c:pt idx="441">
                  <c:v>44363</c:v>
                </c:pt>
                <c:pt idx="442">
                  <c:v>44364</c:v>
                </c:pt>
                <c:pt idx="443">
                  <c:v>44365</c:v>
                </c:pt>
                <c:pt idx="444">
                  <c:v>44366</c:v>
                </c:pt>
                <c:pt idx="445">
                  <c:v>44367</c:v>
                </c:pt>
                <c:pt idx="446">
                  <c:v>44368</c:v>
                </c:pt>
                <c:pt idx="447">
                  <c:v>44369</c:v>
                </c:pt>
                <c:pt idx="448">
                  <c:v>44370</c:v>
                </c:pt>
                <c:pt idx="449">
                  <c:v>44371</c:v>
                </c:pt>
                <c:pt idx="450">
                  <c:v>44372</c:v>
                </c:pt>
                <c:pt idx="451">
                  <c:v>44373</c:v>
                </c:pt>
                <c:pt idx="452">
                  <c:v>44374</c:v>
                </c:pt>
                <c:pt idx="453">
                  <c:v>44375</c:v>
                </c:pt>
                <c:pt idx="454">
                  <c:v>44376</c:v>
                </c:pt>
                <c:pt idx="455">
                  <c:v>44377</c:v>
                </c:pt>
                <c:pt idx="456">
                  <c:v>44378</c:v>
                </c:pt>
                <c:pt idx="457">
                  <c:v>44379</c:v>
                </c:pt>
                <c:pt idx="458">
                  <c:v>44380</c:v>
                </c:pt>
                <c:pt idx="459">
                  <c:v>44381</c:v>
                </c:pt>
                <c:pt idx="460">
                  <c:v>44382</c:v>
                </c:pt>
                <c:pt idx="461">
                  <c:v>44383</c:v>
                </c:pt>
                <c:pt idx="462">
                  <c:v>44384</c:v>
                </c:pt>
                <c:pt idx="463">
                  <c:v>44385</c:v>
                </c:pt>
                <c:pt idx="464">
                  <c:v>44386</c:v>
                </c:pt>
                <c:pt idx="465">
                  <c:v>44387</c:v>
                </c:pt>
                <c:pt idx="466">
                  <c:v>44388</c:v>
                </c:pt>
                <c:pt idx="467">
                  <c:v>44389</c:v>
                </c:pt>
                <c:pt idx="468">
                  <c:v>44390</c:v>
                </c:pt>
                <c:pt idx="469">
                  <c:v>44391</c:v>
                </c:pt>
                <c:pt idx="470">
                  <c:v>44392</c:v>
                </c:pt>
                <c:pt idx="471">
                  <c:v>44393</c:v>
                </c:pt>
                <c:pt idx="472">
                  <c:v>44394</c:v>
                </c:pt>
                <c:pt idx="473">
                  <c:v>44395</c:v>
                </c:pt>
                <c:pt idx="474">
                  <c:v>44396</c:v>
                </c:pt>
                <c:pt idx="475">
                  <c:v>44397</c:v>
                </c:pt>
                <c:pt idx="476">
                  <c:v>44398</c:v>
                </c:pt>
                <c:pt idx="477">
                  <c:v>44399</c:v>
                </c:pt>
                <c:pt idx="478">
                  <c:v>44400</c:v>
                </c:pt>
                <c:pt idx="479">
                  <c:v>44401</c:v>
                </c:pt>
                <c:pt idx="480">
                  <c:v>44402</c:v>
                </c:pt>
                <c:pt idx="481">
                  <c:v>44403</c:v>
                </c:pt>
                <c:pt idx="482">
                  <c:v>44404</c:v>
                </c:pt>
                <c:pt idx="483">
                  <c:v>44405</c:v>
                </c:pt>
                <c:pt idx="484">
                  <c:v>44406</c:v>
                </c:pt>
                <c:pt idx="485">
                  <c:v>44407</c:v>
                </c:pt>
                <c:pt idx="486">
                  <c:v>44408</c:v>
                </c:pt>
                <c:pt idx="487">
                  <c:v>44409</c:v>
                </c:pt>
                <c:pt idx="488">
                  <c:v>44410</c:v>
                </c:pt>
                <c:pt idx="489">
                  <c:v>44411</c:v>
                </c:pt>
                <c:pt idx="490">
                  <c:v>44412</c:v>
                </c:pt>
                <c:pt idx="491">
                  <c:v>44413</c:v>
                </c:pt>
                <c:pt idx="492">
                  <c:v>44414</c:v>
                </c:pt>
                <c:pt idx="493">
                  <c:v>44415</c:v>
                </c:pt>
                <c:pt idx="494">
                  <c:v>44416</c:v>
                </c:pt>
                <c:pt idx="495">
                  <c:v>44417</c:v>
                </c:pt>
                <c:pt idx="496">
                  <c:v>44418</c:v>
                </c:pt>
                <c:pt idx="497">
                  <c:v>44419</c:v>
                </c:pt>
                <c:pt idx="498">
                  <c:v>44420</c:v>
                </c:pt>
                <c:pt idx="499">
                  <c:v>44421</c:v>
                </c:pt>
                <c:pt idx="500">
                  <c:v>44422</c:v>
                </c:pt>
                <c:pt idx="501">
                  <c:v>44423</c:v>
                </c:pt>
                <c:pt idx="502">
                  <c:v>44424</c:v>
                </c:pt>
              </c:numCache>
            </c:numRef>
          </c:cat>
          <c:val>
            <c:numRef>
              <c:f>Guatemala!$H$94:$H$598</c:f>
              <c:numCache>
                <c:formatCode>General</c:formatCode>
                <c:ptCount val="505"/>
                <c:pt idx="0">
                  <c:v>0</c:v>
                </c:pt>
                <c:pt idx="1">
                  <c:v>0</c:v>
                </c:pt>
                <c:pt idx="2">
                  <c:v>0</c:v>
                </c:pt>
                <c:pt idx="3">
                  <c:v>0.14299999999999999</c:v>
                </c:pt>
                <c:pt idx="4">
                  <c:v>0.14299999999999999</c:v>
                </c:pt>
                <c:pt idx="5">
                  <c:v>0.28599999999999998</c:v>
                </c:pt>
                <c:pt idx="6">
                  <c:v>0.28599999999999998</c:v>
                </c:pt>
                <c:pt idx="7">
                  <c:v>0.28599999999999998</c:v>
                </c:pt>
                <c:pt idx="8">
                  <c:v>0.28599999999999998</c:v>
                </c:pt>
                <c:pt idx="9">
                  <c:v>0.28599999999999998</c:v>
                </c:pt>
                <c:pt idx="10">
                  <c:v>0.14299999999999999</c:v>
                </c:pt>
                <c:pt idx="11">
                  <c:v>0.42899999999999999</c:v>
                </c:pt>
                <c:pt idx="12">
                  <c:v>0.28599999999999998</c:v>
                </c:pt>
                <c:pt idx="13">
                  <c:v>0.28599999999999998</c:v>
                </c:pt>
                <c:pt idx="14">
                  <c:v>0.28599999999999998</c:v>
                </c:pt>
                <c:pt idx="15">
                  <c:v>0.28599999999999998</c:v>
                </c:pt>
                <c:pt idx="16">
                  <c:v>0.57099999999999995</c:v>
                </c:pt>
                <c:pt idx="17">
                  <c:v>0.57099999999999995</c:v>
                </c:pt>
                <c:pt idx="18">
                  <c:v>0.28599999999999998</c:v>
                </c:pt>
                <c:pt idx="19">
                  <c:v>0.28599999999999998</c:v>
                </c:pt>
                <c:pt idx="20">
                  <c:v>0.28599999999999998</c:v>
                </c:pt>
                <c:pt idx="21">
                  <c:v>0.42899999999999999</c:v>
                </c:pt>
                <c:pt idx="22">
                  <c:v>0.85699999999999998</c:v>
                </c:pt>
                <c:pt idx="23">
                  <c:v>0.57099999999999995</c:v>
                </c:pt>
                <c:pt idx="24">
                  <c:v>0.85699999999999998</c:v>
                </c:pt>
                <c:pt idx="25">
                  <c:v>1.143</c:v>
                </c:pt>
                <c:pt idx="26">
                  <c:v>1.143</c:v>
                </c:pt>
                <c:pt idx="27">
                  <c:v>1.143</c:v>
                </c:pt>
                <c:pt idx="28">
                  <c:v>1.143</c:v>
                </c:pt>
                <c:pt idx="29">
                  <c:v>0.71399999999999997</c:v>
                </c:pt>
                <c:pt idx="30">
                  <c:v>0.71399999999999997</c:v>
                </c:pt>
                <c:pt idx="31">
                  <c:v>0.57099999999999995</c:v>
                </c:pt>
                <c:pt idx="32">
                  <c:v>0.28599999999999998</c:v>
                </c:pt>
                <c:pt idx="33">
                  <c:v>0.57099999999999995</c:v>
                </c:pt>
                <c:pt idx="34">
                  <c:v>0.57099999999999995</c:v>
                </c:pt>
                <c:pt idx="35">
                  <c:v>0.71399999999999997</c:v>
                </c:pt>
                <c:pt idx="36">
                  <c:v>1</c:v>
                </c:pt>
                <c:pt idx="37">
                  <c:v>1.143</c:v>
                </c:pt>
                <c:pt idx="38">
                  <c:v>1</c:v>
                </c:pt>
                <c:pt idx="39">
                  <c:v>1.286</c:v>
                </c:pt>
                <c:pt idx="40">
                  <c:v>1</c:v>
                </c:pt>
                <c:pt idx="41">
                  <c:v>1.143</c:v>
                </c:pt>
                <c:pt idx="42">
                  <c:v>1.143</c:v>
                </c:pt>
                <c:pt idx="43">
                  <c:v>0.85699999999999998</c:v>
                </c:pt>
                <c:pt idx="44">
                  <c:v>0.85699999999999998</c:v>
                </c:pt>
                <c:pt idx="45">
                  <c:v>1.286</c:v>
                </c:pt>
                <c:pt idx="46">
                  <c:v>1</c:v>
                </c:pt>
                <c:pt idx="47">
                  <c:v>1.286</c:v>
                </c:pt>
                <c:pt idx="48">
                  <c:v>2.286</c:v>
                </c:pt>
                <c:pt idx="49">
                  <c:v>2.286</c:v>
                </c:pt>
                <c:pt idx="50">
                  <c:v>2.714</c:v>
                </c:pt>
                <c:pt idx="51">
                  <c:v>3</c:v>
                </c:pt>
                <c:pt idx="52">
                  <c:v>3.1429999999999998</c:v>
                </c:pt>
                <c:pt idx="53">
                  <c:v>3.5710000000000002</c:v>
                </c:pt>
                <c:pt idx="54">
                  <c:v>3.4289999999999998</c:v>
                </c:pt>
                <c:pt idx="55">
                  <c:v>2.8570000000000002</c:v>
                </c:pt>
                <c:pt idx="56">
                  <c:v>3.286</c:v>
                </c:pt>
                <c:pt idx="57">
                  <c:v>4.5709999999999997</c:v>
                </c:pt>
                <c:pt idx="58">
                  <c:v>5.5709999999999997</c:v>
                </c:pt>
                <c:pt idx="59">
                  <c:v>6.7140000000000004</c:v>
                </c:pt>
                <c:pt idx="60">
                  <c:v>7.1429999999999998</c:v>
                </c:pt>
                <c:pt idx="61">
                  <c:v>8.1430000000000007</c:v>
                </c:pt>
                <c:pt idx="62">
                  <c:v>8.5709999999999997</c:v>
                </c:pt>
                <c:pt idx="63">
                  <c:v>10.714</c:v>
                </c:pt>
                <c:pt idx="64">
                  <c:v>11.143000000000001</c:v>
                </c:pt>
                <c:pt idx="65">
                  <c:v>18</c:v>
                </c:pt>
                <c:pt idx="66">
                  <c:v>18.286000000000001</c:v>
                </c:pt>
                <c:pt idx="67">
                  <c:v>20.571000000000002</c:v>
                </c:pt>
                <c:pt idx="68">
                  <c:v>21.571000000000002</c:v>
                </c:pt>
                <c:pt idx="69">
                  <c:v>23.713999999999999</c:v>
                </c:pt>
                <c:pt idx="70">
                  <c:v>24.713999999999999</c:v>
                </c:pt>
                <c:pt idx="71">
                  <c:v>25.143000000000001</c:v>
                </c:pt>
                <c:pt idx="72">
                  <c:v>19.286000000000001</c:v>
                </c:pt>
                <c:pt idx="73">
                  <c:v>19.571000000000002</c:v>
                </c:pt>
                <c:pt idx="74">
                  <c:v>18.856999999999999</c:v>
                </c:pt>
                <c:pt idx="75">
                  <c:v>18.856999999999999</c:v>
                </c:pt>
                <c:pt idx="76">
                  <c:v>18.428999999999998</c:v>
                </c:pt>
                <c:pt idx="77">
                  <c:v>16.571000000000002</c:v>
                </c:pt>
                <c:pt idx="78">
                  <c:v>16.428999999999998</c:v>
                </c:pt>
                <c:pt idx="79">
                  <c:v>18.856999999999999</c:v>
                </c:pt>
                <c:pt idx="80">
                  <c:v>21</c:v>
                </c:pt>
                <c:pt idx="81">
                  <c:v>21</c:v>
                </c:pt>
                <c:pt idx="82">
                  <c:v>21.143000000000001</c:v>
                </c:pt>
                <c:pt idx="83">
                  <c:v>23.428999999999998</c:v>
                </c:pt>
                <c:pt idx="84">
                  <c:v>24.143000000000001</c:v>
                </c:pt>
                <c:pt idx="85">
                  <c:v>24.856999999999999</c:v>
                </c:pt>
                <c:pt idx="86">
                  <c:v>27</c:v>
                </c:pt>
                <c:pt idx="87">
                  <c:v>27.428999999999998</c:v>
                </c:pt>
                <c:pt idx="88">
                  <c:v>28</c:v>
                </c:pt>
                <c:pt idx="89">
                  <c:v>28.428999999999998</c:v>
                </c:pt>
                <c:pt idx="90">
                  <c:v>27.286000000000001</c:v>
                </c:pt>
                <c:pt idx="91">
                  <c:v>30.856999999999999</c:v>
                </c:pt>
                <c:pt idx="92">
                  <c:v>31.428999999999998</c:v>
                </c:pt>
                <c:pt idx="93">
                  <c:v>29.713999999999999</c:v>
                </c:pt>
                <c:pt idx="94">
                  <c:v>30.571000000000002</c:v>
                </c:pt>
                <c:pt idx="95">
                  <c:v>31.428999999999998</c:v>
                </c:pt>
                <c:pt idx="96">
                  <c:v>33.570999999999998</c:v>
                </c:pt>
                <c:pt idx="97">
                  <c:v>33</c:v>
                </c:pt>
                <c:pt idx="98">
                  <c:v>33.713999999999999</c:v>
                </c:pt>
                <c:pt idx="99">
                  <c:v>35.570999999999998</c:v>
                </c:pt>
                <c:pt idx="100">
                  <c:v>37</c:v>
                </c:pt>
                <c:pt idx="101">
                  <c:v>36</c:v>
                </c:pt>
                <c:pt idx="102">
                  <c:v>38.856999999999999</c:v>
                </c:pt>
                <c:pt idx="103">
                  <c:v>37.570999999999998</c:v>
                </c:pt>
                <c:pt idx="104">
                  <c:v>42.570999999999998</c:v>
                </c:pt>
                <c:pt idx="105">
                  <c:v>42.429000000000002</c:v>
                </c:pt>
                <c:pt idx="106">
                  <c:v>44.570999999999998</c:v>
                </c:pt>
                <c:pt idx="107">
                  <c:v>43.429000000000002</c:v>
                </c:pt>
                <c:pt idx="108">
                  <c:v>39.570999999999998</c:v>
                </c:pt>
                <c:pt idx="109">
                  <c:v>38</c:v>
                </c:pt>
                <c:pt idx="110">
                  <c:v>36.856999999999999</c:v>
                </c:pt>
                <c:pt idx="111">
                  <c:v>32.713999999999999</c:v>
                </c:pt>
                <c:pt idx="112">
                  <c:v>31.856999999999999</c:v>
                </c:pt>
                <c:pt idx="113">
                  <c:v>32.570999999999998</c:v>
                </c:pt>
                <c:pt idx="114">
                  <c:v>32.286000000000001</c:v>
                </c:pt>
                <c:pt idx="115">
                  <c:v>35.713999999999999</c:v>
                </c:pt>
                <c:pt idx="116">
                  <c:v>35.570999999999998</c:v>
                </c:pt>
                <c:pt idx="117">
                  <c:v>37</c:v>
                </c:pt>
                <c:pt idx="118">
                  <c:v>35.856999999999999</c:v>
                </c:pt>
                <c:pt idx="119">
                  <c:v>37.429000000000002</c:v>
                </c:pt>
                <c:pt idx="120">
                  <c:v>33.570999999999998</c:v>
                </c:pt>
                <c:pt idx="121">
                  <c:v>36.429000000000002</c:v>
                </c:pt>
                <c:pt idx="122">
                  <c:v>37.143000000000001</c:v>
                </c:pt>
                <c:pt idx="123">
                  <c:v>37.286000000000001</c:v>
                </c:pt>
                <c:pt idx="124">
                  <c:v>36</c:v>
                </c:pt>
                <c:pt idx="125">
                  <c:v>36.429000000000002</c:v>
                </c:pt>
                <c:pt idx="126">
                  <c:v>33.856999999999999</c:v>
                </c:pt>
                <c:pt idx="127">
                  <c:v>36</c:v>
                </c:pt>
                <c:pt idx="128">
                  <c:v>34.856999999999999</c:v>
                </c:pt>
                <c:pt idx="129">
                  <c:v>34</c:v>
                </c:pt>
                <c:pt idx="130">
                  <c:v>30.856999999999999</c:v>
                </c:pt>
                <c:pt idx="131">
                  <c:v>29.856999999999999</c:v>
                </c:pt>
                <c:pt idx="132">
                  <c:v>28</c:v>
                </c:pt>
                <c:pt idx="133">
                  <c:v>27.856999999999999</c:v>
                </c:pt>
                <c:pt idx="134">
                  <c:v>25.286000000000001</c:v>
                </c:pt>
                <c:pt idx="135">
                  <c:v>24.713999999999999</c:v>
                </c:pt>
                <c:pt idx="136">
                  <c:v>22.571000000000002</c:v>
                </c:pt>
                <c:pt idx="137">
                  <c:v>24</c:v>
                </c:pt>
                <c:pt idx="138">
                  <c:v>23.856999999999999</c:v>
                </c:pt>
                <c:pt idx="139">
                  <c:v>26.571000000000002</c:v>
                </c:pt>
                <c:pt idx="140">
                  <c:v>28.571000000000002</c:v>
                </c:pt>
                <c:pt idx="141">
                  <c:v>30</c:v>
                </c:pt>
                <c:pt idx="142">
                  <c:v>27.286000000000001</c:v>
                </c:pt>
                <c:pt idx="143">
                  <c:v>32.143000000000001</c:v>
                </c:pt>
                <c:pt idx="144">
                  <c:v>30.713999999999999</c:v>
                </c:pt>
                <c:pt idx="145">
                  <c:v>31.713999999999999</c:v>
                </c:pt>
                <c:pt idx="146">
                  <c:v>30.143000000000001</c:v>
                </c:pt>
                <c:pt idx="147">
                  <c:v>27.856999999999999</c:v>
                </c:pt>
                <c:pt idx="148">
                  <c:v>25.571000000000002</c:v>
                </c:pt>
                <c:pt idx="149">
                  <c:v>25.286000000000001</c:v>
                </c:pt>
                <c:pt idx="150">
                  <c:v>21.143000000000001</c:v>
                </c:pt>
                <c:pt idx="151">
                  <c:v>20.856999999999999</c:v>
                </c:pt>
                <c:pt idx="152">
                  <c:v>21.286000000000001</c:v>
                </c:pt>
                <c:pt idx="153">
                  <c:v>21.143000000000001</c:v>
                </c:pt>
                <c:pt idx="154">
                  <c:v>18.286000000000001</c:v>
                </c:pt>
                <c:pt idx="155">
                  <c:v>17</c:v>
                </c:pt>
                <c:pt idx="156">
                  <c:v>16.571000000000002</c:v>
                </c:pt>
                <c:pt idx="157">
                  <c:v>16.713999999999999</c:v>
                </c:pt>
                <c:pt idx="158">
                  <c:v>16</c:v>
                </c:pt>
                <c:pt idx="159">
                  <c:v>14.571</c:v>
                </c:pt>
                <c:pt idx="160">
                  <c:v>16</c:v>
                </c:pt>
                <c:pt idx="161">
                  <c:v>15.286</c:v>
                </c:pt>
                <c:pt idx="162">
                  <c:v>16.286000000000001</c:v>
                </c:pt>
                <c:pt idx="163">
                  <c:v>14.856999999999999</c:v>
                </c:pt>
                <c:pt idx="164">
                  <c:v>14.856999999999999</c:v>
                </c:pt>
                <c:pt idx="165">
                  <c:v>15</c:v>
                </c:pt>
                <c:pt idx="166">
                  <c:v>15.714</c:v>
                </c:pt>
                <c:pt idx="167">
                  <c:v>13.429</c:v>
                </c:pt>
                <c:pt idx="168">
                  <c:v>16</c:v>
                </c:pt>
                <c:pt idx="169">
                  <c:v>16.856999999999999</c:v>
                </c:pt>
                <c:pt idx="170">
                  <c:v>21</c:v>
                </c:pt>
                <c:pt idx="171">
                  <c:v>22.286000000000001</c:v>
                </c:pt>
                <c:pt idx="172">
                  <c:v>23.143000000000001</c:v>
                </c:pt>
                <c:pt idx="173">
                  <c:v>21.713999999999999</c:v>
                </c:pt>
                <c:pt idx="174">
                  <c:v>21.856999999999999</c:v>
                </c:pt>
                <c:pt idx="175">
                  <c:v>20.713999999999999</c:v>
                </c:pt>
                <c:pt idx="176">
                  <c:v>19.143000000000001</c:v>
                </c:pt>
                <c:pt idx="177">
                  <c:v>15.714</c:v>
                </c:pt>
                <c:pt idx="178">
                  <c:v>15.429</c:v>
                </c:pt>
                <c:pt idx="179">
                  <c:v>15.714</c:v>
                </c:pt>
                <c:pt idx="180">
                  <c:v>15.714</c:v>
                </c:pt>
                <c:pt idx="181">
                  <c:v>14.429</c:v>
                </c:pt>
                <c:pt idx="182">
                  <c:v>13.143000000000001</c:v>
                </c:pt>
                <c:pt idx="183">
                  <c:v>13</c:v>
                </c:pt>
                <c:pt idx="184">
                  <c:v>11.571</c:v>
                </c:pt>
                <c:pt idx="185">
                  <c:v>10.286</c:v>
                </c:pt>
                <c:pt idx="186">
                  <c:v>9.1430000000000007</c:v>
                </c:pt>
                <c:pt idx="187">
                  <c:v>9.7140000000000004</c:v>
                </c:pt>
                <c:pt idx="188">
                  <c:v>10.286</c:v>
                </c:pt>
                <c:pt idx="189">
                  <c:v>12.714</c:v>
                </c:pt>
                <c:pt idx="190">
                  <c:v>12.286</c:v>
                </c:pt>
                <c:pt idx="191">
                  <c:v>12.714</c:v>
                </c:pt>
                <c:pt idx="192">
                  <c:v>11.429</c:v>
                </c:pt>
                <c:pt idx="193">
                  <c:v>13</c:v>
                </c:pt>
                <c:pt idx="194">
                  <c:v>12.143000000000001</c:v>
                </c:pt>
                <c:pt idx="195">
                  <c:v>14.286</c:v>
                </c:pt>
                <c:pt idx="196">
                  <c:v>13.571</c:v>
                </c:pt>
                <c:pt idx="197">
                  <c:v>15.143000000000001</c:v>
                </c:pt>
                <c:pt idx="198">
                  <c:v>17.428999999999998</c:v>
                </c:pt>
                <c:pt idx="199">
                  <c:v>21.428999999999998</c:v>
                </c:pt>
                <c:pt idx="200">
                  <c:v>20.856999999999999</c:v>
                </c:pt>
                <c:pt idx="201">
                  <c:v>22</c:v>
                </c:pt>
                <c:pt idx="202">
                  <c:v>19.428999999999998</c:v>
                </c:pt>
                <c:pt idx="203">
                  <c:v>19.571000000000002</c:v>
                </c:pt>
                <c:pt idx="204">
                  <c:v>18.143000000000001</c:v>
                </c:pt>
                <c:pt idx="205">
                  <c:v>16.571000000000002</c:v>
                </c:pt>
                <c:pt idx="206">
                  <c:v>13.429</c:v>
                </c:pt>
                <c:pt idx="207">
                  <c:v>16.286000000000001</c:v>
                </c:pt>
                <c:pt idx="208">
                  <c:v>15.714</c:v>
                </c:pt>
                <c:pt idx="209">
                  <c:v>17</c:v>
                </c:pt>
                <c:pt idx="210">
                  <c:v>16.428999999999998</c:v>
                </c:pt>
                <c:pt idx="211">
                  <c:v>17.713999999999999</c:v>
                </c:pt>
                <c:pt idx="212">
                  <c:v>17.143000000000001</c:v>
                </c:pt>
                <c:pt idx="213">
                  <c:v>17.143000000000001</c:v>
                </c:pt>
                <c:pt idx="214">
                  <c:v>13.429</c:v>
                </c:pt>
                <c:pt idx="215">
                  <c:v>12.429</c:v>
                </c:pt>
                <c:pt idx="216">
                  <c:v>11.856999999999999</c:v>
                </c:pt>
                <c:pt idx="217">
                  <c:v>10</c:v>
                </c:pt>
                <c:pt idx="218">
                  <c:v>8.8569999999999993</c:v>
                </c:pt>
                <c:pt idx="219">
                  <c:v>11.429</c:v>
                </c:pt>
                <c:pt idx="220">
                  <c:v>11.714</c:v>
                </c:pt>
                <c:pt idx="221">
                  <c:v>11.856999999999999</c:v>
                </c:pt>
                <c:pt idx="222">
                  <c:v>12.143000000000001</c:v>
                </c:pt>
                <c:pt idx="223">
                  <c:v>12</c:v>
                </c:pt>
                <c:pt idx="224">
                  <c:v>13.286</c:v>
                </c:pt>
                <c:pt idx="225">
                  <c:v>13.143000000000001</c:v>
                </c:pt>
                <c:pt idx="226">
                  <c:v>12.286</c:v>
                </c:pt>
                <c:pt idx="227">
                  <c:v>15.571</c:v>
                </c:pt>
                <c:pt idx="228">
                  <c:v>15.856999999999999</c:v>
                </c:pt>
                <c:pt idx="229">
                  <c:v>16.428999999999998</c:v>
                </c:pt>
                <c:pt idx="230">
                  <c:v>16.428999999999998</c:v>
                </c:pt>
                <c:pt idx="231">
                  <c:v>23.286000000000001</c:v>
                </c:pt>
                <c:pt idx="232">
                  <c:v>27.428999999999998</c:v>
                </c:pt>
                <c:pt idx="233">
                  <c:v>26.713999999999999</c:v>
                </c:pt>
                <c:pt idx="234">
                  <c:v>22</c:v>
                </c:pt>
                <c:pt idx="235">
                  <c:v>20.571000000000002</c:v>
                </c:pt>
                <c:pt idx="236">
                  <c:v>22</c:v>
                </c:pt>
                <c:pt idx="237">
                  <c:v>21.713999999999999</c:v>
                </c:pt>
                <c:pt idx="238">
                  <c:v>14.143000000000001</c:v>
                </c:pt>
                <c:pt idx="239">
                  <c:v>11.856999999999999</c:v>
                </c:pt>
                <c:pt idx="240">
                  <c:v>10.571</c:v>
                </c:pt>
                <c:pt idx="241">
                  <c:v>12.429</c:v>
                </c:pt>
                <c:pt idx="242">
                  <c:v>12.856999999999999</c:v>
                </c:pt>
                <c:pt idx="243">
                  <c:v>11.286</c:v>
                </c:pt>
                <c:pt idx="244">
                  <c:v>11.286</c:v>
                </c:pt>
                <c:pt idx="245">
                  <c:v>12</c:v>
                </c:pt>
                <c:pt idx="246">
                  <c:v>10.856999999999999</c:v>
                </c:pt>
                <c:pt idx="247">
                  <c:v>11.856999999999999</c:v>
                </c:pt>
                <c:pt idx="248">
                  <c:v>11.143000000000001</c:v>
                </c:pt>
                <c:pt idx="249">
                  <c:v>12</c:v>
                </c:pt>
                <c:pt idx="250">
                  <c:v>14.714</c:v>
                </c:pt>
                <c:pt idx="251">
                  <c:v>15.429</c:v>
                </c:pt>
                <c:pt idx="252">
                  <c:v>17.143000000000001</c:v>
                </c:pt>
                <c:pt idx="253">
                  <c:v>19.428999999999998</c:v>
                </c:pt>
                <c:pt idx="254">
                  <c:v>21.713999999999999</c:v>
                </c:pt>
                <c:pt idx="255">
                  <c:v>23.713999999999999</c:v>
                </c:pt>
                <c:pt idx="256">
                  <c:v>24.713999999999999</c:v>
                </c:pt>
                <c:pt idx="257">
                  <c:v>24.428999999999998</c:v>
                </c:pt>
                <c:pt idx="258">
                  <c:v>27.143000000000001</c:v>
                </c:pt>
                <c:pt idx="259">
                  <c:v>28.428999999999998</c:v>
                </c:pt>
                <c:pt idx="260">
                  <c:v>29.428999999999998</c:v>
                </c:pt>
                <c:pt idx="261">
                  <c:v>30.428999999999998</c:v>
                </c:pt>
                <c:pt idx="262">
                  <c:v>31.286000000000001</c:v>
                </c:pt>
                <c:pt idx="263">
                  <c:v>33.286000000000001</c:v>
                </c:pt>
                <c:pt idx="264">
                  <c:v>34.713999999999999</c:v>
                </c:pt>
                <c:pt idx="265">
                  <c:v>34.570999999999998</c:v>
                </c:pt>
                <c:pt idx="266">
                  <c:v>32.713999999999999</c:v>
                </c:pt>
                <c:pt idx="267">
                  <c:v>28.286000000000001</c:v>
                </c:pt>
                <c:pt idx="268">
                  <c:v>24</c:v>
                </c:pt>
                <c:pt idx="269">
                  <c:v>19.856999999999999</c:v>
                </c:pt>
                <c:pt idx="270">
                  <c:v>16</c:v>
                </c:pt>
                <c:pt idx="271">
                  <c:v>12.143000000000001</c:v>
                </c:pt>
                <c:pt idx="272">
                  <c:v>9</c:v>
                </c:pt>
                <c:pt idx="273">
                  <c:v>9.1430000000000007</c:v>
                </c:pt>
                <c:pt idx="274">
                  <c:v>9.1430000000000007</c:v>
                </c:pt>
                <c:pt idx="275">
                  <c:v>9</c:v>
                </c:pt>
                <c:pt idx="276">
                  <c:v>9.1430000000000007</c:v>
                </c:pt>
                <c:pt idx="277">
                  <c:v>9.2859999999999996</c:v>
                </c:pt>
                <c:pt idx="278">
                  <c:v>8.8569999999999993</c:v>
                </c:pt>
                <c:pt idx="279">
                  <c:v>11.143000000000001</c:v>
                </c:pt>
                <c:pt idx="280">
                  <c:v>13.714</c:v>
                </c:pt>
                <c:pt idx="281">
                  <c:v>16.428999999999998</c:v>
                </c:pt>
                <c:pt idx="282">
                  <c:v>21.713999999999999</c:v>
                </c:pt>
                <c:pt idx="283">
                  <c:v>24.571000000000002</c:v>
                </c:pt>
                <c:pt idx="284">
                  <c:v>27.428999999999998</c:v>
                </c:pt>
                <c:pt idx="285">
                  <c:v>27.143000000000001</c:v>
                </c:pt>
                <c:pt idx="286">
                  <c:v>31.571000000000002</c:v>
                </c:pt>
                <c:pt idx="287">
                  <c:v>31.143000000000001</c:v>
                </c:pt>
                <c:pt idx="288">
                  <c:v>31.856999999999999</c:v>
                </c:pt>
                <c:pt idx="289">
                  <c:v>29.286000000000001</c:v>
                </c:pt>
                <c:pt idx="290">
                  <c:v>31.571000000000002</c:v>
                </c:pt>
                <c:pt idx="291">
                  <c:v>32.713999999999999</c:v>
                </c:pt>
                <c:pt idx="292">
                  <c:v>36.143000000000001</c:v>
                </c:pt>
                <c:pt idx="293">
                  <c:v>33.286000000000001</c:v>
                </c:pt>
                <c:pt idx="294">
                  <c:v>32.286000000000001</c:v>
                </c:pt>
                <c:pt idx="295">
                  <c:v>34</c:v>
                </c:pt>
                <c:pt idx="296">
                  <c:v>34.713999999999999</c:v>
                </c:pt>
                <c:pt idx="297">
                  <c:v>33.713999999999999</c:v>
                </c:pt>
                <c:pt idx="298">
                  <c:v>30.143000000000001</c:v>
                </c:pt>
                <c:pt idx="299">
                  <c:v>27.286000000000001</c:v>
                </c:pt>
                <c:pt idx="300">
                  <c:v>24.713999999999999</c:v>
                </c:pt>
                <c:pt idx="301">
                  <c:v>24.286000000000001</c:v>
                </c:pt>
                <c:pt idx="302">
                  <c:v>22</c:v>
                </c:pt>
                <c:pt idx="303">
                  <c:v>23.143000000000001</c:v>
                </c:pt>
                <c:pt idx="304">
                  <c:v>23.143000000000001</c:v>
                </c:pt>
                <c:pt idx="305">
                  <c:v>25.428999999999998</c:v>
                </c:pt>
                <c:pt idx="306">
                  <c:v>29.143000000000001</c:v>
                </c:pt>
                <c:pt idx="307">
                  <c:v>31.856999999999999</c:v>
                </c:pt>
                <c:pt idx="308">
                  <c:v>31.856999999999999</c:v>
                </c:pt>
                <c:pt idx="309">
                  <c:v>34.570999999999998</c:v>
                </c:pt>
                <c:pt idx="310">
                  <c:v>33.429000000000002</c:v>
                </c:pt>
                <c:pt idx="311">
                  <c:v>33.713999999999999</c:v>
                </c:pt>
                <c:pt idx="312">
                  <c:v>34.429000000000002</c:v>
                </c:pt>
                <c:pt idx="313">
                  <c:v>35.570999999999998</c:v>
                </c:pt>
                <c:pt idx="314">
                  <c:v>35.143000000000001</c:v>
                </c:pt>
                <c:pt idx="315">
                  <c:v>36.143000000000001</c:v>
                </c:pt>
                <c:pt idx="316">
                  <c:v>34</c:v>
                </c:pt>
                <c:pt idx="317">
                  <c:v>34.429000000000002</c:v>
                </c:pt>
                <c:pt idx="318">
                  <c:v>34.286000000000001</c:v>
                </c:pt>
                <c:pt idx="319">
                  <c:v>34.286000000000001</c:v>
                </c:pt>
                <c:pt idx="320">
                  <c:v>32.570999999999998</c:v>
                </c:pt>
                <c:pt idx="321">
                  <c:v>29</c:v>
                </c:pt>
                <c:pt idx="322">
                  <c:v>25</c:v>
                </c:pt>
                <c:pt idx="323">
                  <c:v>23.286000000000001</c:v>
                </c:pt>
                <c:pt idx="324">
                  <c:v>23.286000000000001</c:v>
                </c:pt>
                <c:pt idx="325">
                  <c:v>22.143000000000001</c:v>
                </c:pt>
                <c:pt idx="326">
                  <c:v>22.571000000000002</c:v>
                </c:pt>
                <c:pt idx="327">
                  <c:v>22.286000000000001</c:v>
                </c:pt>
                <c:pt idx="328">
                  <c:v>22.428999999999998</c:v>
                </c:pt>
                <c:pt idx="329">
                  <c:v>23.286000000000001</c:v>
                </c:pt>
                <c:pt idx="330">
                  <c:v>21.143000000000001</c:v>
                </c:pt>
                <c:pt idx="331">
                  <c:v>18.286000000000001</c:v>
                </c:pt>
                <c:pt idx="332">
                  <c:v>17.856999999999999</c:v>
                </c:pt>
                <c:pt idx="333">
                  <c:v>15.856999999999999</c:v>
                </c:pt>
                <c:pt idx="334">
                  <c:v>13.714</c:v>
                </c:pt>
                <c:pt idx="335">
                  <c:v>13.856999999999999</c:v>
                </c:pt>
                <c:pt idx="336">
                  <c:v>14.286</c:v>
                </c:pt>
                <c:pt idx="337">
                  <c:v>14.429</c:v>
                </c:pt>
                <c:pt idx="338">
                  <c:v>15.286</c:v>
                </c:pt>
                <c:pt idx="339">
                  <c:v>13.286</c:v>
                </c:pt>
                <c:pt idx="340">
                  <c:v>11.429</c:v>
                </c:pt>
                <c:pt idx="341">
                  <c:v>11</c:v>
                </c:pt>
                <c:pt idx="342">
                  <c:v>11.571</c:v>
                </c:pt>
                <c:pt idx="343">
                  <c:v>13.571</c:v>
                </c:pt>
                <c:pt idx="344">
                  <c:v>13.714</c:v>
                </c:pt>
                <c:pt idx="345">
                  <c:v>13</c:v>
                </c:pt>
                <c:pt idx="346">
                  <c:v>14.856999999999999</c:v>
                </c:pt>
                <c:pt idx="347">
                  <c:v>13.571</c:v>
                </c:pt>
                <c:pt idx="348">
                  <c:v>14.143000000000001</c:v>
                </c:pt>
                <c:pt idx="349">
                  <c:v>15.143000000000001</c:v>
                </c:pt>
                <c:pt idx="350">
                  <c:v>13.856999999999999</c:v>
                </c:pt>
                <c:pt idx="351">
                  <c:v>15.429</c:v>
                </c:pt>
                <c:pt idx="352">
                  <c:v>16.713999999999999</c:v>
                </c:pt>
                <c:pt idx="353">
                  <c:v>16.286000000000001</c:v>
                </c:pt>
                <c:pt idx="354">
                  <c:v>18.856999999999999</c:v>
                </c:pt>
                <c:pt idx="355">
                  <c:v>18.856999999999999</c:v>
                </c:pt>
                <c:pt idx="356">
                  <c:v>18.713999999999999</c:v>
                </c:pt>
                <c:pt idx="357">
                  <c:v>18.571000000000002</c:v>
                </c:pt>
                <c:pt idx="358">
                  <c:v>18</c:v>
                </c:pt>
                <c:pt idx="359">
                  <c:v>16</c:v>
                </c:pt>
                <c:pt idx="360">
                  <c:v>15.571</c:v>
                </c:pt>
                <c:pt idx="361">
                  <c:v>14.571</c:v>
                </c:pt>
                <c:pt idx="362">
                  <c:v>14.143000000000001</c:v>
                </c:pt>
                <c:pt idx="363">
                  <c:v>13.286</c:v>
                </c:pt>
                <c:pt idx="364">
                  <c:v>13</c:v>
                </c:pt>
                <c:pt idx="365">
                  <c:v>13.571</c:v>
                </c:pt>
                <c:pt idx="366">
                  <c:v>14.286</c:v>
                </c:pt>
                <c:pt idx="367">
                  <c:v>12.856999999999999</c:v>
                </c:pt>
                <c:pt idx="368">
                  <c:v>12.714</c:v>
                </c:pt>
                <c:pt idx="369">
                  <c:v>12.143000000000001</c:v>
                </c:pt>
                <c:pt idx="370">
                  <c:v>11.429</c:v>
                </c:pt>
                <c:pt idx="371">
                  <c:v>12.571</c:v>
                </c:pt>
                <c:pt idx="372">
                  <c:v>13.571</c:v>
                </c:pt>
                <c:pt idx="373">
                  <c:v>14.571</c:v>
                </c:pt>
                <c:pt idx="374">
                  <c:v>16.713999999999999</c:v>
                </c:pt>
                <c:pt idx="375">
                  <c:v>17.856999999999999</c:v>
                </c:pt>
                <c:pt idx="376">
                  <c:v>18</c:v>
                </c:pt>
                <c:pt idx="377">
                  <c:v>22</c:v>
                </c:pt>
                <c:pt idx="378">
                  <c:v>23</c:v>
                </c:pt>
                <c:pt idx="379">
                  <c:v>23.571000000000002</c:v>
                </c:pt>
                <c:pt idx="380">
                  <c:v>26.143000000000001</c:v>
                </c:pt>
                <c:pt idx="381">
                  <c:v>27</c:v>
                </c:pt>
                <c:pt idx="382">
                  <c:v>29.286000000000001</c:v>
                </c:pt>
                <c:pt idx="383">
                  <c:v>31.571000000000002</c:v>
                </c:pt>
                <c:pt idx="384">
                  <c:v>31.713999999999999</c:v>
                </c:pt>
                <c:pt idx="385">
                  <c:v>31.428999999999998</c:v>
                </c:pt>
                <c:pt idx="386">
                  <c:v>32.143000000000001</c:v>
                </c:pt>
                <c:pt idx="387">
                  <c:v>30.571000000000002</c:v>
                </c:pt>
                <c:pt idx="388">
                  <c:v>29.286000000000001</c:v>
                </c:pt>
                <c:pt idx="389">
                  <c:v>27</c:v>
                </c:pt>
                <c:pt idx="390">
                  <c:v>26.713999999999999</c:v>
                </c:pt>
                <c:pt idx="391">
                  <c:v>24.856999999999999</c:v>
                </c:pt>
                <c:pt idx="392">
                  <c:v>24.143000000000001</c:v>
                </c:pt>
                <c:pt idx="393">
                  <c:v>22.143000000000001</c:v>
                </c:pt>
                <c:pt idx="394">
                  <c:v>21.428999999999998</c:v>
                </c:pt>
                <c:pt idx="395">
                  <c:v>21.143000000000001</c:v>
                </c:pt>
                <c:pt idx="396">
                  <c:v>21.143000000000001</c:v>
                </c:pt>
                <c:pt idx="397">
                  <c:v>21.428999999999998</c:v>
                </c:pt>
                <c:pt idx="398">
                  <c:v>21.856999999999999</c:v>
                </c:pt>
                <c:pt idx="399">
                  <c:v>23.428999999999998</c:v>
                </c:pt>
                <c:pt idx="400">
                  <c:v>25.286000000000001</c:v>
                </c:pt>
                <c:pt idx="401">
                  <c:v>24.428999999999998</c:v>
                </c:pt>
                <c:pt idx="402">
                  <c:v>24.856999999999999</c:v>
                </c:pt>
                <c:pt idx="403">
                  <c:v>25</c:v>
                </c:pt>
                <c:pt idx="404">
                  <c:v>22.571000000000002</c:v>
                </c:pt>
                <c:pt idx="405">
                  <c:v>24.286000000000001</c:v>
                </c:pt>
                <c:pt idx="406">
                  <c:v>24.713999999999999</c:v>
                </c:pt>
                <c:pt idx="407">
                  <c:v>22.143000000000001</c:v>
                </c:pt>
                <c:pt idx="408">
                  <c:v>21.428999999999998</c:v>
                </c:pt>
                <c:pt idx="409">
                  <c:v>22.143000000000001</c:v>
                </c:pt>
                <c:pt idx="410">
                  <c:v>22</c:v>
                </c:pt>
                <c:pt idx="411">
                  <c:v>22.428999999999998</c:v>
                </c:pt>
                <c:pt idx="412">
                  <c:v>19.571000000000002</c:v>
                </c:pt>
                <c:pt idx="413">
                  <c:v>16.143000000000001</c:v>
                </c:pt>
                <c:pt idx="414">
                  <c:v>17.143000000000001</c:v>
                </c:pt>
                <c:pt idx="415">
                  <c:v>18.856999999999999</c:v>
                </c:pt>
                <c:pt idx="416">
                  <c:v>17.713999999999999</c:v>
                </c:pt>
                <c:pt idx="417">
                  <c:v>16.143000000000001</c:v>
                </c:pt>
                <c:pt idx="418">
                  <c:v>16.571000000000002</c:v>
                </c:pt>
                <c:pt idx="419">
                  <c:v>15.571</c:v>
                </c:pt>
                <c:pt idx="420">
                  <c:v>18.571000000000002</c:v>
                </c:pt>
                <c:pt idx="421">
                  <c:v>16.856999999999999</c:v>
                </c:pt>
                <c:pt idx="422">
                  <c:v>16.713999999999999</c:v>
                </c:pt>
                <c:pt idx="423">
                  <c:v>17.856999999999999</c:v>
                </c:pt>
                <c:pt idx="424">
                  <c:v>19.571000000000002</c:v>
                </c:pt>
                <c:pt idx="425">
                  <c:v>22.286000000000001</c:v>
                </c:pt>
                <c:pt idx="426">
                  <c:v>23</c:v>
                </c:pt>
                <c:pt idx="427">
                  <c:v>22.286000000000001</c:v>
                </c:pt>
                <c:pt idx="428">
                  <c:v>24</c:v>
                </c:pt>
                <c:pt idx="429">
                  <c:v>23.428999999999998</c:v>
                </c:pt>
                <c:pt idx="430">
                  <c:v>22.713999999999999</c:v>
                </c:pt>
                <c:pt idx="431">
                  <c:v>22.428999999999998</c:v>
                </c:pt>
                <c:pt idx="432">
                  <c:v>20</c:v>
                </c:pt>
                <c:pt idx="433">
                  <c:v>21.143000000000001</c:v>
                </c:pt>
                <c:pt idx="434">
                  <c:v>21</c:v>
                </c:pt>
                <c:pt idx="435">
                  <c:v>21.428999999999998</c:v>
                </c:pt>
                <c:pt idx="436">
                  <c:v>22.571000000000002</c:v>
                </c:pt>
                <c:pt idx="437">
                  <c:v>22.713999999999999</c:v>
                </c:pt>
                <c:pt idx="438">
                  <c:v>23</c:v>
                </c:pt>
                <c:pt idx="439">
                  <c:v>22.856999999999999</c:v>
                </c:pt>
                <c:pt idx="440">
                  <c:v>24.143000000000001</c:v>
                </c:pt>
                <c:pt idx="441">
                  <c:v>23.713999999999999</c:v>
                </c:pt>
                <c:pt idx="442">
                  <c:v>23</c:v>
                </c:pt>
                <c:pt idx="443">
                  <c:v>25.571000000000002</c:v>
                </c:pt>
                <c:pt idx="444">
                  <c:v>29.428999999999998</c:v>
                </c:pt>
                <c:pt idx="445">
                  <c:v>34.143000000000001</c:v>
                </c:pt>
                <c:pt idx="446">
                  <c:v>38.570999999999998</c:v>
                </c:pt>
                <c:pt idx="447">
                  <c:v>40.713999999999999</c:v>
                </c:pt>
                <c:pt idx="448">
                  <c:v>45.429000000000002</c:v>
                </c:pt>
                <c:pt idx="449">
                  <c:v>49.286000000000001</c:v>
                </c:pt>
                <c:pt idx="450">
                  <c:v>52.143000000000001</c:v>
                </c:pt>
                <c:pt idx="451">
                  <c:v>51.856999999999999</c:v>
                </c:pt>
                <c:pt idx="452">
                  <c:v>50.856999999999999</c:v>
                </c:pt>
                <c:pt idx="453">
                  <c:v>50.570999999999998</c:v>
                </c:pt>
                <c:pt idx="454">
                  <c:v>51.713999999999999</c:v>
                </c:pt>
                <c:pt idx="455">
                  <c:v>52.856999999999999</c:v>
                </c:pt>
                <c:pt idx="456">
                  <c:v>55.429000000000002</c:v>
                </c:pt>
                <c:pt idx="457">
                  <c:v>55.713999999999999</c:v>
                </c:pt>
                <c:pt idx="458">
                  <c:v>58.713999999999999</c:v>
                </c:pt>
                <c:pt idx="459">
                  <c:v>58.713999999999999</c:v>
                </c:pt>
                <c:pt idx="460">
                  <c:v>58.429000000000002</c:v>
                </c:pt>
                <c:pt idx="461">
                  <c:v>57.286000000000001</c:v>
                </c:pt>
                <c:pt idx="462">
                  <c:v>51.143000000000001</c:v>
                </c:pt>
                <c:pt idx="463">
                  <c:v>46.713999999999999</c:v>
                </c:pt>
                <c:pt idx="464">
                  <c:v>41.856999999999999</c:v>
                </c:pt>
                <c:pt idx="465">
                  <c:v>38.429000000000002</c:v>
                </c:pt>
                <c:pt idx="466">
                  <c:v>36</c:v>
                </c:pt>
                <c:pt idx="467">
                  <c:v>31.856999999999999</c:v>
                </c:pt>
                <c:pt idx="468">
                  <c:v>29.713999999999999</c:v>
                </c:pt>
                <c:pt idx="469">
                  <c:v>32.143000000000001</c:v>
                </c:pt>
                <c:pt idx="470">
                  <c:v>32.143000000000001</c:v>
                </c:pt>
                <c:pt idx="471">
                  <c:v>32.570999999999998</c:v>
                </c:pt>
                <c:pt idx="472">
                  <c:v>30</c:v>
                </c:pt>
                <c:pt idx="473">
                  <c:v>28.713999999999999</c:v>
                </c:pt>
                <c:pt idx="474">
                  <c:v>29.428999999999998</c:v>
                </c:pt>
                <c:pt idx="475">
                  <c:v>24.428999999999998</c:v>
                </c:pt>
                <c:pt idx="476">
                  <c:v>18.428999999999998</c:v>
                </c:pt>
                <c:pt idx="477">
                  <c:v>27.856999999999999</c:v>
                </c:pt>
                <c:pt idx="478">
                  <c:v>27.428999999999998</c:v>
                </c:pt>
                <c:pt idx="479">
                  <c:v>27.856999999999999</c:v>
                </c:pt>
                <c:pt idx="480">
                  <c:v>26.571000000000002</c:v>
                </c:pt>
                <c:pt idx="481">
                  <c:v>26.428999999999998</c:v>
                </c:pt>
                <c:pt idx="482">
                  <c:v>35.570999999999998</c:v>
                </c:pt>
                <c:pt idx="483">
                  <c:v>42.429000000000002</c:v>
                </c:pt>
                <c:pt idx="484">
                  <c:v>31.286000000000001</c:v>
                </c:pt>
                <c:pt idx="485">
                  <c:v>32.286000000000001</c:v>
                </c:pt>
                <c:pt idx="486">
                  <c:v>35.143000000000001</c:v>
                </c:pt>
                <c:pt idx="487">
                  <c:v>44.713999999999999</c:v>
                </c:pt>
                <c:pt idx="488">
                  <c:v>48</c:v>
                </c:pt>
                <c:pt idx="489">
                  <c:v>43.856999999999999</c:v>
                </c:pt>
                <c:pt idx="490">
                  <c:v>42.856999999999999</c:v>
                </c:pt>
                <c:pt idx="491">
                  <c:v>47.143000000000001</c:v>
                </c:pt>
                <c:pt idx="492">
                  <c:v>50.713999999999999</c:v>
                </c:pt>
                <c:pt idx="493">
                  <c:v>53.570999999999998</c:v>
                </c:pt>
                <c:pt idx="494">
                  <c:v>51.143000000000001</c:v>
                </c:pt>
                <c:pt idx="495">
                  <c:v>51.429000000000002</c:v>
                </c:pt>
                <c:pt idx="496">
                  <c:v>51.713999999999999</c:v>
                </c:pt>
                <c:pt idx="497">
                  <c:v>53.429000000000002</c:v>
                </c:pt>
                <c:pt idx="498">
                  <c:v>54.570999999999998</c:v>
                </c:pt>
                <c:pt idx="499">
                  <c:v>51.713999999999999</c:v>
                </c:pt>
                <c:pt idx="500">
                  <c:v>53</c:v>
                </c:pt>
                <c:pt idx="501">
                  <c:v>54.856999999999999</c:v>
                </c:pt>
                <c:pt idx="502">
                  <c:v>54.429000000000002</c:v>
                </c:pt>
                <c:pt idx="503">
                  <c:v>53.429000000000002</c:v>
                </c:pt>
                <c:pt idx="504">
                  <c:v>53.570999999999998</c:v>
                </c:pt>
              </c:numCache>
            </c:numRef>
          </c:val>
          <c:smooth val="0"/>
          <c:extLst>
            <c:ext xmlns:c16="http://schemas.microsoft.com/office/drawing/2014/chart" uri="{C3380CC4-5D6E-409C-BE32-E72D297353CC}">
              <c16:uniqueId val="{00000001-ABFF-4F69-A778-B65D06386B92}"/>
            </c:ext>
          </c:extLst>
        </c:ser>
        <c:dLbls>
          <c:showLegendKey val="0"/>
          <c:showVal val="0"/>
          <c:showCatName val="0"/>
          <c:showSerName val="0"/>
          <c:showPercent val="0"/>
          <c:showBubbleSize val="0"/>
        </c:dLbls>
        <c:marker val="1"/>
        <c:smooth val="0"/>
        <c:axId val="206300672"/>
        <c:axId val="206302208"/>
        <c:extLst>
          <c:ext xmlns:c15="http://schemas.microsoft.com/office/drawing/2012/chart" uri="{02D57815-91ED-43cb-92C2-25804820EDAC}">
            <c15:filteredLineSeries>
              <c15:ser>
                <c:idx val="6"/>
                <c:order val="6"/>
                <c:tx>
                  <c:strRef>
                    <c:extLst>
                      <c:ext uri="{02D57815-91ED-43cb-92C2-25804820EDAC}">
                        <c15:formulaRef>
                          <c15:sqref>'C.A.+R.D.'!$A$1</c15:sqref>
                        </c15:formulaRef>
                      </c:ext>
                    </c:extLst>
                    <c:strCache>
                      <c:ptCount val="1"/>
                      <c:pt idx="0">
                        <c:v>Centro América + R.D.</c:v>
                      </c:pt>
                    </c:strCache>
                  </c:strRef>
                </c:tx>
                <c:spPr>
                  <a:ln w="22225" cap="rnd">
                    <a:solidFill>
                      <a:srgbClr val="FF0000"/>
                    </a:solidFill>
                    <a:round/>
                  </a:ln>
                  <a:effectLst/>
                </c:spPr>
                <c:marker>
                  <c:symbol val="none"/>
                </c:marker>
                <c:cat>
                  <c:numRef>
                    <c:extLst>
                      <c:ext uri="{02D57815-91ED-43cb-92C2-25804820EDAC}">
                        <c15:formulaRef>
                          <c15:sqref>World!$A$94:$A$596</c15:sqref>
                        </c15:formulaRef>
                      </c:ext>
                    </c:extLst>
                    <c:numCache>
                      <c:formatCode>dd/mm/yy;@</c:formatCode>
                      <c:ptCount val="503"/>
                      <c:pt idx="0">
                        <c:v>43922</c:v>
                      </c:pt>
                      <c:pt idx="1">
                        <c:v>43923</c:v>
                      </c:pt>
                      <c:pt idx="2">
                        <c:v>43924</c:v>
                      </c:pt>
                      <c:pt idx="3">
                        <c:v>43925</c:v>
                      </c:pt>
                      <c:pt idx="4">
                        <c:v>43926</c:v>
                      </c:pt>
                      <c:pt idx="5">
                        <c:v>43927</c:v>
                      </c:pt>
                      <c:pt idx="6">
                        <c:v>43928</c:v>
                      </c:pt>
                      <c:pt idx="7">
                        <c:v>43929</c:v>
                      </c:pt>
                      <c:pt idx="8">
                        <c:v>43930</c:v>
                      </c:pt>
                      <c:pt idx="9">
                        <c:v>43931</c:v>
                      </c:pt>
                      <c:pt idx="10">
                        <c:v>43932</c:v>
                      </c:pt>
                      <c:pt idx="11">
                        <c:v>43933</c:v>
                      </c:pt>
                      <c:pt idx="12">
                        <c:v>43934</c:v>
                      </c:pt>
                      <c:pt idx="13">
                        <c:v>43935</c:v>
                      </c:pt>
                      <c:pt idx="14">
                        <c:v>43936</c:v>
                      </c:pt>
                      <c:pt idx="15">
                        <c:v>43937</c:v>
                      </c:pt>
                      <c:pt idx="16">
                        <c:v>43938</c:v>
                      </c:pt>
                      <c:pt idx="17">
                        <c:v>43939</c:v>
                      </c:pt>
                      <c:pt idx="18">
                        <c:v>43940</c:v>
                      </c:pt>
                      <c:pt idx="19">
                        <c:v>43941</c:v>
                      </c:pt>
                      <c:pt idx="20">
                        <c:v>43942</c:v>
                      </c:pt>
                      <c:pt idx="21">
                        <c:v>43943</c:v>
                      </c:pt>
                      <c:pt idx="22">
                        <c:v>43944</c:v>
                      </c:pt>
                      <c:pt idx="23">
                        <c:v>43945</c:v>
                      </c:pt>
                      <c:pt idx="24">
                        <c:v>43946</c:v>
                      </c:pt>
                      <c:pt idx="25">
                        <c:v>43947</c:v>
                      </c:pt>
                      <c:pt idx="26">
                        <c:v>43948</c:v>
                      </c:pt>
                      <c:pt idx="27">
                        <c:v>43949</c:v>
                      </c:pt>
                      <c:pt idx="28">
                        <c:v>43950</c:v>
                      </c:pt>
                      <c:pt idx="29">
                        <c:v>43951</c:v>
                      </c:pt>
                      <c:pt idx="30">
                        <c:v>43952</c:v>
                      </c:pt>
                      <c:pt idx="31">
                        <c:v>43953</c:v>
                      </c:pt>
                      <c:pt idx="32">
                        <c:v>43954</c:v>
                      </c:pt>
                      <c:pt idx="33">
                        <c:v>43955</c:v>
                      </c:pt>
                      <c:pt idx="34">
                        <c:v>43956</c:v>
                      </c:pt>
                      <c:pt idx="35">
                        <c:v>43957</c:v>
                      </c:pt>
                      <c:pt idx="36">
                        <c:v>43958</c:v>
                      </c:pt>
                      <c:pt idx="37">
                        <c:v>43959</c:v>
                      </c:pt>
                      <c:pt idx="38">
                        <c:v>43960</c:v>
                      </c:pt>
                      <c:pt idx="39">
                        <c:v>43961</c:v>
                      </c:pt>
                      <c:pt idx="40">
                        <c:v>43962</c:v>
                      </c:pt>
                      <c:pt idx="41">
                        <c:v>43963</c:v>
                      </c:pt>
                      <c:pt idx="42">
                        <c:v>43964</c:v>
                      </c:pt>
                      <c:pt idx="43">
                        <c:v>43965</c:v>
                      </c:pt>
                      <c:pt idx="44">
                        <c:v>43966</c:v>
                      </c:pt>
                      <c:pt idx="45">
                        <c:v>43967</c:v>
                      </c:pt>
                      <c:pt idx="46">
                        <c:v>43968</c:v>
                      </c:pt>
                      <c:pt idx="47">
                        <c:v>43969</c:v>
                      </c:pt>
                      <c:pt idx="48">
                        <c:v>43970</c:v>
                      </c:pt>
                      <c:pt idx="49">
                        <c:v>43971</c:v>
                      </c:pt>
                      <c:pt idx="50">
                        <c:v>43972</c:v>
                      </c:pt>
                      <c:pt idx="51">
                        <c:v>43973</c:v>
                      </c:pt>
                      <c:pt idx="52">
                        <c:v>43974</c:v>
                      </c:pt>
                      <c:pt idx="53">
                        <c:v>43975</c:v>
                      </c:pt>
                      <c:pt idx="54">
                        <c:v>43976</c:v>
                      </c:pt>
                      <c:pt idx="55">
                        <c:v>43977</c:v>
                      </c:pt>
                      <c:pt idx="56">
                        <c:v>43978</c:v>
                      </c:pt>
                      <c:pt idx="57">
                        <c:v>43979</c:v>
                      </c:pt>
                      <c:pt idx="58">
                        <c:v>43980</c:v>
                      </c:pt>
                      <c:pt idx="59">
                        <c:v>43981</c:v>
                      </c:pt>
                      <c:pt idx="60">
                        <c:v>43982</c:v>
                      </c:pt>
                      <c:pt idx="61">
                        <c:v>43983</c:v>
                      </c:pt>
                      <c:pt idx="62">
                        <c:v>43984</c:v>
                      </c:pt>
                      <c:pt idx="63">
                        <c:v>43985</c:v>
                      </c:pt>
                      <c:pt idx="64">
                        <c:v>43986</c:v>
                      </c:pt>
                      <c:pt idx="65">
                        <c:v>43987</c:v>
                      </c:pt>
                      <c:pt idx="66">
                        <c:v>43988</c:v>
                      </c:pt>
                      <c:pt idx="67">
                        <c:v>43989</c:v>
                      </c:pt>
                      <c:pt idx="68">
                        <c:v>43990</c:v>
                      </c:pt>
                      <c:pt idx="69">
                        <c:v>43991</c:v>
                      </c:pt>
                      <c:pt idx="70">
                        <c:v>43992</c:v>
                      </c:pt>
                      <c:pt idx="71">
                        <c:v>43993</c:v>
                      </c:pt>
                      <c:pt idx="72">
                        <c:v>43994</c:v>
                      </c:pt>
                      <c:pt idx="73">
                        <c:v>43995</c:v>
                      </c:pt>
                      <c:pt idx="74">
                        <c:v>43996</c:v>
                      </c:pt>
                      <c:pt idx="75">
                        <c:v>43997</c:v>
                      </c:pt>
                      <c:pt idx="76">
                        <c:v>43998</c:v>
                      </c:pt>
                      <c:pt idx="77">
                        <c:v>43999</c:v>
                      </c:pt>
                      <c:pt idx="78">
                        <c:v>44000</c:v>
                      </c:pt>
                      <c:pt idx="79">
                        <c:v>44001</c:v>
                      </c:pt>
                      <c:pt idx="80">
                        <c:v>44002</c:v>
                      </c:pt>
                      <c:pt idx="81">
                        <c:v>44003</c:v>
                      </c:pt>
                      <c:pt idx="82">
                        <c:v>44004</c:v>
                      </c:pt>
                      <c:pt idx="83">
                        <c:v>44005</c:v>
                      </c:pt>
                      <c:pt idx="84">
                        <c:v>44006</c:v>
                      </c:pt>
                      <c:pt idx="85">
                        <c:v>44007</c:v>
                      </c:pt>
                      <c:pt idx="86">
                        <c:v>44008</c:v>
                      </c:pt>
                      <c:pt idx="87">
                        <c:v>44009</c:v>
                      </c:pt>
                      <c:pt idx="88">
                        <c:v>44010</c:v>
                      </c:pt>
                      <c:pt idx="89">
                        <c:v>44011</c:v>
                      </c:pt>
                      <c:pt idx="90">
                        <c:v>44012</c:v>
                      </c:pt>
                      <c:pt idx="91">
                        <c:v>44013</c:v>
                      </c:pt>
                      <c:pt idx="92">
                        <c:v>44014</c:v>
                      </c:pt>
                      <c:pt idx="93">
                        <c:v>44015</c:v>
                      </c:pt>
                      <c:pt idx="94">
                        <c:v>44016</c:v>
                      </c:pt>
                      <c:pt idx="95">
                        <c:v>44017</c:v>
                      </c:pt>
                      <c:pt idx="96">
                        <c:v>44018</c:v>
                      </c:pt>
                      <c:pt idx="97">
                        <c:v>44019</c:v>
                      </c:pt>
                      <c:pt idx="98">
                        <c:v>44020</c:v>
                      </c:pt>
                      <c:pt idx="99">
                        <c:v>44021</c:v>
                      </c:pt>
                      <c:pt idx="100">
                        <c:v>44022</c:v>
                      </c:pt>
                      <c:pt idx="101">
                        <c:v>44023</c:v>
                      </c:pt>
                      <c:pt idx="102">
                        <c:v>44024</c:v>
                      </c:pt>
                      <c:pt idx="103">
                        <c:v>44025</c:v>
                      </c:pt>
                      <c:pt idx="104">
                        <c:v>44026</c:v>
                      </c:pt>
                      <c:pt idx="105">
                        <c:v>44027</c:v>
                      </c:pt>
                      <c:pt idx="106">
                        <c:v>44028</c:v>
                      </c:pt>
                      <c:pt idx="107">
                        <c:v>44029</c:v>
                      </c:pt>
                      <c:pt idx="108">
                        <c:v>44030</c:v>
                      </c:pt>
                      <c:pt idx="109">
                        <c:v>44031</c:v>
                      </c:pt>
                      <c:pt idx="110">
                        <c:v>44032</c:v>
                      </c:pt>
                      <c:pt idx="111">
                        <c:v>44033</c:v>
                      </c:pt>
                      <c:pt idx="112">
                        <c:v>44034</c:v>
                      </c:pt>
                      <c:pt idx="113">
                        <c:v>44035</c:v>
                      </c:pt>
                      <c:pt idx="114">
                        <c:v>44036</c:v>
                      </c:pt>
                      <c:pt idx="115">
                        <c:v>44037</c:v>
                      </c:pt>
                      <c:pt idx="116">
                        <c:v>44038</c:v>
                      </c:pt>
                      <c:pt idx="117">
                        <c:v>44039</c:v>
                      </c:pt>
                      <c:pt idx="118">
                        <c:v>44040</c:v>
                      </c:pt>
                      <c:pt idx="119">
                        <c:v>44041</c:v>
                      </c:pt>
                      <c:pt idx="120">
                        <c:v>44042</c:v>
                      </c:pt>
                      <c:pt idx="121">
                        <c:v>44043</c:v>
                      </c:pt>
                      <c:pt idx="122">
                        <c:v>44044</c:v>
                      </c:pt>
                      <c:pt idx="123">
                        <c:v>44045</c:v>
                      </c:pt>
                      <c:pt idx="124">
                        <c:v>44046</c:v>
                      </c:pt>
                      <c:pt idx="125">
                        <c:v>44047</c:v>
                      </c:pt>
                      <c:pt idx="126">
                        <c:v>44048</c:v>
                      </c:pt>
                      <c:pt idx="127">
                        <c:v>44049</c:v>
                      </c:pt>
                      <c:pt idx="128">
                        <c:v>44050</c:v>
                      </c:pt>
                      <c:pt idx="129">
                        <c:v>44051</c:v>
                      </c:pt>
                      <c:pt idx="130">
                        <c:v>44052</c:v>
                      </c:pt>
                      <c:pt idx="131">
                        <c:v>44053</c:v>
                      </c:pt>
                      <c:pt idx="132">
                        <c:v>44054</c:v>
                      </c:pt>
                      <c:pt idx="133">
                        <c:v>44055</c:v>
                      </c:pt>
                      <c:pt idx="134">
                        <c:v>44056</c:v>
                      </c:pt>
                      <c:pt idx="135">
                        <c:v>44057</c:v>
                      </c:pt>
                      <c:pt idx="136">
                        <c:v>44058</c:v>
                      </c:pt>
                      <c:pt idx="137">
                        <c:v>44059</c:v>
                      </c:pt>
                      <c:pt idx="138">
                        <c:v>44060</c:v>
                      </c:pt>
                      <c:pt idx="139">
                        <c:v>44061</c:v>
                      </c:pt>
                      <c:pt idx="140">
                        <c:v>44062</c:v>
                      </c:pt>
                      <c:pt idx="141">
                        <c:v>44063</c:v>
                      </c:pt>
                      <c:pt idx="142">
                        <c:v>44064</c:v>
                      </c:pt>
                      <c:pt idx="143">
                        <c:v>44065</c:v>
                      </c:pt>
                      <c:pt idx="144">
                        <c:v>44066</c:v>
                      </c:pt>
                      <c:pt idx="145">
                        <c:v>44067</c:v>
                      </c:pt>
                      <c:pt idx="146">
                        <c:v>44068</c:v>
                      </c:pt>
                      <c:pt idx="147">
                        <c:v>44069</c:v>
                      </c:pt>
                      <c:pt idx="148">
                        <c:v>44070</c:v>
                      </c:pt>
                      <c:pt idx="149">
                        <c:v>44071</c:v>
                      </c:pt>
                      <c:pt idx="150">
                        <c:v>44072</c:v>
                      </c:pt>
                      <c:pt idx="151">
                        <c:v>44073</c:v>
                      </c:pt>
                      <c:pt idx="152">
                        <c:v>44074</c:v>
                      </c:pt>
                      <c:pt idx="153">
                        <c:v>44075</c:v>
                      </c:pt>
                      <c:pt idx="154">
                        <c:v>44076</c:v>
                      </c:pt>
                      <c:pt idx="155">
                        <c:v>44077</c:v>
                      </c:pt>
                      <c:pt idx="156">
                        <c:v>44078</c:v>
                      </c:pt>
                      <c:pt idx="157">
                        <c:v>44079</c:v>
                      </c:pt>
                      <c:pt idx="158">
                        <c:v>44080</c:v>
                      </c:pt>
                      <c:pt idx="159">
                        <c:v>44081</c:v>
                      </c:pt>
                      <c:pt idx="160">
                        <c:v>44082</c:v>
                      </c:pt>
                      <c:pt idx="161">
                        <c:v>44083</c:v>
                      </c:pt>
                      <c:pt idx="162">
                        <c:v>44084</c:v>
                      </c:pt>
                      <c:pt idx="163">
                        <c:v>44085</c:v>
                      </c:pt>
                      <c:pt idx="164">
                        <c:v>44086</c:v>
                      </c:pt>
                      <c:pt idx="165">
                        <c:v>44087</c:v>
                      </c:pt>
                      <c:pt idx="166">
                        <c:v>44088</c:v>
                      </c:pt>
                      <c:pt idx="167">
                        <c:v>44089</c:v>
                      </c:pt>
                      <c:pt idx="168">
                        <c:v>44090</c:v>
                      </c:pt>
                      <c:pt idx="169">
                        <c:v>44091</c:v>
                      </c:pt>
                      <c:pt idx="170">
                        <c:v>44092</c:v>
                      </c:pt>
                      <c:pt idx="171">
                        <c:v>44093</c:v>
                      </c:pt>
                      <c:pt idx="172">
                        <c:v>44094</c:v>
                      </c:pt>
                      <c:pt idx="173">
                        <c:v>44095</c:v>
                      </c:pt>
                      <c:pt idx="174">
                        <c:v>44096</c:v>
                      </c:pt>
                      <c:pt idx="175">
                        <c:v>44097</c:v>
                      </c:pt>
                      <c:pt idx="176">
                        <c:v>44098</c:v>
                      </c:pt>
                      <c:pt idx="177">
                        <c:v>44099</c:v>
                      </c:pt>
                      <c:pt idx="178">
                        <c:v>44100</c:v>
                      </c:pt>
                      <c:pt idx="179">
                        <c:v>44101</c:v>
                      </c:pt>
                      <c:pt idx="180">
                        <c:v>44102</c:v>
                      </c:pt>
                      <c:pt idx="181">
                        <c:v>44103</c:v>
                      </c:pt>
                      <c:pt idx="182">
                        <c:v>44104</c:v>
                      </c:pt>
                      <c:pt idx="183">
                        <c:v>44105</c:v>
                      </c:pt>
                      <c:pt idx="184">
                        <c:v>44106</c:v>
                      </c:pt>
                      <c:pt idx="185">
                        <c:v>44107</c:v>
                      </c:pt>
                      <c:pt idx="186">
                        <c:v>44108</c:v>
                      </c:pt>
                      <c:pt idx="187">
                        <c:v>44109</c:v>
                      </c:pt>
                      <c:pt idx="188">
                        <c:v>44110</c:v>
                      </c:pt>
                      <c:pt idx="189">
                        <c:v>44111</c:v>
                      </c:pt>
                      <c:pt idx="190">
                        <c:v>44112</c:v>
                      </c:pt>
                      <c:pt idx="191">
                        <c:v>44113</c:v>
                      </c:pt>
                      <c:pt idx="192">
                        <c:v>44114</c:v>
                      </c:pt>
                      <c:pt idx="193">
                        <c:v>44115</c:v>
                      </c:pt>
                      <c:pt idx="194">
                        <c:v>44116</c:v>
                      </c:pt>
                      <c:pt idx="195">
                        <c:v>44117</c:v>
                      </c:pt>
                      <c:pt idx="196">
                        <c:v>44118</c:v>
                      </c:pt>
                      <c:pt idx="197">
                        <c:v>44119</c:v>
                      </c:pt>
                      <c:pt idx="198">
                        <c:v>44120</c:v>
                      </c:pt>
                      <c:pt idx="199">
                        <c:v>44121</c:v>
                      </c:pt>
                      <c:pt idx="200">
                        <c:v>44122</c:v>
                      </c:pt>
                      <c:pt idx="201">
                        <c:v>44123</c:v>
                      </c:pt>
                      <c:pt idx="202">
                        <c:v>44124</c:v>
                      </c:pt>
                      <c:pt idx="203">
                        <c:v>44125</c:v>
                      </c:pt>
                      <c:pt idx="204">
                        <c:v>44126</c:v>
                      </c:pt>
                      <c:pt idx="205">
                        <c:v>44127</c:v>
                      </c:pt>
                      <c:pt idx="206">
                        <c:v>44128</c:v>
                      </c:pt>
                      <c:pt idx="207">
                        <c:v>44129</c:v>
                      </c:pt>
                      <c:pt idx="208">
                        <c:v>44130</c:v>
                      </c:pt>
                      <c:pt idx="209">
                        <c:v>44131</c:v>
                      </c:pt>
                      <c:pt idx="210">
                        <c:v>44132</c:v>
                      </c:pt>
                      <c:pt idx="211">
                        <c:v>44133</c:v>
                      </c:pt>
                      <c:pt idx="212">
                        <c:v>44134</c:v>
                      </c:pt>
                      <c:pt idx="213">
                        <c:v>44135</c:v>
                      </c:pt>
                      <c:pt idx="214">
                        <c:v>44136</c:v>
                      </c:pt>
                      <c:pt idx="215">
                        <c:v>44137</c:v>
                      </c:pt>
                      <c:pt idx="216">
                        <c:v>44138</c:v>
                      </c:pt>
                      <c:pt idx="217">
                        <c:v>44139</c:v>
                      </c:pt>
                      <c:pt idx="218">
                        <c:v>44140</c:v>
                      </c:pt>
                      <c:pt idx="219">
                        <c:v>44141</c:v>
                      </c:pt>
                      <c:pt idx="220">
                        <c:v>44142</c:v>
                      </c:pt>
                      <c:pt idx="221">
                        <c:v>44143</c:v>
                      </c:pt>
                      <c:pt idx="222">
                        <c:v>44144</c:v>
                      </c:pt>
                      <c:pt idx="223">
                        <c:v>44145</c:v>
                      </c:pt>
                      <c:pt idx="224">
                        <c:v>44146</c:v>
                      </c:pt>
                      <c:pt idx="225">
                        <c:v>44147</c:v>
                      </c:pt>
                      <c:pt idx="226">
                        <c:v>44148</c:v>
                      </c:pt>
                      <c:pt idx="227">
                        <c:v>44149</c:v>
                      </c:pt>
                      <c:pt idx="228">
                        <c:v>44150</c:v>
                      </c:pt>
                      <c:pt idx="229">
                        <c:v>44151</c:v>
                      </c:pt>
                      <c:pt idx="230">
                        <c:v>44152</c:v>
                      </c:pt>
                      <c:pt idx="231">
                        <c:v>44153</c:v>
                      </c:pt>
                      <c:pt idx="232">
                        <c:v>44154</c:v>
                      </c:pt>
                      <c:pt idx="233">
                        <c:v>44155</c:v>
                      </c:pt>
                      <c:pt idx="234">
                        <c:v>44156</c:v>
                      </c:pt>
                      <c:pt idx="235">
                        <c:v>44157</c:v>
                      </c:pt>
                      <c:pt idx="236">
                        <c:v>44158</c:v>
                      </c:pt>
                      <c:pt idx="237">
                        <c:v>44159</c:v>
                      </c:pt>
                      <c:pt idx="238">
                        <c:v>44160</c:v>
                      </c:pt>
                      <c:pt idx="239">
                        <c:v>44161</c:v>
                      </c:pt>
                      <c:pt idx="240">
                        <c:v>44162</c:v>
                      </c:pt>
                      <c:pt idx="241">
                        <c:v>44163</c:v>
                      </c:pt>
                      <c:pt idx="242">
                        <c:v>44164</c:v>
                      </c:pt>
                      <c:pt idx="243">
                        <c:v>44165</c:v>
                      </c:pt>
                      <c:pt idx="244">
                        <c:v>44166</c:v>
                      </c:pt>
                      <c:pt idx="245">
                        <c:v>44167</c:v>
                      </c:pt>
                      <c:pt idx="246">
                        <c:v>44168</c:v>
                      </c:pt>
                      <c:pt idx="247">
                        <c:v>44169</c:v>
                      </c:pt>
                      <c:pt idx="248">
                        <c:v>44170</c:v>
                      </c:pt>
                      <c:pt idx="249">
                        <c:v>44171</c:v>
                      </c:pt>
                      <c:pt idx="250">
                        <c:v>44172</c:v>
                      </c:pt>
                      <c:pt idx="251">
                        <c:v>44173</c:v>
                      </c:pt>
                      <c:pt idx="252">
                        <c:v>44174</c:v>
                      </c:pt>
                      <c:pt idx="253">
                        <c:v>44175</c:v>
                      </c:pt>
                      <c:pt idx="254">
                        <c:v>44176</c:v>
                      </c:pt>
                      <c:pt idx="255">
                        <c:v>44177</c:v>
                      </c:pt>
                      <c:pt idx="256">
                        <c:v>44178</c:v>
                      </c:pt>
                      <c:pt idx="257">
                        <c:v>44179</c:v>
                      </c:pt>
                      <c:pt idx="258">
                        <c:v>44180</c:v>
                      </c:pt>
                      <c:pt idx="259">
                        <c:v>44181</c:v>
                      </c:pt>
                      <c:pt idx="260">
                        <c:v>44182</c:v>
                      </c:pt>
                      <c:pt idx="261">
                        <c:v>44183</c:v>
                      </c:pt>
                      <c:pt idx="262">
                        <c:v>44184</c:v>
                      </c:pt>
                      <c:pt idx="263">
                        <c:v>44185</c:v>
                      </c:pt>
                      <c:pt idx="264">
                        <c:v>44186</c:v>
                      </c:pt>
                      <c:pt idx="265">
                        <c:v>44187</c:v>
                      </c:pt>
                      <c:pt idx="266">
                        <c:v>44188</c:v>
                      </c:pt>
                      <c:pt idx="267">
                        <c:v>44189</c:v>
                      </c:pt>
                      <c:pt idx="268">
                        <c:v>44190</c:v>
                      </c:pt>
                      <c:pt idx="269">
                        <c:v>44191</c:v>
                      </c:pt>
                      <c:pt idx="270">
                        <c:v>44192</c:v>
                      </c:pt>
                      <c:pt idx="271">
                        <c:v>44193</c:v>
                      </c:pt>
                      <c:pt idx="272">
                        <c:v>44194</c:v>
                      </c:pt>
                      <c:pt idx="273">
                        <c:v>44195</c:v>
                      </c:pt>
                      <c:pt idx="274">
                        <c:v>44196</c:v>
                      </c:pt>
                      <c:pt idx="275">
                        <c:v>44197</c:v>
                      </c:pt>
                      <c:pt idx="276">
                        <c:v>44198</c:v>
                      </c:pt>
                      <c:pt idx="277">
                        <c:v>44199</c:v>
                      </c:pt>
                      <c:pt idx="278">
                        <c:v>44200</c:v>
                      </c:pt>
                      <c:pt idx="279">
                        <c:v>44201</c:v>
                      </c:pt>
                      <c:pt idx="280">
                        <c:v>44202</c:v>
                      </c:pt>
                      <c:pt idx="281">
                        <c:v>44203</c:v>
                      </c:pt>
                      <c:pt idx="282">
                        <c:v>44204</c:v>
                      </c:pt>
                      <c:pt idx="283">
                        <c:v>44205</c:v>
                      </c:pt>
                      <c:pt idx="284">
                        <c:v>44206</c:v>
                      </c:pt>
                      <c:pt idx="285">
                        <c:v>44207</c:v>
                      </c:pt>
                      <c:pt idx="286">
                        <c:v>44208</c:v>
                      </c:pt>
                      <c:pt idx="287">
                        <c:v>44209</c:v>
                      </c:pt>
                      <c:pt idx="288">
                        <c:v>44210</c:v>
                      </c:pt>
                      <c:pt idx="289">
                        <c:v>44211</c:v>
                      </c:pt>
                      <c:pt idx="290">
                        <c:v>44212</c:v>
                      </c:pt>
                      <c:pt idx="291">
                        <c:v>44213</c:v>
                      </c:pt>
                      <c:pt idx="292">
                        <c:v>44214</c:v>
                      </c:pt>
                      <c:pt idx="293">
                        <c:v>44215</c:v>
                      </c:pt>
                      <c:pt idx="294">
                        <c:v>44216</c:v>
                      </c:pt>
                      <c:pt idx="295">
                        <c:v>44217</c:v>
                      </c:pt>
                      <c:pt idx="296">
                        <c:v>44218</c:v>
                      </c:pt>
                      <c:pt idx="297">
                        <c:v>44219</c:v>
                      </c:pt>
                      <c:pt idx="298">
                        <c:v>44220</c:v>
                      </c:pt>
                      <c:pt idx="299">
                        <c:v>44221</c:v>
                      </c:pt>
                      <c:pt idx="300">
                        <c:v>44222</c:v>
                      </c:pt>
                      <c:pt idx="301">
                        <c:v>44223</c:v>
                      </c:pt>
                      <c:pt idx="302">
                        <c:v>44224</c:v>
                      </c:pt>
                      <c:pt idx="303">
                        <c:v>44225</c:v>
                      </c:pt>
                      <c:pt idx="304">
                        <c:v>44226</c:v>
                      </c:pt>
                      <c:pt idx="305">
                        <c:v>44227</c:v>
                      </c:pt>
                      <c:pt idx="306">
                        <c:v>44228</c:v>
                      </c:pt>
                      <c:pt idx="307">
                        <c:v>44229</c:v>
                      </c:pt>
                      <c:pt idx="308">
                        <c:v>44230</c:v>
                      </c:pt>
                      <c:pt idx="309">
                        <c:v>44231</c:v>
                      </c:pt>
                      <c:pt idx="310">
                        <c:v>44232</c:v>
                      </c:pt>
                      <c:pt idx="311">
                        <c:v>44233</c:v>
                      </c:pt>
                      <c:pt idx="312">
                        <c:v>44234</c:v>
                      </c:pt>
                      <c:pt idx="313">
                        <c:v>44235</c:v>
                      </c:pt>
                      <c:pt idx="314">
                        <c:v>44236</c:v>
                      </c:pt>
                      <c:pt idx="315">
                        <c:v>44237</c:v>
                      </c:pt>
                      <c:pt idx="316">
                        <c:v>44238</c:v>
                      </c:pt>
                      <c:pt idx="317">
                        <c:v>44239</c:v>
                      </c:pt>
                      <c:pt idx="318">
                        <c:v>44240</c:v>
                      </c:pt>
                      <c:pt idx="319">
                        <c:v>44241</c:v>
                      </c:pt>
                      <c:pt idx="320">
                        <c:v>44242</c:v>
                      </c:pt>
                      <c:pt idx="321">
                        <c:v>44243</c:v>
                      </c:pt>
                      <c:pt idx="322">
                        <c:v>44244</c:v>
                      </c:pt>
                      <c:pt idx="323">
                        <c:v>44245</c:v>
                      </c:pt>
                      <c:pt idx="324">
                        <c:v>44246</c:v>
                      </c:pt>
                      <c:pt idx="325">
                        <c:v>44247</c:v>
                      </c:pt>
                      <c:pt idx="326">
                        <c:v>44248</c:v>
                      </c:pt>
                      <c:pt idx="327">
                        <c:v>44249</c:v>
                      </c:pt>
                      <c:pt idx="328">
                        <c:v>44250</c:v>
                      </c:pt>
                      <c:pt idx="329">
                        <c:v>44251</c:v>
                      </c:pt>
                      <c:pt idx="330">
                        <c:v>44252</c:v>
                      </c:pt>
                      <c:pt idx="331">
                        <c:v>44253</c:v>
                      </c:pt>
                      <c:pt idx="332">
                        <c:v>44254</c:v>
                      </c:pt>
                      <c:pt idx="333">
                        <c:v>44255</c:v>
                      </c:pt>
                      <c:pt idx="334">
                        <c:v>44256</c:v>
                      </c:pt>
                      <c:pt idx="335">
                        <c:v>44257</c:v>
                      </c:pt>
                      <c:pt idx="336">
                        <c:v>44258</c:v>
                      </c:pt>
                      <c:pt idx="337">
                        <c:v>44259</c:v>
                      </c:pt>
                      <c:pt idx="338">
                        <c:v>44260</c:v>
                      </c:pt>
                      <c:pt idx="339">
                        <c:v>44261</c:v>
                      </c:pt>
                      <c:pt idx="340">
                        <c:v>44262</c:v>
                      </c:pt>
                      <c:pt idx="341">
                        <c:v>44263</c:v>
                      </c:pt>
                      <c:pt idx="342">
                        <c:v>44264</c:v>
                      </c:pt>
                      <c:pt idx="343">
                        <c:v>44265</c:v>
                      </c:pt>
                      <c:pt idx="344">
                        <c:v>44266</c:v>
                      </c:pt>
                      <c:pt idx="345">
                        <c:v>44267</c:v>
                      </c:pt>
                      <c:pt idx="346">
                        <c:v>44268</c:v>
                      </c:pt>
                      <c:pt idx="347">
                        <c:v>44269</c:v>
                      </c:pt>
                      <c:pt idx="348">
                        <c:v>44270</c:v>
                      </c:pt>
                      <c:pt idx="349">
                        <c:v>44271</c:v>
                      </c:pt>
                      <c:pt idx="350">
                        <c:v>44272</c:v>
                      </c:pt>
                      <c:pt idx="351">
                        <c:v>44273</c:v>
                      </c:pt>
                      <c:pt idx="352">
                        <c:v>44274</c:v>
                      </c:pt>
                      <c:pt idx="353">
                        <c:v>44275</c:v>
                      </c:pt>
                      <c:pt idx="354">
                        <c:v>44276</c:v>
                      </c:pt>
                      <c:pt idx="355">
                        <c:v>44277</c:v>
                      </c:pt>
                      <c:pt idx="356">
                        <c:v>44278</c:v>
                      </c:pt>
                      <c:pt idx="357">
                        <c:v>44279</c:v>
                      </c:pt>
                      <c:pt idx="358">
                        <c:v>44280</c:v>
                      </c:pt>
                      <c:pt idx="359">
                        <c:v>44281</c:v>
                      </c:pt>
                      <c:pt idx="360">
                        <c:v>44282</c:v>
                      </c:pt>
                      <c:pt idx="361">
                        <c:v>44283</c:v>
                      </c:pt>
                      <c:pt idx="362">
                        <c:v>44284</c:v>
                      </c:pt>
                      <c:pt idx="363">
                        <c:v>44285</c:v>
                      </c:pt>
                      <c:pt idx="364">
                        <c:v>44286</c:v>
                      </c:pt>
                      <c:pt idx="365">
                        <c:v>44287</c:v>
                      </c:pt>
                      <c:pt idx="366">
                        <c:v>44288</c:v>
                      </c:pt>
                      <c:pt idx="367">
                        <c:v>44289</c:v>
                      </c:pt>
                      <c:pt idx="368">
                        <c:v>44290</c:v>
                      </c:pt>
                      <c:pt idx="369">
                        <c:v>44291</c:v>
                      </c:pt>
                      <c:pt idx="370">
                        <c:v>44292</c:v>
                      </c:pt>
                      <c:pt idx="371">
                        <c:v>44293</c:v>
                      </c:pt>
                      <c:pt idx="372">
                        <c:v>44294</c:v>
                      </c:pt>
                      <c:pt idx="373">
                        <c:v>44295</c:v>
                      </c:pt>
                      <c:pt idx="374">
                        <c:v>44296</c:v>
                      </c:pt>
                      <c:pt idx="375">
                        <c:v>44297</c:v>
                      </c:pt>
                      <c:pt idx="376">
                        <c:v>44298</c:v>
                      </c:pt>
                      <c:pt idx="377">
                        <c:v>44299</c:v>
                      </c:pt>
                      <c:pt idx="378">
                        <c:v>44300</c:v>
                      </c:pt>
                      <c:pt idx="379">
                        <c:v>44301</c:v>
                      </c:pt>
                      <c:pt idx="380">
                        <c:v>44302</c:v>
                      </c:pt>
                      <c:pt idx="381">
                        <c:v>44303</c:v>
                      </c:pt>
                      <c:pt idx="382">
                        <c:v>44304</c:v>
                      </c:pt>
                      <c:pt idx="383">
                        <c:v>44305</c:v>
                      </c:pt>
                      <c:pt idx="384">
                        <c:v>44306</c:v>
                      </c:pt>
                      <c:pt idx="385">
                        <c:v>44307</c:v>
                      </c:pt>
                      <c:pt idx="386">
                        <c:v>44308</c:v>
                      </c:pt>
                      <c:pt idx="387">
                        <c:v>44309</c:v>
                      </c:pt>
                      <c:pt idx="388">
                        <c:v>44310</c:v>
                      </c:pt>
                      <c:pt idx="389">
                        <c:v>44311</c:v>
                      </c:pt>
                      <c:pt idx="390">
                        <c:v>44312</c:v>
                      </c:pt>
                      <c:pt idx="391">
                        <c:v>44313</c:v>
                      </c:pt>
                      <c:pt idx="392">
                        <c:v>44314</c:v>
                      </c:pt>
                      <c:pt idx="393">
                        <c:v>44315</c:v>
                      </c:pt>
                      <c:pt idx="394">
                        <c:v>44316</c:v>
                      </c:pt>
                      <c:pt idx="395">
                        <c:v>44317</c:v>
                      </c:pt>
                      <c:pt idx="396">
                        <c:v>44318</c:v>
                      </c:pt>
                      <c:pt idx="397">
                        <c:v>44319</c:v>
                      </c:pt>
                      <c:pt idx="398">
                        <c:v>44320</c:v>
                      </c:pt>
                      <c:pt idx="399">
                        <c:v>44321</c:v>
                      </c:pt>
                      <c:pt idx="400">
                        <c:v>44322</c:v>
                      </c:pt>
                      <c:pt idx="401">
                        <c:v>44323</c:v>
                      </c:pt>
                      <c:pt idx="402">
                        <c:v>44324</c:v>
                      </c:pt>
                      <c:pt idx="403">
                        <c:v>44325</c:v>
                      </c:pt>
                      <c:pt idx="404">
                        <c:v>44326</c:v>
                      </c:pt>
                      <c:pt idx="405">
                        <c:v>44327</c:v>
                      </c:pt>
                      <c:pt idx="406">
                        <c:v>44328</c:v>
                      </c:pt>
                      <c:pt idx="407">
                        <c:v>44329</c:v>
                      </c:pt>
                      <c:pt idx="408">
                        <c:v>44330</c:v>
                      </c:pt>
                      <c:pt idx="409">
                        <c:v>44331</c:v>
                      </c:pt>
                      <c:pt idx="410">
                        <c:v>44332</c:v>
                      </c:pt>
                      <c:pt idx="411">
                        <c:v>44333</c:v>
                      </c:pt>
                      <c:pt idx="412">
                        <c:v>44334</c:v>
                      </c:pt>
                      <c:pt idx="413">
                        <c:v>44335</c:v>
                      </c:pt>
                      <c:pt idx="414">
                        <c:v>44336</c:v>
                      </c:pt>
                      <c:pt idx="415">
                        <c:v>44337</c:v>
                      </c:pt>
                      <c:pt idx="416">
                        <c:v>44338</c:v>
                      </c:pt>
                      <c:pt idx="417">
                        <c:v>44339</c:v>
                      </c:pt>
                      <c:pt idx="418">
                        <c:v>44340</c:v>
                      </c:pt>
                      <c:pt idx="419">
                        <c:v>44341</c:v>
                      </c:pt>
                      <c:pt idx="420">
                        <c:v>44342</c:v>
                      </c:pt>
                      <c:pt idx="421">
                        <c:v>44343</c:v>
                      </c:pt>
                      <c:pt idx="422">
                        <c:v>44344</c:v>
                      </c:pt>
                      <c:pt idx="423">
                        <c:v>44345</c:v>
                      </c:pt>
                      <c:pt idx="424">
                        <c:v>44346</c:v>
                      </c:pt>
                      <c:pt idx="425">
                        <c:v>44347</c:v>
                      </c:pt>
                      <c:pt idx="426">
                        <c:v>44348</c:v>
                      </c:pt>
                      <c:pt idx="427">
                        <c:v>44349</c:v>
                      </c:pt>
                      <c:pt idx="428">
                        <c:v>44350</c:v>
                      </c:pt>
                      <c:pt idx="429">
                        <c:v>44351</c:v>
                      </c:pt>
                      <c:pt idx="430">
                        <c:v>44352</c:v>
                      </c:pt>
                      <c:pt idx="431">
                        <c:v>44353</c:v>
                      </c:pt>
                      <c:pt idx="432">
                        <c:v>44354</c:v>
                      </c:pt>
                      <c:pt idx="433">
                        <c:v>44355</c:v>
                      </c:pt>
                      <c:pt idx="434">
                        <c:v>44356</c:v>
                      </c:pt>
                      <c:pt idx="435">
                        <c:v>44357</c:v>
                      </c:pt>
                      <c:pt idx="436">
                        <c:v>44358</c:v>
                      </c:pt>
                      <c:pt idx="437">
                        <c:v>44359</c:v>
                      </c:pt>
                      <c:pt idx="438">
                        <c:v>44360</c:v>
                      </c:pt>
                      <c:pt idx="439">
                        <c:v>44361</c:v>
                      </c:pt>
                      <c:pt idx="440">
                        <c:v>44362</c:v>
                      </c:pt>
                      <c:pt idx="441">
                        <c:v>44363</c:v>
                      </c:pt>
                      <c:pt idx="442">
                        <c:v>44364</c:v>
                      </c:pt>
                      <c:pt idx="443">
                        <c:v>44365</c:v>
                      </c:pt>
                      <c:pt idx="444">
                        <c:v>44366</c:v>
                      </c:pt>
                      <c:pt idx="445">
                        <c:v>44367</c:v>
                      </c:pt>
                      <c:pt idx="446">
                        <c:v>44368</c:v>
                      </c:pt>
                      <c:pt idx="447">
                        <c:v>44369</c:v>
                      </c:pt>
                      <c:pt idx="448">
                        <c:v>44370</c:v>
                      </c:pt>
                      <c:pt idx="449">
                        <c:v>44371</c:v>
                      </c:pt>
                      <c:pt idx="450">
                        <c:v>44372</c:v>
                      </c:pt>
                      <c:pt idx="451">
                        <c:v>44373</c:v>
                      </c:pt>
                      <c:pt idx="452">
                        <c:v>44374</c:v>
                      </c:pt>
                      <c:pt idx="453">
                        <c:v>44375</c:v>
                      </c:pt>
                      <c:pt idx="454">
                        <c:v>44376</c:v>
                      </c:pt>
                      <c:pt idx="455">
                        <c:v>44377</c:v>
                      </c:pt>
                      <c:pt idx="456">
                        <c:v>44378</c:v>
                      </c:pt>
                      <c:pt idx="457">
                        <c:v>44379</c:v>
                      </c:pt>
                      <c:pt idx="458">
                        <c:v>44380</c:v>
                      </c:pt>
                      <c:pt idx="459">
                        <c:v>44381</c:v>
                      </c:pt>
                      <c:pt idx="460">
                        <c:v>44382</c:v>
                      </c:pt>
                      <c:pt idx="461">
                        <c:v>44383</c:v>
                      </c:pt>
                      <c:pt idx="462">
                        <c:v>44384</c:v>
                      </c:pt>
                      <c:pt idx="463">
                        <c:v>44385</c:v>
                      </c:pt>
                      <c:pt idx="464">
                        <c:v>44386</c:v>
                      </c:pt>
                      <c:pt idx="465">
                        <c:v>44387</c:v>
                      </c:pt>
                      <c:pt idx="466">
                        <c:v>44388</c:v>
                      </c:pt>
                      <c:pt idx="467">
                        <c:v>44389</c:v>
                      </c:pt>
                      <c:pt idx="468">
                        <c:v>44390</c:v>
                      </c:pt>
                      <c:pt idx="469">
                        <c:v>44391</c:v>
                      </c:pt>
                      <c:pt idx="470">
                        <c:v>44392</c:v>
                      </c:pt>
                      <c:pt idx="471">
                        <c:v>44393</c:v>
                      </c:pt>
                      <c:pt idx="472">
                        <c:v>44394</c:v>
                      </c:pt>
                      <c:pt idx="473">
                        <c:v>44395</c:v>
                      </c:pt>
                      <c:pt idx="474">
                        <c:v>44396</c:v>
                      </c:pt>
                      <c:pt idx="475">
                        <c:v>44397</c:v>
                      </c:pt>
                      <c:pt idx="476">
                        <c:v>44398</c:v>
                      </c:pt>
                      <c:pt idx="477">
                        <c:v>44399</c:v>
                      </c:pt>
                      <c:pt idx="478">
                        <c:v>44400</c:v>
                      </c:pt>
                      <c:pt idx="479">
                        <c:v>44401</c:v>
                      </c:pt>
                      <c:pt idx="480">
                        <c:v>44402</c:v>
                      </c:pt>
                      <c:pt idx="481">
                        <c:v>44403</c:v>
                      </c:pt>
                      <c:pt idx="482">
                        <c:v>44404</c:v>
                      </c:pt>
                      <c:pt idx="483">
                        <c:v>44405</c:v>
                      </c:pt>
                      <c:pt idx="484">
                        <c:v>44406</c:v>
                      </c:pt>
                      <c:pt idx="485">
                        <c:v>44407</c:v>
                      </c:pt>
                      <c:pt idx="486">
                        <c:v>44408</c:v>
                      </c:pt>
                      <c:pt idx="487">
                        <c:v>44409</c:v>
                      </c:pt>
                      <c:pt idx="488">
                        <c:v>44410</c:v>
                      </c:pt>
                      <c:pt idx="489">
                        <c:v>44411</c:v>
                      </c:pt>
                      <c:pt idx="490">
                        <c:v>44412</c:v>
                      </c:pt>
                      <c:pt idx="491">
                        <c:v>44413</c:v>
                      </c:pt>
                      <c:pt idx="492">
                        <c:v>44414</c:v>
                      </c:pt>
                      <c:pt idx="493">
                        <c:v>44415</c:v>
                      </c:pt>
                      <c:pt idx="494">
                        <c:v>44416</c:v>
                      </c:pt>
                      <c:pt idx="495">
                        <c:v>44417</c:v>
                      </c:pt>
                      <c:pt idx="496">
                        <c:v>44418</c:v>
                      </c:pt>
                      <c:pt idx="497">
                        <c:v>44419</c:v>
                      </c:pt>
                      <c:pt idx="498">
                        <c:v>44420</c:v>
                      </c:pt>
                      <c:pt idx="499">
                        <c:v>44421</c:v>
                      </c:pt>
                      <c:pt idx="500">
                        <c:v>44422</c:v>
                      </c:pt>
                      <c:pt idx="501">
                        <c:v>44423</c:v>
                      </c:pt>
                      <c:pt idx="502">
                        <c:v>44424</c:v>
                      </c:pt>
                    </c:numCache>
                  </c:numRef>
                </c:cat>
                <c:val>
                  <c:numRef>
                    <c:extLst>
                      <c:ext uri="{02D57815-91ED-43cb-92C2-25804820EDAC}">
                        <c15:formulaRef>
                          <c15:sqref>'C.A.+R.D.'!$K$94:$K$372</c15:sqref>
                        </c15:formulaRef>
                      </c:ext>
                    </c:extLst>
                    <c:numCache>
                      <c:formatCode>General</c:formatCode>
                      <c:ptCount val="279"/>
                      <c:pt idx="0">
                        <c:v>24.815000000000001</c:v>
                      </c:pt>
                      <c:pt idx="1">
                        <c:v>19.552</c:v>
                      </c:pt>
                      <c:pt idx="2">
                        <c:v>15.122999999999999</c:v>
                      </c:pt>
                      <c:pt idx="3">
                        <c:v>10.126000000000001</c:v>
                      </c:pt>
                      <c:pt idx="4">
                        <c:v>28.901</c:v>
                      </c:pt>
                      <c:pt idx="5">
                        <c:v>14.812999999999999</c:v>
                      </c:pt>
                      <c:pt idx="6">
                        <c:v>17.427</c:v>
                      </c:pt>
                      <c:pt idx="7">
                        <c:v>21.596</c:v>
                      </c:pt>
                      <c:pt idx="8">
                        <c:v>34.472999999999999</c:v>
                      </c:pt>
                      <c:pt idx="9">
                        <c:v>36.537999999999997</c:v>
                      </c:pt>
                      <c:pt idx="10">
                        <c:v>18.472999999999999</c:v>
                      </c:pt>
                      <c:pt idx="11">
                        <c:v>25.042999999999999</c:v>
                      </c:pt>
                      <c:pt idx="12">
                        <c:v>24.084000000000003</c:v>
                      </c:pt>
                      <c:pt idx="13">
                        <c:v>15.622</c:v>
                      </c:pt>
                      <c:pt idx="14">
                        <c:v>35.286000000000001</c:v>
                      </c:pt>
                      <c:pt idx="15">
                        <c:v>18.509999999999998</c:v>
                      </c:pt>
                      <c:pt idx="16">
                        <c:v>40.198</c:v>
                      </c:pt>
                      <c:pt idx="17">
                        <c:v>25.134</c:v>
                      </c:pt>
                      <c:pt idx="18">
                        <c:v>37.374000000000002</c:v>
                      </c:pt>
                      <c:pt idx="19">
                        <c:v>31.484999999999999</c:v>
                      </c:pt>
                      <c:pt idx="20">
                        <c:v>11.823</c:v>
                      </c:pt>
                      <c:pt idx="21">
                        <c:v>30.648</c:v>
                      </c:pt>
                      <c:pt idx="22">
                        <c:v>30.242999999999999</c:v>
                      </c:pt>
                      <c:pt idx="23">
                        <c:v>32.722999999999999</c:v>
                      </c:pt>
                      <c:pt idx="24">
                        <c:v>23.681000000000001</c:v>
                      </c:pt>
                      <c:pt idx="25">
                        <c:v>25.016999999999996</c:v>
                      </c:pt>
                      <c:pt idx="26">
                        <c:v>23.92</c:v>
                      </c:pt>
                      <c:pt idx="27">
                        <c:v>20.440000000000001</c:v>
                      </c:pt>
                      <c:pt idx="28">
                        <c:v>33.400999999999996</c:v>
                      </c:pt>
                      <c:pt idx="29">
                        <c:v>39.278999999999996</c:v>
                      </c:pt>
                      <c:pt idx="30">
                        <c:v>40.623000000000005</c:v>
                      </c:pt>
                      <c:pt idx="31">
                        <c:v>54.948999999999998</c:v>
                      </c:pt>
                      <c:pt idx="32">
                        <c:v>48.153999999999996</c:v>
                      </c:pt>
                      <c:pt idx="33">
                        <c:v>50.438999999999993</c:v>
                      </c:pt>
                      <c:pt idx="34">
                        <c:v>41.352999999999994</c:v>
                      </c:pt>
                      <c:pt idx="35">
                        <c:v>59.652000000000001</c:v>
                      </c:pt>
                      <c:pt idx="36">
                        <c:v>61.406999999999996</c:v>
                      </c:pt>
                      <c:pt idx="37">
                        <c:v>47.198999999999998</c:v>
                      </c:pt>
                      <c:pt idx="38">
                        <c:v>64.191000000000003</c:v>
                      </c:pt>
                      <c:pt idx="39">
                        <c:v>80.490000000000009</c:v>
                      </c:pt>
                      <c:pt idx="40">
                        <c:v>55.245999999999995</c:v>
                      </c:pt>
                      <c:pt idx="41">
                        <c:v>35.361000000000004</c:v>
                      </c:pt>
                      <c:pt idx="42">
                        <c:v>61.109000000000002</c:v>
                      </c:pt>
                      <c:pt idx="43">
                        <c:v>42.124000000000002</c:v>
                      </c:pt>
                      <c:pt idx="44">
                        <c:v>77.599999999999994</c:v>
                      </c:pt>
                      <c:pt idx="45">
                        <c:v>61.942000000000007</c:v>
                      </c:pt>
                      <c:pt idx="46">
                        <c:v>40.201000000000001</c:v>
                      </c:pt>
                      <c:pt idx="47">
                        <c:v>73.703000000000003</c:v>
                      </c:pt>
                      <c:pt idx="48">
                        <c:v>124.908</c:v>
                      </c:pt>
                      <c:pt idx="49">
                        <c:v>44.983000000000004</c:v>
                      </c:pt>
                      <c:pt idx="50">
                        <c:v>71.11</c:v>
                      </c:pt>
                      <c:pt idx="51">
                        <c:v>85.736999999999995</c:v>
                      </c:pt>
                      <c:pt idx="52">
                        <c:v>73.140999999999991</c:v>
                      </c:pt>
                      <c:pt idx="53">
                        <c:v>120.503</c:v>
                      </c:pt>
                      <c:pt idx="54">
                        <c:v>82.564999999999998</c:v>
                      </c:pt>
                      <c:pt idx="55">
                        <c:v>132.376</c:v>
                      </c:pt>
                      <c:pt idx="56">
                        <c:v>92.929999999999993</c:v>
                      </c:pt>
                      <c:pt idx="57">
                        <c:v>70.688000000000002</c:v>
                      </c:pt>
                      <c:pt idx="58">
                        <c:v>74.408000000000001</c:v>
                      </c:pt>
                      <c:pt idx="59">
                        <c:v>99.596000000000004</c:v>
                      </c:pt>
                      <c:pt idx="60">
                        <c:v>85.657000000000011</c:v>
                      </c:pt>
                      <c:pt idx="61">
                        <c:v>72.027999999999992</c:v>
                      </c:pt>
                      <c:pt idx="62">
                        <c:v>116.46600000000001</c:v>
                      </c:pt>
                      <c:pt idx="63">
                        <c:v>70.942999999999998</c:v>
                      </c:pt>
                      <c:pt idx="64">
                        <c:v>85.873999999999995</c:v>
                      </c:pt>
                      <c:pt idx="65">
                        <c:v>80.681000000000012</c:v>
                      </c:pt>
                      <c:pt idx="66">
                        <c:v>100.58199999999999</c:v>
                      </c:pt>
                      <c:pt idx="67">
                        <c:v>92.665000000000006</c:v>
                      </c:pt>
                      <c:pt idx="68">
                        <c:v>104.28899999999999</c:v>
                      </c:pt>
                      <c:pt idx="69">
                        <c:v>168.047</c:v>
                      </c:pt>
                      <c:pt idx="70">
                        <c:v>128.63000000000002</c:v>
                      </c:pt>
                      <c:pt idx="71">
                        <c:v>138.53799999999998</c:v>
                      </c:pt>
                      <c:pt idx="72">
                        <c:v>154.06</c:v>
                      </c:pt>
                      <c:pt idx="73">
                        <c:v>141.63799999999998</c:v>
                      </c:pt>
                      <c:pt idx="74">
                        <c:v>124.84099999999999</c:v>
                      </c:pt>
                      <c:pt idx="75">
                        <c:v>106.66200000000001</c:v>
                      </c:pt>
                      <c:pt idx="76">
                        <c:v>192.87100000000001</c:v>
                      </c:pt>
                      <c:pt idx="77">
                        <c:v>167.959</c:v>
                      </c:pt>
                      <c:pt idx="78">
                        <c:v>162.65</c:v>
                      </c:pt>
                      <c:pt idx="79">
                        <c:v>170.42100000000002</c:v>
                      </c:pt>
                      <c:pt idx="80">
                        <c:v>221.04399999999998</c:v>
                      </c:pt>
                      <c:pt idx="81">
                        <c:v>191.55</c:v>
                      </c:pt>
                      <c:pt idx="82">
                        <c:v>198.602</c:v>
                      </c:pt>
                      <c:pt idx="83">
                        <c:v>250.16000000000003</c:v>
                      </c:pt>
                      <c:pt idx="84">
                        <c:v>199.19200000000001</c:v>
                      </c:pt>
                      <c:pt idx="85">
                        <c:v>233.786</c:v>
                      </c:pt>
                      <c:pt idx="86">
                        <c:v>190.244</c:v>
                      </c:pt>
                      <c:pt idx="87">
                        <c:v>273.30099999999999</c:v>
                      </c:pt>
                      <c:pt idx="88">
                        <c:v>269.34899999999999</c:v>
                      </c:pt>
                      <c:pt idx="89">
                        <c:v>206.01600000000002</c:v>
                      </c:pt>
                      <c:pt idx="90">
                        <c:v>313.21899999999999</c:v>
                      </c:pt>
                      <c:pt idx="91">
                        <c:v>301.30700000000002</c:v>
                      </c:pt>
                      <c:pt idx="92">
                        <c:v>314.221</c:v>
                      </c:pt>
                      <c:pt idx="93">
                        <c:v>354.07900000000006</c:v>
                      </c:pt>
                      <c:pt idx="94">
                        <c:v>342.06099999999998</c:v>
                      </c:pt>
                      <c:pt idx="95">
                        <c:v>374.52099999999996</c:v>
                      </c:pt>
                      <c:pt idx="96">
                        <c:v>264.75</c:v>
                      </c:pt>
                      <c:pt idx="97">
                        <c:v>290.99099999999999</c:v>
                      </c:pt>
                      <c:pt idx="98">
                        <c:v>305.74699999999996</c:v>
                      </c:pt>
                      <c:pt idx="99">
                        <c:v>391.66199999999998</c:v>
                      </c:pt>
                      <c:pt idx="100">
                        <c:v>341.50600000000003</c:v>
                      </c:pt>
                      <c:pt idx="101">
                        <c:v>332.846</c:v>
                      </c:pt>
                      <c:pt idx="102">
                        <c:v>339.44</c:v>
                      </c:pt>
                      <c:pt idx="103">
                        <c:v>294.00200000000001</c:v>
                      </c:pt>
                      <c:pt idx="104">
                        <c:v>373.03200000000004</c:v>
                      </c:pt>
                      <c:pt idx="105">
                        <c:v>438.57599999999996</c:v>
                      </c:pt>
                      <c:pt idx="106">
                        <c:v>389.03599999999994</c:v>
                      </c:pt>
                      <c:pt idx="107">
                        <c:v>385.07900000000006</c:v>
                      </c:pt>
                      <c:pt idx="108">
                        <c:v>632.35</c:v>
                      </c:pt>
                      <c:pt idx="109">
                        <c:v>426.43599999999998</c:v>
                      </c:pt>
                      <c:pt idx="110">
                        <c:v>338.15199999999993</c:v>
                      </c:pt>
                      <c:pt idx="111">
                        <c:v>374.32499999999999</c:v>
                      </c:pt>
                      <c:pt idx="112">
                        <c:v>410.41899999999998</c:v>
                      </c:pt>
                      <c:pt idx="113">
                        <c:v>497.42200000000003</c:v>
                      </c:pt>
                      <c:pt idx="114">
                        <c:v>431.99</c:v>
                      </c:pt>
                      <c:pt idx="115">
                        <c:v>572.81200000000001</c:v>
                      </c:pt>
                      <c:pt idx="116">
                        <c:v>487.928</c:v>
                      </c:pt>
                      <c:pt idx="117">
                        <c:v>358.86099999999999</c:v>
                      </c:pt>
                      <c:pt idx="118">
                        <c:v>382.839</c:v>
                      </c:pt>
                      <c:pt idx="119">
                        <c:v>401.23099999999999</c:v>
                      </c:pt>
                      <c:pt idx="120">
                        <c:v>432.73300000000006</c:v>
                      </c:pt>
                      <c:pt idx="121">
                        <c:v>438.98500000000001</c:v>
                      </c:pt>
                      <c:pt idx="122">
                        <c:v>433.45399999999995</c:v>
                      </c:pt>
                      <c:pt idx="123">
                        <c:v>362.322</c:v>
                      </c:pt>
                      <c:pt idx="124">
                        <c:v>298.738</c:v>
                      </c:pt>
                      <c:pt idx="125">
                        <c:v>390.22699999999998</c:v>
                      </c:pt>
                      <c:pt idx="126">
                        <c:v>451.89499999999998</c:v>
                      </c:pt>
                      <c:pt idx="127">
                        <c:v>387.125</c:v>
                      </c:pt>
                      <c:pt idx="128">
                        <c:v>484.59299999999996</c:v>
                      </c:pt>
                      <c:pt idx="129">
                        <c:v>419.673</c:v>
                      </c:pt>
                      <c:pt idx="130">
                        <c:v>323.34499999999997</c:v>
                      </c:pt>
                      <c:pt idx="131">
                        <c:v>318.48900000000003</c:v>
                      </c:pt>
                      <c:pt idx="132">
                        <c:v>381.315</c:v>
                      </c:pt>
                      <c:pt idx="133">
                        <c:v>358.08199999999999</c:v>
                      </c:pt>
                      <c:pt idx="134">
                        <c:v>453.70599999999996</c:v>
                      </c:pt>
                      <c:pt idx="135">
                        <c:v>438.50800000000004</c:v>
                      </c:pt>
                      <c:pt idx="136">
                        <c:v>403.774</c:v>
                      </c:pt>
                      <c:pt idx="137">
                        <c:v>325.214</c:v>
                      </c:pt>
                      <c:pt idx="138">
                        <c:v>275.38799999999998</c:v>
                      </c:pt>
                      <c:pt idx="139">
                        <c:v>334.92999999999995</c:v>
                      </c:pt>
                      <c:pt idx="140">
                        <c:v>403.35599999999999</c:v>
                      </c:pt>
                      <c:pt idx="141">
                        <c:v>364.33100000000002</c:v>
                      </c:pt>
                      <c:pt idx="142">
                        <c:v>433.48699999999997</c:v>
                      </c:pt>
                      <c:pt idx="143">
                        <c:v>396.23600000000005</c:v>
                      </c:pt>
                      <c:pt idx="144">
                        <c:v>302.77300000000002</c:v>
                      </c:pt>
                      <c:pt idx="145">
                        <c:v>313.55799999999999</c:v>
                      </c:pt>
                      <c:pt idx="146">
                        <c:v>378.62099999999998</c:v>
                      </c:pt>
                      <c:pt idx="147">
                        <c:v>389.06100000000004</c:v>
                      </c:pt>
                      <c:pt idx="148">
                        <c:v>419.80500000000001</c:v>
                      </c:pt>
                      <c:pt idx="149">
                        <c:v>468.30399999999997</c:v>
                      </c:pt>
                      <c:pt idx="150">
                        <c:v>415.26399999999995</c:v>
                      </c:pt>
                      <c:pt idx="151">
                        <c:v>128.44499999999999</c:v>
                      </c:pt>
                      <c:pt idx="152">
                        <c:v>463.77000000000004</c:v>
                      </c:pt>
                      <c:pt idx="153">
                        <c:v>362.65899999999999</c:v>
                      </c:pt>
                      <c:pt idx="154">
                        <c:v>411.09199999999998</c:v>
                      </c:pt>
                      <c:pt idx="155">
                        <c:v>437.17199999999997</c:v>
                      </c:pt>
                      <c:pt idx="156">
                        <c:v>357.83100000000002</c:v>
                      </c:pt>
                      <c:pt idx="157">
                        <c:v>538.38200000000006</c:v>
                      </c:pt>
                      <c:pt idx="158">
                        <c:v>119.94399999999999</c:v>
                      </c:pt>
                      <c:pt idx="159">
                        <c:v>446.541</c:v>
                      </c:pt>
                      <c:pt idx="160">
                        <c:v>369.13799999999998</c:v>
                      </c:pt>
                      <c:pt idx="161">
                        <c:v>437.38300000000004</c:v>
                      </c:pt>
                      <c:pt idx="162">
                        <c:v>404.04999999999995</c:v>
                      </c:pt>
                      <c:pt idx="163">
                        <c:v>403.60300000000001</c:v>
                      </c:pt>
                      <c:pt idx="164">
                        <c:v>528.78899999999999</c:v>
                      </c:pt>
                      <c:pt idx="165">
                        <c:v>144.17000000000002</c:v>
                      </c:pt>
                      <c:pt idx="166">
                        <c:v>526.90499999999997</c:v>
                      </c:pt>
                      <c:pt idx="167">
                        <c:v>278.56</c:v>
                      </c:pt>
                      <c:pt idx="168">
                        <c:v>466.85399999999998</c:v>
                      </c:pt>
                      <c:pt idx="169">
                        <c:v>413.28899999999999</c:v>
                      </c:pt>
                      <c:pt idx="170">
                        <c:v>462.87600000000009</c:v>
                      </c:pt>
                      <c:pt idx="171">
                        <c:v>463.34399999999999</c:v>
                      </c:pt>
                      <c:pt idx="172">
                        <c:v>137.62299999999999</c:v>
                      </c:pt>
                      <c:pt idx="173">
                        <c:v>513.89800000000002</c:v>
                      </c:pt>
                      <c:pt idx="174">
                        <c:v>375.04499999999996</c:v>
                      </c:pt>
                      <c:pt idx="175">
                        <c:v>395.04899999999998</c:v>
                      </c:pt>
                      <c:pt idx="176">
                        <c:v>428.10399999999998</c:v>
                      </c:pt>
                      <c:pt idx="177">
                        <c:v>461.23599999999999</c:v>
                      </c:pt>
                      <c:pt idx="178">
                        <c:v>392.70599999999996</c:v>
                      </c:pt>
                      <c:pt idx="179">
                        <c:v>94.462999999999994</c:v>
                      </c:pt>
                      <c:pt idx="180">
                        <c:v>489.654</c:v>
                      </c:pt>
                      <c:pt idx="181">
                        <c:v>333.43300000000005</c:v>
                      </c:pt>
                      <c:pt idx="182">
                        <c:v>394.61300000000006</c:v>
                      </c:pt>
                      <c:pt idx="183">
                        <c:v>380.08499999999998</c:v>
                      </c:pt>
                      <c:pt idx="184">
                        <c:v>359.59700000000004</c:v>
                      </c:pt>
                      <c:pt idx="185">
                        <c:v>436.041</c:v>
                      </c:pt>
                      <c:pt idx="186">
                        <c:v>162.16499999999999</c:v>
                      </c:pt>
                      <c:pt idx="187">
                        <c:v>500.54100000000005</c:v>
                      </c:pt>
                      <c:pt idx="188">
                        <c:v>360.13499999999999</c:v>
                      </c:pt>
                      <c:pt idx="189">
                        <c:v>435.79300000000001</c:v>
                      </c:pt>
                      <c:pt idx="190">
                        <c:v>453.75699999999995</c:v>
                      </c:pt>
                      <c:pt idx="191">
                        <c:v>425.45100000000002</c:v>
                      </c:pt>
                      <c:pt idx="192">
                        <c:v>417.39</c:v>
                      </c:pt>
                      <c:pt idx="193">
                        <c:v>184.399</c:v>
                      </c:pt>
                      <c:pt idx="194">
                        <c:v>423.66300000000001</c:v>
                      </c:pt>
                      <c:pt idx="195">
                        <c:v>346.92599999999999</c:v>
                      </c:pt>
                      <c:pt idx="196">
                        <c:v>508.12200000000001</c:v>
                      </c:pt>
                      <c:pt idx="197">
                        <c:v>453.214</c:v>
                      </c:pt>
                      <c:pt idx="198">
                        <c:v>399.58500000000004</c:v>
                      </c:pt>
                      <c:pt idx="199">
                        <c:v>426.61899999999997</c:v>
                      </c:pt>
                      <c:pt idx="200">
                        <c:v>173.709</c:v>
                      </c:pt>
                      <c:pt idx="201">
                        <c:v>445.79200000000003</c:v>
                      </c:pt>
                      <c:pt idx="202">
                        <c:v>374.87199999999996</c:v>
                      </c:pt>
                      <c:pt idx="203">
                        <c:v>452.93399999999997</c:v>
                      </c:pt>
                      <c:pt idx="204">
                        <c:v>385.24799999999999</c:v>
                      </c:pt>
                      <c:pt idx="205">
                        <c:v>302.78999999999996</c:v>
                      </c:pt>
                      <c:pt idx="206">
                        <c:v>541.98799999999994</c:v>
                      </c:pt>
                      <c:pt idx="207">
                        <c:v>105.04599999999999</c:v>
                      </c:pt>
                      <c:pt idx="208">
                        <c:v>432.77499999999998</c:v>
                      </c:pt>
                      <c:pt idx="209">
                        <c:v>300.62200000000001</c:v>
                      </c:pt>
                      <c:pt idx="210">
                        <c:v>393.42</c:v>
                      </c:pt>
                      <c:pt idx="211">
                        <c:v>433.68100000000004</c:v>
                      </c:pt>
                      <c:pt idx="212">
                        <c:v>398.19100000000003</c:v>
                      </c:pt>
                      <c:pt idx="213">
                        <c:v>313.64499999999998</c:v>
                      </c:pt>
                      <c:pt idx="214">
                        <c:v>259.71000000000004</c:v>
                      </c:pt>
                      <c:pt idx="215">
                        <c:v>295.81</c:v>
                      </c:pt>
                      <c:pt idx="216">
                        <c:v>242.83</c:v>
                      </c:pt>
                      <c:pt idx="217">
                        <c:v>344.70600000000002</c:v>
                      </c:pt>
                      <c:pt idx="218">
                        <c:v>459.01799999999997</c:v>
                      </c:pt>
                      <c:pt idx="219">
                        <c:v>337.93700000000001</c:v>
                      </c:pt>
                      <c:pt idx="220">
                        <c:v>322.64100000000002</c:v>
                      </c:pt>
                      <c:pt idx="221">
                        <c:v>61.335999999999999</c:v>
                      </c:pt>
                      <c:pt idx="222">
                        <c:v>338.26800000000003</c:v>
                      </c:pt>
                      <c:pt idx="223">
                        <c:v>317.66899999999998</c:v>
                      </c:pt>
                      <c:pt idx="224">
                        <c:v>323.23099999999999</c:v>
                      </c:pt>
                      <c:pt idx="225">
                        <c:v>471.56299999999993</c:v>
                      </c:pt>
                      <c:pt idx="226">
                        <c:v>436.55100000000004</c:v>
                      </c:pt>
                      <c:pt idx="227">
                        <c:v>384.245</c:v>
                      </c:pt>
                      <c:pt idx="228">
                        <c:v>110.49299999999999</c:v>
                      </c:pt>
                      <c:pt idx="229">
                        <c:v>382.88300000000004</c:v>
                      </c:pt>
                      <c:pt idx="230">
                        <c:v>315.21299999999997</c:v>
                      </c:pt>
                      <c:pt idx="231">
                        <c:v>403.52300000000002</c:v>
                      </c:pt>
                      <c:pt idx="232">
                        <c:v>394.31199999999995</c:v>
                      </c:pt>
                      <c:pt idx="233">
                        <c:v>355.08499999999998</c:v>
                      </c:pt>
                      <c:pt idx="234">
                        <c:v>216.983</c:v>
                      </c:pt>
                      <c:pt idx="235">
                        <c:v>118.93299999999999</c:v>
                      </c:pt>
                      <c:pt idx="236">
                        <c:v>686.93200000000002</c:v>
                      </c:pt>
                      <c:pt idx="237">
                        <c:v>295.23599999999999</c:v>
                      </c:pt>
                      <c:pt idx="238">
                        <c:v>414.45300000000003</c:v>
                      </c:pt>
                      <c:pt idx="239">
                        <c:v>476.45000000000005</c:v>
                      </c:pt>
                      <c:pt idx="240">
                        <c:v>495.03500000000003</c:v>
                      </c:pt>
                      <c:pt idx="241">
                        <c:v>156.19200000000001</c:v>
                      </c:pt>
                      <c:pt idx="242">
                        <c:v>123.10799999999999</c:v>
                      </c:pt>
                      <c:pt idx="243">
                        <c:v>589.00200000000007</c:v>
                      </c:pt>
                      <c:pt idx="244">
                        <c:v>293.44200000000001</c:v>
                      </c:pt>
                      <c:pt idx="245">
                        <c:v>440.03700000000003</c:v>
                      </c:pt>
                      <c:pt idx="246">
                        <c:v>398.84100000000001</c:v>
                      </c:pt>
                      <c:pt idx="247">
                        <c:v>426.12400000000002</c:v>
                      </c:pt>
                      <c:pt idx="248">
                        <c:v>140.60400000000001</c:v>
                      </c:pt>
                      <c:pt idx="249">
                        <c:v>255.613</c:v>
                      </c:pt>
                      <c:pt idx="250">
                        <c:v>640.15</c:v>
                      </c:pt>
                      <c:pt idx="251">
                        <c:v>396.23999999999995</c:v>
                      </c:pt>
                      <c:pt idx="252">
                        <c:v>471.245</c:v>
                      </c:pt>
                      <c:pt idx="253">
                        <c:v>443.72699999999998</c:v>
                      </c:pt>
                      <c:pt idx="254">
                        <c:v>382.32799999999997</c:v>
                      </c:pt>
                      <c:pt idx="255">
                        <c:v>270.08800000000002</c:v>
                      </c:pt>
                      <c:pt idx="256">
                        <c:v>144.166</c:v>
                      </c:pt>
                      <c:pt idx="257">
                        <c:v>591.91100000000006</c:v>
                      </c:pt>
                      <c:pt idx="258">
                        <c:v>345.51400000000001</c:v>
                      </c:pt>
                      <c:pt idx="259">
                        <c:v>429.68400000000003</c:v>
                      </c:pt>
                      <c:pt idx="260">
                        <c:v>336.947</c:v>
                      </c:pt>
                      <c:pt idx="261">
                        <c:v>379.82600000000002</c:v>
                      </c:pt>
                      <c:pt idx="262">
                        <c:v>257.41000000000003</c:v>
                      </c:pt>
                      <c:pt idx="263">
                        <c:v>256.613</c:v>
                      </c:pt>
                      <c:pt idx="264">
                        <c:v>604.78399999999999</c:v>
                      </c:pt>
                      <c:pt idx="265">
                        <c:v>340.92399999999998</c:v>
                      </c:pt>
                      <c:pt idx="266">
                        <c:v>365.363</c:v>
                      </c:pt>
                      <c:pt idx="267">
                        <c:v>478.673</c:v>
                      </c:pt>
                      <c:pt idx="268">
                        <c:v>200.58799999999999</c:v>
                      </c:pt>
                      <c:pt idx="269">
                        <c:v>132.727</c:v>
                      </c:pt>
                      <c:pt idx="270">
                        <c:v>83.662000000000006</c:v>
                      </c:pt>
                      <c:pt idx="271">
                        <c:v>795.53000000000009</c:v>
                      </c:pt>
                      <c:pt idx="272">
                        <c:v>459.42500000000007</c:v>
                      </c:pt>
                      <c:pt idx="273">
                        <c:v>512.35800000000006</c:v>
                      </c:pt>
                      <c:pt idx="274">
                        <c:v>487.71699999999998</c:v>
                      </c:pt>
                      <c:pt idx="275">
                        <c:v>260.40699999999998</c:v>
                      </c:pt>
                      <c:pt idx="276">
                        <c:v>90.490000000000009</c:v>
                      </c:pt>
                      <c:pt idx="277">
                        <c:v>195.29900000000001</c:v>
                      </c:pt>
                      <c:pt idx="278">
                        <c:v>856.63700000000006</c:v>
                      </c:pt>
                    </c:numCache>
                  </c:numRef>
                </c:val>
                <c:smooth val="0"/>
                <c:extLst>
                  <c:ext xmlns:c16="http://schemas.microsoft.com/office/drawing/2014/chart" uri="{C3380CC4-5D6E-409C-BE32-E72D297353CC}">
                    <c16:uniqueId val="{00000007-ABFF-4F69-A778-B65D06386B92}"/>
                  </c:ext>
                </c:extLst>
              </c15:ser>
            </c15:filteredLineSeries>
          </c:ext>
        </c:extLst>
      </c:lineChart>
      <c:dateAx>
        <c:axId val="206300672"/>
        <c:scaling>
          <c:orientation val="minMax"/>
        </c:scaling>
        <c:delete val="0"/>
        <c:axPos val="b"/>
        <c:numFmt formatCode="dd/mm/yy;@"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600" b="0" i="0" u="none" strike="noStrike" kern="1200" cap="none" spc="0" normalizeH="0" baseline="0">
                <a:solidFill>
                  <a:schemeClr val="dk1">
                    <a:lumMod val="65000"/>
                    <a:lumOff val="35000"/>
                  </a:schemeClr>
                </a:solidFill>
                <a:latin typeface="+mn-lt"/>
                <a:ea typeface="+mn-ea"/>
                <a:cs typeface="+mn-cs"/>
              </a:defRPr>
            </a:pPr>
            <a:endParaRPr lang="es-GT"/>
          </a:p>
        </c:txPr>
        <c:crossAx val="206302208"/>
        <c:crosses val="autoZero"/>
        <c:auto val="1"/>
        <c:lblOffset val="100"/>
        <c:baseTimeUnit val="days"/>
      </c:dateAx>
      <c:valAx>
        <c:axId val="206302208"/>
        <c:scaling>
          <c:orientation val="minMax"/>
          <c:max val="60"/>
          <c:min val="0"/>
        </c:scaling>
        <c:delete val="0"/>
        <c:axPos val="l"/>
        <c:majorGridlines>
          <c:spPr>
            <a:ln w="9525" cap="flat" cmpd="sng" algn="ctr">
              <a:solidFill>
                <a:schemeClr val="dk1">
                  <a:lumMod val="15000"/>
                  <a:lumOff val="85000"/>
                  <a:alpha val="54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dk1">
                    <a:lumMod val="65000"/>
                    <a:lumOff val="35000"/>
                  </a:schemeClr>
                </a:solidFill>
                <a:latin typeface="+mn-lt"/>
                <a:ea typeface="+mn-ea"/>
                <a:cs typeface="+mn-cs"/>
              </a:defRPr>
            </a:pPr>
            <a:endParaRPr lang="es-GT"/>
          </a:p>
        </c:txPr>
        <c:crossAx val="206300672"/>
        <c:crosses val="autoZero"/>
        <c:crossBetween val="between"/>
      </c:valAx>
      <c:spPr>
        <a:noFill/>
        <a:ln>
          <a:noFill/>
        </a:ln>
        <a:effectLst/>
      </c:spPr>
    </c:plotArea>
    <c:plotVisOnly val="1"/>
    <c:dispBlanksAs val="gap"/>
    <c:showDLblsOverMax val="0"/>
  </c:chart>
  <c:spPr>
    <a:solidFill>
      <a:schemeClr val="lt1"/>
    </a:solidFill>
    <a:ln w="9525" cap="flat" cmpd="sng" algn="ctr">
      <a:noFill/>
      <a:round/>
    </a:ln>
    <a:effectLst/>
  </c:spPr>
  <c:txPr>
    <a:bodyPr/>
    <a:lstStyle/>
    <a:p>
      <a:pPr>
        <a:defRPr/>
      </a:pPr>
      <a:endParaRPr lang="es-GT"/>
    </a:p>
  </c:txPr>
  <c:externalData r:id="rId1">
    <c:autoUpdate val="0"/>
  </c:externalData>
  <c:userShapes r:id="rId2"/>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MX"/>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dirty="0" err="1">
                <a:solidFill>
                  <a:srgbClr val="0B3963"/>
                </a:solidFill>
              </a:rPr>
              <a:t>Mortalidad</a:t>
            </a:r>
            <a:r>
              <a:rPr lang="en-US" b="1" dirty="0">
                <a:solidFill>
                  <a:srgbClr val="0B3963"/>
                </a:solidFill>
              </a:rPr>
              <a:t> Total por Covid-19</a:t>
            </a:r>
          </a:p>
          <a:p>
            <a:pPr>
              <a:defRPr sz="1400" b="0" i="0" u="none" strike="noStrike" kern="1200" spc="0" baseline="0">
                <a:solidFill>
                  <a:schemeClr val="tx1">
                    <a:lumMod val="65000"/>
                    <a:lumOff val="35000"/>
                  </a:schemeClr>
                </a:solidFill>
                <a:latin typeface="+mn-lt"/>
                <a:ea typeface="+mn-ea"/>
                <a:cs typeface="+mn-cs"/>
              </a:defRPr>
            </a:pPr>
            <a:r>
              <a:rPr lang="en-US" b="1" dirty="0">
                <a:solidFill>
                  <a:srgbClr val="0B3963"/>
                </a:solidFill>
              </a:rPr>
              <a:t>(personas</a:t>
            </a:r>
            <a:r>
              <a:rPr lang="en-US" b="1" baseline="0" dirty="0">
                <a:solidFill>
                  <a:srgbClr val="0B3963"/>
                </a:solidFill>
              </a:rPr>
              <a:t> </a:t>
            </a:r>
            <a:r>
              <a:rPr lang="en-US" b="1" dirty="0" err="1">
                <a:solidFill>
                  <a:srgbClr val="0B3963"/>
                </a:solidFill>
              </a:rPr>
              <a:t>fallecidas</a:t>
            </a:r>
            <a:r>
              <a:rPr lang="en-US" b="1" dirty="0">
                <a:solidFill>
                  <a:srgbClr val="0B3963"/>
                </a:solidFill>
              </a:rPr>
              <a:t> por </a:t>
            </a:r>
            <a:r>
              <a:rPr lang="en-US" b="1" dirty="0" err="1">
                <a:solidFill>
                  <a:srgbClr val="0B3963"/>
                </a:solidFill>
              </a:rPr>
              <a:t>cada</a:t>
            </a:r>
            <a:r>
              <a:rPr lang="en-US" b="1" dirty="0">
                <a:solidFill>
                  <a:srgbClr val="0B3963"/>
                </a:solidFill>
              </a:rPr>
              <a:t> </a:t>
            </a:r>
            <a:r>
              <a:rPr lang="en-US" b="1" dirty="0" err="1">
                <a:solidFill>
                  <a:srgbClr val="0B3963"/>
                </a:solidFill>
              </a:rPr>
              <a:t>millon</a:t>
            </a:r>
            <a:r>
              <a:rPr lang="en-US" b="1" dirty="0">
                <a:solidFill>
                  <a:srgbClr val="0B3963"/>
                </a:solidFill>
              </a:rPr>
              <a:t> de </a:t>
            </a:r>
            <a:r>
              <a:rPr lang="en-US" b="1" dirty="0" err="1">
                <a:solidFill>
                  <a:srgbClr val="0B3963"/>
                </a:solidFill>
              </a:rPr>
              <a:t>habitantes</a:t>
            </a:r>
            <a:r>
              <a:rPr lang="en-US" b="1" dirty="0">
                <a:solidFill>
                  <a:srgbClr val="0B3963"/>
                </a:solidFill>
              </a:rPr>
              <a:t>)</a:t>
            </a:r>
          </a:p>
        </c:rich>
      </c:tx>
      <c:layout>
        <c:manualLayout>
          <c:xMode val="edge"/>
          <c:yMode val="edge"/>
          <c:x val="0.10806114402227569"/>
          <c:y val="1.7400758303124635E-2"/>
        </c:manualLayout>
      </c:layout>
      <c:overlay val="0"/>
      <c:spPr>
        <a:noFill/>
        <a:ln>
          <a:noFill/>
        </a:ln>
        <a:effectLst/>
      </c:spPr>
    </c:title>
    <c:autoTitleDeleted val="0"/>
    <c:plotArea>
      <c:layout>
        <c:manualLayout>
          <c:layoutTarget val="inner"/>
          <c:xMode val="edge"/>
          <c:yMode val="edge"/>
          <c:x val="8.3769461568239001E-2"/>
          <c:y val="0.23960194833323351"/>
          <c:w val="0.88755670624900707"/>
          <c:h val="0.38197109257368578"/>
        </c:manualLayout>
      </c:layout>
      <c:barChart>
        <c:barDir val="col"/>
        <c:grouping val="clustered"/>
        <c:varyColors val="0"/>
        <c:ser>
          <c:idx val="0"/>
          <c:order val="0"/>
          <c:tx>
            <c:v>Tasa de Mortalidad</c:v>
          </c:tx>
          <c:spPr>
            <a:solidFill>
              <a:srgbClr val="FF0000"/>
            </a:solidFill>
            <a:ln>
              <a:noFill/>
            </a:ln>
            <a:effectLst/>
          </c:spPr>
          <c:invertIfNegative val="0"/>
          <c:dPt>
            <c:idx val="3"/>
            <c:invertIfNegative val="0"/>
            <c:bubble3D val="0"/>
            <c:spPr>
              <a:solidFill>
                <a:schemeClr val="accent1"/>
              </a:solidFill>
              <a:ln>
                <a:noFill/>
              </a:ln>
              <a:effectLst/>
            </c:spPr>
            <c:extLst>
              <c:ext xmlns:c16="http://schemas.microsoft.com/office/drawing/2014/chart" uri="{C3380CC4-5D6E-409C-BE32-E72D297353CC}">
                <c16:uniqueId val="{00000001-D4BE-4D38-A4DB-6A13E0C38EFD}"/>
              </c:ext>
            </c:extLst>
          </c:dPt>
          <c:dLbls>
            <c:dLbl>
              <c:idx val="3"/>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1">
                          <a:lumMod val="75000"/>
                        </a:schemeClr>
                      </a:solidFill>
                      <a:latin typeface="+mn-lt"/>
                      <a:ea typeface="+mn-ea"/>
                      <a:cs typeface="+mn-cs"/>
                    </a:defRPr>
                  </a:pPr>
                  <a:endParaRPr lang="es-GT"/>
                </a:p>
              </c:txPr>
              <c:showLegendKey val="0"/>
              <c:showVal val="1"/>
              <c:showCatName val="0"/>
              <c:showSerName val="0"/>
              <c:showPercent val="0"/>
              <c:showBubbleSize val="0"/>
              <c:extLst>
                <c:ext xmlns:c16="http://schemas.microsoft.com/office/drawing/2014/chart" uri="{C3380CC4-5D6E-409C-BE32-E72D297353CC}">
                  <c16:uniqueId val="{00000001-D4BE-4D38-A4DB-6A13E0C38EFD}"/>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FF0000"/>
                    </a:solidFill>
                    <a:latin typeface="+mn-lt"/>
                    <a:ea typeface="+mn-ea"/>
                    <a:cs typeface="+mn-cs"/>
                  </a:defRPr>
                </a:pPr>
                <a:endParaRPr lang="es-G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dicadores!$B$5:$B$13</c:f>
              <c:strCache>
                <c:ptCount val="9"/>
                <c:pt idx="0">
                  <c:v>EL MUNDO</c:v>
                </c:pt>
                <c:pt idx="1">
                  <c:v>EE.UU.</c:v>
                </c:pt>
                <c:pt idx="2">
                  <c:v>MEXICO</c:v>
                </c:pt>
                <c:pt idx="3">
                  <c:v>GUATEMALA</c:v>
                </c:pt>
                <c:pt idx="4">
                  <c:v>COSTA RICA</c:v>
                </c:pt>
                <c:pt idx="5">
                  <c:v>EL SALVADOR</c:v>
                </c:pt>
                <c:pt idx="6">
                  <c:v>HONDURAS</c:v>
                </c:pt>
                <c:pt idx="7">
                  <c:v>REPUBLICA DOMINICANA</c:v>
                </c:pt>
                <c:pt idx="8">
                  <c:v>PANAMA</c:v>
                </c:pt>
              </c:strCache>
            </c:strRef>
          </c:cat>
          <c:val>
            <c:numRef>
              <c:f>Indicadores!$C$5:$C$13</c:f>
              <c:numCache>
                <c:formatCode>#,##0.0</c:formatCode>
                <c:ptCount val="9"/>
                <c:pt idx="0">
                  <c:v>563.577</c:v>
                </c:pt>
                <c:pt idx="1">
                  <c:v>1885.9580000000001</c:v>
                </c:pt>
                <c:pt idx="2">
                  <c:v>1942.633</c:v>
                </c:pt>
                <c:pt idx="3">
                  <c:v>629.22900000000004</c:v>
                </c:pt>
                <c:pt idx="4">
                  <c:v>1037.2760000000001</c:v>
                </c:pt>
                <c:pt idx="5">
                  <c:v>433.536</c:v>
                </c:pt>
                <c:pt idx="6">
                  <c:v>860.91200000000003</c:v>
                </c:pt>
                <c:pt idx="7">
                  <c:v>367.721</c:v>
                </c:pt>
                <c:pt idx="8">
                  <c:v>1617.932</c:v>
                </c:pt>
              </c:numCache>
            </c:numRef>
          </c:val>
          <c:extLst>
            <c:ext xmlns:c16="http://schemas.microsoft.com/office/drawing/2014/chart" uri="{C3380CC4-5D6E-409C-BE32-E72D297353CC}">
              <c16:uniqueId val="{00000002-D4BE-4D38-A4DB-6A13E0C38EFD}"/>
            </c:ext>
          </c:extLst>
        </c:ser>
        <c:dLbls>
          <c:showLegendKey val="0"/>
          <c:showVal val="0"/>
          <c:showCatName val="0"/>
          <c:showSerName val="0"/>
          <c:showPercent val="0"/>
          <c:showBubbleSize val="0"/>
        </c:dLbls>
        <c:gapWidth val="70"/>
        <c:overlap val="-27"/>
        <c:axId val="206199424"/>
        <c:axId val="206213504"/>
      </c:barChart>
      <c:catAx>
        <c:axId val="2061994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1" i="0" u="none" strike="noStrike" kern="1200" baseline="0">
                <a:solidFill>
                  <a:schemeClr val="tx1">
                    <a:lumMod val="65000"/>
                    <a:lumOff val="35000"/>
                  </a:schemeClr>
                </a:solidFill>
                <a:latin typeface="+mn-lt"/>
                <a:ea typeface="+mn-ea"/>
                <a:cs typeface="+mn-cs"/>
              </a:defRPr>
            </a:pPr>
            <a:endParaRPr lang="es-GT"/>
          </a:p>
        </c:txPr>
        <c:crossAx val="206213504"/>
        <c:crosses val="autoZero"/>
        <c:auto val="1"/>
        <c:lblAlgn val="ctr"/>
        <c:lblOffset val="100"/>
        <c:noMultiLvlLbl val="0"/>
      </c:catAx>
      <c:valAx>
        <c:axId val="20621350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s-GT"/>
          </a:p>
        </c:txPr>
        <c:crossAx val="206199424"/>
        <c:crosses val="autoZero"/>
        <c:crossBetween val="between"/>
        <c:majorUnit val="400"/>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es-GT"/>
    </a:p>
  </c:txPr>
  <c:externalData r:id="rId1">
    <c:autoUpdate val="0"/>
  </c:externalData>
  <c:userShapes r:id="rId2"/>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MX"/>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sz="1600" b="0" i="0" u="none" strike="noStrike" kern="1200" spc="0" baseline="0">
                <a:solidFill>
                  <a:schemeClr val="tx1">
                    <a:lumMod val="65000"/>
                    <a:lumOff val="35000"/>
                  </a:schemeClr>
                </a:solidFill>
                <a:latin typeface="+mn-lt"/>
                <a:ea typeface="+mn-ea"/>
                <a:cs typeface="+mn-cs"/>
              </a:defRPr>
            </a:pPr>
            <a:r>
              <a:rPr lang="es-GT" sz="1600" b="1" noProof="0" dirty="0">
                <a:solidFill>
                  <a:srgbClr val="0B3963"/>
                </a:solidFill>
              </a:rPr>
              <a:t>Crecimiento</a:t>
            </a:r>
            <a:r>
              <a:rPr lang="es-GT" sz="1600" b="1" baseline="0" noProof="0" dirty="0">
                <a:solidFill>
                  <a:srgbClr val="0B3963"/>
                </a:solidFill>
              </a:rPr>
              <a:t> económico en 2020 e índice </a:t>
            </a:r>
            <a:r>
              <a:rPr lang="en-US" sz="1600" b="1" baseline="0" dirty="0">
                <a:solidFill>
                  <a:srgbClr val="0B3963"/>
                </a:solidFill>
              </a:rPr>
              <a:t>de rigor  de </a:t>
            </a:r>
            <a:r>
              <a:rPr lang="en-US" sz="1600" b="1" baseline="0" dirty="0" err="1">
                <a:solidFill>
                  <a:srgbClr val="0B3963"/>
                </a:solidFill>
              </a:rPr>
              <a:t>marzo</a:t>
            </a:r>
            <a:r>
              <a:rPr lang="en-US" sz="1600" b="1" baseline="0" dirty="0">
                <a:solidFill>
                  <a:srgbClr val="0B3963"/>
                </a:solidFill>
              </a:rPr>
              <a:t> a </a:t>
            </a:r>
            <a:r>
              <a:rPr lang="en-US" sz="1600" b="1" baseline="0" dirty="0" err="1">
                <a:solidFill>
                  <a:srgbClr val="0B3963"/>
                </a:solidFill>
              </a:rPr>
              <a:t>diciembre</a:t>
            </a:r>
            <a:endParaRPr lang="en-US" sz="1600" b="1" dirty="0">
              <a:solidFill>
                <a:srgbClr val="0B3963"/>
              </a:solidFill>
            </a:endParaRPr>
          </a:p>
        </c:rich>
      </c:tx>
      <c:layout>
        <c:manualLayout>
          <c:xMode val="edge"/>
          <c:yMode val="edge"/>
          <c:x val="0.1081337037037037"/>
          <c:y val="2.1045138888888871E-3"/>
        </c:manualLayout>
      </c:layout>
      <c:overlay val="0"/>
      <c:spPr>
        <a:noFill/>
        <a:ln>
          <a:noFill/>
        </a:ln>
        <a:effectLst/>
      </c:spPr>
      <c:txPr>
        <a:bodyPr rot="0" spcFirstLastPara="1" vertOverflow="ellipsis" vert="horz" wrap="square" anchor="ctr" anchorCtr="1"/>
        <a:lstStyle/>
        <a:p>
          <a:pPr algn="ctr">
            <a:defRPr sz="1600" b="0" i="0" u="none" strike="noStrike" kern="1200" spc="0" baseline="0">
              <a:solidFill>
                <a:schemeClr val="tx1">
                  <a:lumMod val="65000"/>
                  <a:lumOff val="35000"/>
                </a:schemeClr>
              </a:solidFill>
              <a:latin typeface="+mn-lt"/>
              <a:ea typeface="+mn-ea"/>
              <a:cs typeface="+mn-cs"/>
            </a:defRPr>
          </a:pPr>
          <a:endParaRPr lang="es-GT"/>
        </a:p>
      </c:txPr>
    </c:title>
    <c:autoTitleDeleted val="0"/>
    <c:plotArea>
      <c:layout>
        <c:manualLayout>
          <c:layoutTarget val="inner"/>
          <c:xMode val="edge"/>
          <c:yMode val="edge"/>
          <c:x val="9.2401827636807904E-2"/>
          <c:y val="0.20579791666666666"/>
          <c:w val="0.85168306750335143"/>
          <c:h val="0.52919618055555551"/>
        </c:manualLayout>
      </c:layout>
      <c:scatterChart>
        <c:scatterStyle val="lineMarker"/>
        <c:varyColors val="0"/>
        <c:ser>
          <c:idx val="0"/>
          <c:order val="0"/>
          <c:tx>
            <c:strRef>
              <c:f>Hoja1!$B$1</c:f>
              <c:strCache>
                <c:ptCount val="1"/>
                <c:pt idx="0">
                  <c:v>Crecimiento</c:v>
                </c:pt>
              </c:strCache>
            </c:strRef>
          </c:tx>
          <c:spPr>
            <a:ln w="19050" cap="rnd">
              <a:noFill/>
              <a:round/>
            </a:ln>
            <a:effectLst/>
          </c:spPr>
          <c:marker>
            <c:symbol val="diamond"/>
            <c:size val="11"/>
            <c:spPr>
              <a:solidFill>
                <a:srgbClr val="002060"/>
              </a:solidFill>
              <a:ln w="9525">
                <a:solidFill>
                  <a:srgbClr val="002060"/>
                </a:solidFill>
              </a:ln>
              <a:effectLst/>
            </c:spPr>
          </c:marker>
          <c:dPt>
            <c:idx val="0"/>
            <c:marker>
              <c:symbol val="diamond"/>
              <c:size val="11"/>
              <c:spPr>
                <a:solidFill>
                  <a:srgbClr val="C00000"/>
                </a:solidFill>
                <a:ln w="9525">
                  <a:solidFill>
                    <a:srgbClr val="C00000"/>
                  </a:solidFill>
                </a:ln>
                <a:effectLst/>
              </c:spPr>
            </c:marker>
            <c:bubble3D val="0"/>
            <c:spPr>
              <a:ln w="19050" cap="rnd">
                <a:solidFill>
                  <a:srgbClr val="C00000"/>
                </a:solidFill>
                <a:round/>
              </a:ln>
              <a:effectLst/>
            </c:spPr>
            <c:extLst>
              <c:ext xmlns:c16="http://schemas.microsoft.com/office/drawing/2014/chart" uri="{C3380CC4-5D6E-409C-BE32-E72D297353CC}">
                <c16:uniqueId val="{00000008-E57A-4036-AAE1-B3AD3A47895C}"/>
              </c:ext>
            </c:extLst>
          </c:dPt>
          <c:dLbls>
            <c:dLbl>
              <c:idx val="0"/>
              <c:tx>
                <c:rich>
                  <a:bodyPr rot="0" spcFirstLastPara="1" vertOverflow="ellipsis" vert="horz" wrap="square" lIns="38100" tIns="19050" rIns="38100" bIns="19050" anchor="ctr" anchorCtr="1">
                    <a:spAutoFit/>
                  </a:bodyPr>
                  <a:lstStyle/>
                  <a:p>
                    <a:pPr>
                      <a:defRPr sz="1100" b="1" i="0" u="none" strike="noStrike" kern="1200" baseline="0">
                        <a:solidFill>
                          <a:srgbClr val="C00000"/>
                        </a:solidFill>
                        <a:latin typeface="+mn-lt"/>
                        <a:ea typeface="+mn-ea"/>
                        <a:cs typeface="+mn-cs"/>
                      </a:defRPr>
                    </a:pPr>
                    <a:fld id="{8C62A074-28F6-4BBB-B12F-BC6DDF19CE1E}" type="CELLRANGE">
                      <a:rPr lang="en-US" sz="1100" b="1">
                        <a:solidFill>
                          <a:srgbClr val="C00000"/>
                        </a:solidFill>
                      </a:rPr>
                      <a:pPr>
                        <a:defRPr sz="1100" b="1">
                          <a:solidFill>
                            <a:srgbClr val="C00000"/>
                          </a:solidFill>
                        </a:defRPr>
                      </a:pPr>
                      <a:t>[CELLRANGE]</a:t>
                    </a:fld>
                    <a:endParaRPr lang="es-GT"/>
                  </a:p>
                </c:rich>
              </c:tx>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C00000"/>
                      </a:solidFill>
                      <a:latin typeface="+mn-lt"/>
                      <a:ea typeface="+mn-ea"/>
                      <a:cs typeface="+mn-cs"/>
                    </a:defRPr>
                  </a:pPr>
                  <a:endParaRPr lang="es-GT"/>
                </a:p>
              </c:txP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E57A-4036-AAE1-B3AD3A47895C}"/>
                </c:ext>
              </c:extLst>
            </c:dLbl>
            <c:dLbl>
              <c:idx val="1"/>
              <c:tx>
                <c:rich>
                  <a:bodyPr/>
                  <a:lstStyle/>
                  <a:p>
                    <a:fld id="{31DDB173-7A17-48E4-9363-1E77C84E0C9D}" type="CELLRANGE">
                      <a:rPr lang="en-US"/>
                      <a:pPr/>
                      <a:t>[CELLRANGE]</a:t>
                    </a:fld>
                    <a:endParaRPr lang="es-GT"/>
                  </a:p>
                </c:rich>
              </c:tx>
              <c:dLblPos val="l"/>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E57A-4036-AAE1-B3AD3A47895C}"/>
                </c:ext>
              </c:extLst>
            </c:dLbl>
            <c:dLbl>
              <c:idx val="2"/>
              <c:tx>
                <c:rich>
                  <a:bodyPr/>
                  <a:lstStyle/>
                  <a:p>
                    <a:fld id="{085D45FA-3D97-4023-8600-02895B614E7D}" type="CELLRANGE">
                      <a:rPr lang="en-US"/>
                      <a:pPr/>
                      <a:t>[CELLRANGE]</a:t>
                    </a:fld>
                    <a:endParaRPr lang="es-GT"/>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E57A-4036-AAE1-B3AD3A47895C}"/>
                </c:ext>
              </c:extLst>
            </c:dLbl>
            <c:dLbl>
              <c:idx val="3"/>
              <c:tx>
                <c:rich>
                  <a:bodyPr/>
                  <a:lstStyle/>
                  <a:p>
                    <a:fld id="{B0900497-1B74-F24D-B739-1786BC3F045C}" type="CELLRANGE">
                      <a:rPr lang="es-GT"/>
                      <a:pPr/>
                      <a:t>[CELLRANGE]</a:t>
                    </a:fld>
                    <a:endParaRPr lang="es-GT"/>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E57A-4036-AAE1-B3AD3A47895C}"/>
                </c:ext>
              </c:extLst>
            </c:dLbl>
            <c:dLbl>
              <c:idx val="4"/>
              <c:tx>
                <c:rich>
                  <a:bodyPr/>
                  <a:lstStyle/>
                  <a:p>
                    <a:fld id="{8FE4F546-5682-3A4B-A6A6-B6C80789E95F}" type="CELLRANGE">
                      <a:rPr lang="es-GT"/>
                      <a:pPr/>
                      <a:t>[CELLRANGE]</a:t>
                    </a:fld>
                    <a:endParaRPr lang="es-GT"/>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E57A-4036-AAE1-B3AD3A47895C}"/>
                </c:ext>
              </c:extLst>
            </c:dLbl>
            <c:dLbl>
              <c:idx val="5"/>
              <c:tx>
                <c:rich>
                  <a:bodyPr/>
                  <a:lstStyle/>
                  <a:p>
                    <a:fld id="{E0D08831-9DE2-964D-8E62-AC5EC84FE792}" type="CELLRANGE">
                      <a:rPr lang="es-GT"/>
                      <a:pPr/>
                      <a:t>[CELLRANGE]</a:t>
                    </a:fld>
                    <a:endParaRPr lang="es-GT"/>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E57A-4036-AAE1-B3AD3A47895C}"/>
                </c:ext>
              </c:extLst>
            </c:dLbl>
            <c:dLbl>
              <c:idx val="6"/>
              <c:layout>
                <c:manualLayout>
                  <c:x val="-1.7639795378374258E-3"/>
                  <c:y val="-4.255948973294206E-2"/>
                </c:manualLayout>
              </c:layout>
              <c:tx>
                <c:rich>
                  <a:bodyPr/>
                  <a:lstStyle/>
                  <a:p>
                    <a:fld id="{90EABCBF-5C53-4E43-928F-148CAE87CC31}" type="CELLRANGE">
                      <a:rPr lang="en-US"/>
                      <a:pPr/>
                      <a:t>[CELLRANGE]</a:t>
                    </a:fld>
                    <a:endParaRPr lang="es-GT"/>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E57A-4036-AAE1-B3AD3A47895C}"/>
                </c:ext>
              </c:extLst>
            </c:dLbl>
            <c:dLbl>
              <c:idx val="7"/>
              <c:tx>
                <c:rich>
                  <a:bodyPr/>
                  <a:lstStyle/>
                  <a:p>
                    <a:fld id="{6ED836C0-2CC8-2643-A843-0072C53E0593}" type="CELLRANGE">
                      <a:rPr lang="es-GT"/>
                      <a:pPr/>
                      <a:t>[CELLRANGE]</a:t>
                    </a:fld>
                    <a:endParaRPr lang="es-GT"/>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E57A-4036-AAE1-B3AD3A47895C}"/>
                </c:ext>
              </c:extLst>
            </c:dLbl>
            <c:dLbl>
              <c:idx val="8"/>
              <c:tx>
                <c:rich>
                  <a:bodyPr/>
                  <a:lstStyle/>
                  <a:p>
                    <a:fld id="{7E991652-F4DF-4AED-AB2B-F78A0176D44F}" type="CELLRANGE">
                      <a:rPr lang="en-US"/>
                      <a:pPr/>
                      <a:t>[CELLRANGE]</a:t>
                    </a:fld>
                    <a:endParaRPr lang="es-GT"/>
                  </a:p>
                </c:rich>
              </c:tx>
              <c:dLblPos val="b"/>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E57A-4036-AAE1-B3AD3A47895C}"/>
                </c:ext>
              </c:extLst>
            </c:dLbl>
            <c:dLbl>
              <c:idx val="9"/>
              <c:tx>
                <c:rich>
                  <a:bodyPr/>
                  <a:lstStyle/>
                  <a:p>
                    <a:fld id="{AEC16CF9-F32E-4FDB-A169-3BEF9A16C48A}" type="CELLRANGE">
                      <a:rPr lang="en-US"/>
                      <a:pPr/>
                      <a:t>[CELLRANGE]</a:t>
                    </a:fld>
                    <a:endParaRPr lang="es-GT"/>
                  </a:p>
                </c:rich>
              </c:tx>
              <c:dLblPos val="l"/>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E57A-4036-AAE1-B3AD3A47895C}"/>
                </c:ext>
              </c:extLst>
            </c:dLbl>
            <c:dLbl>
              <c:idx val="10"/>
              <c:tx>
                <c:rich>
                  <a:bodyPr/>
                  <a:lstStyle/>
                  <a:p>
                    <a:fld id="{26B0F51B-76B5-4C4E-B351-260330BA43FD}" type="CELLRANGE">
                      <a:rPr lang="es-GT"/>
                      <a:pPr/>
                      <a:t>[CELLRANGE]</a:t>
                    </a:fld>
                    <a:endParaRPr lang="es-GT"/>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E57A-4036-AAE1-B3AD3A47895C}"/>
                </c:ext>
              </c:extLst>
            </c:dLbl>
            <c:dLbl>
              <c:idx val="11"/>
              <c:tx>
                <c:rich>
                  <a:bodyPr/>
                  <a:lstStyle/>
                  <a:p>
                    <a:fld id="{EB412650-72E3-425A-929F-510F8CD52E7A}" type="CELLRANGE">
                      <a:rPr lang="en-US"/>
                      <a:pPr/>
                      <a:t>[CELLRANGE]</a:t>
                    </a:fld>
                    <a:endParaRPr lang="es-GT"/>
                  </a:p>
                </c:rich>
              </c:tx>
              <c:dLblPos val="b"/>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E57A-4036-AAE1-B3AD3A47895C}"/>
                </c:ext>
              </c:extLst>
            </c:dLbl>
            <c:dLbl>
              <c:idx val="12"/>
              <c:tx>
                <c:rich>
                  <a:bodyPr/>
                  <a:lstStyle/>
                  <a:p>
                    <a:fld id="{735AE0A7-885C-4BA0-A624-FAD772642FA3}" type="CELLRANGE">
                      <a:rPr lang="en-US"/>
                      <a:pPr/>
                      <a:t>[CELLRANGE]</a:t>
                    </a:fld>
                    <a:endParaRPr lang="es-GT"/>
                  </a:p>
                </c:rich>
              </c:tx>
              <c:dLblPos val="t"/>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E57A-4036-AAE1-B3AD3A47895C}"/>
                </c:ext>
              </c:extLst>
            </c:dLbl>
            <c:dLbl>
              <c:idx val="13"/>
              <c:tx>
                <c:rich>
                  <a:bodyPr/>
                  <a:lstStyle/>
                  <a:p>
                    <a:fld id="{E961CB23-3A5E-4825-9AF1-D76744DCB50B}" type="CELLRANGE">
                      <a:rPr lang="en-US"/>
                      <a:pPr/>
                      <a:t>[CELLRANGE]</a:t>
                    </a:fld>
                    <a:endParaRPr lang="es-GT"/>
                  </a:p>
                </c:rich>
              </c:tx>
              <c:dLblPos val="l"/>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E57A-4036-AAE1-B3AD3A47895C}"/>
                </c:ext>
              </c:extLst>
            </c:dLbl>
            <c:dLbl>
              <c:idx val="14"/>
              <c:tx>
                <c:rich>
                  <a:bodyPr/>
                  <a:lstStyle/>
                  <a:p>
                    <a:fld id="{890FDDBF-E5AA-3944-859E-860B88468C09}" type="CELLRANGE">
                      <a:rPr lang="es-GT"/>
                      <a:pPr/>
                      <a:t>[CELLRANGE]</a:t>
                    </a:fld>
                    <a:endParaRPr lang="es-GT"/>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E57A-4036-AAE1-B3AD3A47895C}"/>
                </c:ext>
              </c:extLst>
            </c:dLbl>
            <c:dLbl>
              <c:idx val="15"/>
              <c:tx>
                <c:rich>
                  <a:bodyPr/>
                  <a:lstStyle/>
                  <a:p>
                    <a:fld id="{DDA31CB0-7CB1-4F49-BC88-EA253A083F6E}" type="CELLRANGE">
                      <a:rPr lang="en-US"/>
                      <a:pPr/>
                      <a:t>[CELLRANGE]</a:t>
                    </a:fld>
                    <a:endParaRPr lang="es-GT"/>
                  </a:p>
                </c:rich>
              </c:tx>
              <c:dLblPos val="l"/>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E57A-4036-AAE1-B3AD3A47895C}"/>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s-GT"/>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trendline>
            <c:spPr>
              <a:ln w="31750" cap="rnd">
                <a:solidFill>
                  <a:srgbClr val="C00000"/>
                </a:solidFill>
                <a:prstDash val="sysDot"/>
              </a:ln>
              <a:effectLst/>
            </c:spPr>
            <c:trendlineType val="linear"/>
            <c:dispRSqr val="0"/>
            <c:dispEq val="0"/>
          </c:trendline>
          <c:xVal>
            <c:numRef>
              <c:f>Hoja1!$A$2:$A$17</c:f>
              <c:numCache>
                <c:formatCode>_(* #,##0.00_);_(* \(#,##0.00\);_(* "-"??_);_(@_)</c:formatCode>
                <c:ptCount val="16"/>
                <c:pt idx="0">
                  <c:v>78.040000000000006</c:v>
                </c:pt>
                <c:pt idx="1">
                  <c:v>76.5</c:v>
                </c:pt>
                <c:pt idx="2">
                  <c:v>77.69</c:v>
                </c:pt>
                <c:pt idx="3">
                  <c:v>66.45</c:v>
                </c:pt>
                <c:pt idx="4">
                  <c:v>89.45</c:v>
                </c:pt>
                <c:pt idx="5">
                  <c:v>78.739999999999995</c:v>
                </c:pt>
                <c:pt idx="6">
                  <c:v>79.52</c:v>
                </c:pt>
                <c:pt idx="7">
                  <c:v>87.74</c:v>
                </c:pt>
                <c:pt idx="8">
                  <c:v>77.69</c:v>
                </c:pt>
                <c:pt idx="9">
                  <c:v>84.14</c:v>
                </c:pt>
                <c:pt idx="10">
                  <c:v>83.67</c:v>
                </c:pt>
                <c:pt idx="11">
                  <c:v>72.989999999999995</c:v>
                </c:pt>
                <c:pt idx="12">
                  <c:v>79.09</c:v>
                </c:pt>
                <c:pt idx="13">
                  <c:v>77.73</c:v>
                </c:pt>
                <c:pt idx="14">
                  <c:v>82.86</c:v>
                </c:pt>
                <c:pt idx="15">
                  <c:v>75.05</c:v>
                </c:pt>
              </c:numCache>
            </c:numRef>
          </c:xVal>
          <c:yVal>
            <c:numRef>
              <c:f>Hoja1!$B$2:$B$17</c:f>
              <c:numCache>
                <c:formatCode>_-* #,##0.0_-;\-* #,##0.0_-;_-* "-"??_-;_-@_-</c:formatCode>
                <c:ptCount val="16"/>
                <c:pt idx="0">
                  <c:v>-1.5</c:v>
                </c:pt>
                <c:pt idx="1">
                  <c:v>-8.58</c:v>
                </c:pt>
                <c:pt idx="2">
                  <c:v>-6.8470000000000004</c:v>
                </c:pt>
                <c:pt idx="3">
                  <c:v>-4.7960000000000003</c:v>
                </c:pt>
                <c:pt idx="4">
                  <c:v>-8</c:v>
                </c:pt>
                <c:pt idx="5">
                  <c:v>-17.949000000000002</c:v>
                </c:pt>
                <c:pt idx="6">
                  <c:v>-6.7309999999999999</c:v>
                </c:pt>
                <c:pt idx="7">
                  <c:v>-4.0590000000000002</c:v>
                </c:pt>
                <c:pt idx="8">
                  <c:v>-6.8470000000000004</c:v>
                </c:pt>
                <c:pt idx="9">
                  <c:v>-7.7</c:v>
                </c:pt>
                <c:pt idx="10">
                  <c:v>-11.115</c:v>
                </c:pt>
                <c:pt idx="11">
                  <c:v>-8.2390000000000008</c:v>
                </c:pt>
                <c:pt idx="12">
                  <c:v>-5.8410000000000002</c:v>
                </c:pt>
                <c:pt idx="13">
                  <c:v>-0.9</c:v>
                </c:pt>
                <c:pt idx="14">
                  <c:v>-3.5049999999999999</c:v>
                </c:pt>
                <c:pt idx="15">
                  <c:v>-5.4029999999999996</c:v>
                </c:pt>
              </c:numCache>
            </c:numRef>
          </c:yVal>
          <c:smooth val="0"/>
          <c:extLst>
            <c:ext xmlns:c15="http://schemas.microsoft.com/office/drawing/2012/chart" uri="{02D57815-91ED-43cb-92C2-25804820EDAC}">
              <c15:datalabelsRange>
                <c15:f>Hoja1!$D$2:$D$17</c15:f>
                <c15:dlblRangeCache>
                  <c:ptCount val="16"/>
                  <c:pt idx="0">
                    <c:v>GTM</c:v>
                  </c:pt>
                  <c:pt idx="1">
                    <c:v>SLV</c:v>
                  </c:pt>
                  <c:pt idx="2">
                    <c:v>COL</c:v>
                  </c:pt>
                  <c:pt idx="3">
                    <c:v>CRI</c:v>
                  </c:pt>
                  <c:pt idx="4">
                    <c:v>HND</c:v>
                  </c:pt>
                  <c:pt idx="5">
                    <c:v>PAN</c:v>
                  </c:pt>
                  <c:pt idx="6">
                    <c:v>DOM</c:v>
                  </c:pt>
                  <c:pt idx="7">
                    <c:v>BRA</c:v>
                  </c:pt>
                  <c:pt idx="8">
                    <c:v>COL</c:v>
                  </c:pt>
                  <c:pt idx="9">
                    <c:v>BOL</c:v>
                  </c:pt>
                  <c:pt idx="10">
                    <c:v>PER</c:v>
                  </c:pt>
                  <c:pt idx="11">
                    <c:v>MEX</c:v>
                  </c:pt>
                  <c:pt idx="12">
                    <c:v>CHL</c:v>
                  </c:pt>
                  <c:pt idx="13">
                    <c:v>PRY</c:v>
                  </c:pt>
                  <c:pt idx="14">
                    <c:v>USA</c:v>
                  </c:pt>
                  <c:pt idx="15">
                    <c:v>CAN</c:v>
                  </c:pt>
                </c15:dlblRangeCache>
              </c15:datalabelsRange>
            </c:ext>
            <c:ext xmlns:c16="http://schemas.microsoft.com/office/drawing/2014/chart" uri="{C3380CC4-5D6E-409C-BE32-E72D297353CC}">
              <c16:uniqueId val="{00000000-E57A-4036-AAE1-B3AD3A47895C}"/>
            </c:ext>
          </c:extLst>
        </c:ser>
        <c:dLbls>
          <c:showLegendKey val="0"/>
          <c:showVal val="0"/>
          <c:showCatName val="0"/>
          <c:showSerName val="0"/>
          <c:showPercent val="0"/>
          <c:showBubbleSize val="0"/>
        </c:dLbls>
        <c:axId val="1996954047"/>
        <c:axId val="1996960703"/>
      </c:scatterChart>
      <c:valAx>
        <c:axId val="1996954047"/>
        <c:scaling>
          <c:orientation val="minMax"/>
          <c:min val="65"/>
        </c:scaling>
        <c:delete val="0"/>
        <c:axPos val="b"/>
        <c:majorGridlines>
          <c:spPr>
            <a:ln w="9525" cap="flat" cmpd="sng" algn="ctr">
              <a:solidFill>
                <a:schemeClr val="bg2"/>
              </a:solidFill>
              <a:round/>
            </a:ln>
            <a:effectLst/>
          </c:spPr>
        </c:majorGridlines>
        <c:numFmt formatCode="_(* #,##0.00_);_(* \(#,##0.00\);_(* &quot;-&quot;??_);_(@_)" sourceLinked="1"/>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GT"/>
          </a:p>
        </c:txPr>
        <c:crossAx val="1996960703"/>
        <c:crosses val="autoZero"/>
        <c:crossBetween val="midCat"/>
      </c:valAx>
      <c:valAx>
        <c:axId val="1996960703"/>
        <c:scaling>
          <c:orientation val="minMax"/>
        </c:scaling>
        <c:delete val="0"/>
        <c:axPos val="l"/>
        <c:majorGridlines>
          <c:spPr>
            <a:ln w="9525" cap="flat" cmpd="sng" algn="ctr">
              <a:solidFill>
                <a:schemeClr val="bg2"/>
              </a:solidFill>
              <a:round/>
            </a:ln>
            <a:effectLst/>
          </c:spPr>
        </c:majorGridlines>
        <c:numFmt formatCode="_-* #,##0.0_-;\-* #,##0.0_-;_-* &quot;-&quot;??_-;_-@_-"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GT"/>
          </a:p>
        </c:txPr>
        <c:crossAx val="1996954047"/>
        <c:crosses val="autoZero"/>
        <c:crossBetween val="midCat"/>
        <c:majorUnit val="4"/>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GT"/>
    </a:p>
  </c:txPr>
  <c:externalData r:id="rId3">
    <c:autoUpdate val="0"/>
  </c:externalData>
  <c:userShapes r:id="rId4"/>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MX"/>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spc="0" baseline="0">
                <a:solidFill>
                  <a:schemeClr val="tx1">
                    <a:lumMod val="65000"/>
                    <a:lumOff val="35000"/>
                  </a:schemeClr>
                </a:solidFill>
                <a:latin typeface="+mn-lt"/>
                <a:ea typeface="+mn-ea"/>
                <a:cs typeface="+mn-cs"/>
              </a:defRPr>
            </a:pPr>
            <a:r>
              <a:rPr lang="es-GT" sz="1800" b="1" dirty="0">
                <a:solidFill>
                  <a:srgbClr val="0B3963"/>
                </a:solidFill>
              </a:rPr>
              <a:t>Índice de rigor</a:t>
            </a:r>
            <a:r>
              <a:rPr lang="es-GT" sz="1800" b="1" baseline="0" dirty="0">
                <a:solidFill>
                  <a:srgbClr val="0B3963"/>
                </a:solidFill>
              </a:rPr>
              <a:t> de Guatemala </a:t>
            </a:r>
            <a:r>
              <a:rPr lang="es-GT" sz="1800" b="0" baseline="0" dirty="0">
                <a:solidFill>
                  <a:srgbClr val="0B3963"/>
                </a:solidFill>
              </a:rPr>
              <a:t>(porcentaje)</a:t>
            </a:r>
            <a:endParaRPr lang="es-GT" sz="1800" b="0" dirty="0">
              <a:solidFill>
                <a:srgbClr val="0B3963"/>
              </a:solidFill>
            </a:endParaRPr>
          </a:p>
        </c:rich>
      </c:tx>
      <c:layout>
        <c:manualLayout>
          <c:xMode val="edge"/>
          <c:yMode val="edge"/>
          <c:x val="0.1579288888888889"/>
          <c:y val="1.3229166666666667E-2"/>
        </c:manualLayout>
      </c:layout>
      <c:overlay val="0"/>
      <c:spPr>
        <a:noFill/>
        <a:ln>
          <a:noFill/>
        </a:ln>
        <a:effectLst/>
      </c:spPr>
      <c:txPr>
        <a:bodyPr rot="0" spcFirstLastPara="1" vertOverflow="ellipsis" vert="horz" wrap="square" anchor="ctr" anchorCtr="1"/>
        <a:lstStyle/>
        <a:p>
          <a:pPr>
            <a:defRPr sz="1800" b="1" i="0" u="none" strike="noStrike" kern="1200" spc="0" baseline="0">
              <a:solidFill>
                <a:schemeClr val="tx1">
                  <a:lumMod val="65000"/>
                  <a:lumOff val="35000"/>
                </a:schemeClr>
              </a:solidFill>
              <a:latin typeface="+mn-lt"/>
              <a:ea typeface="+mn-ea"/>
              <a:cs typeface="+mn-cs"/>
            </a:defRPr>
          </a:pPr>
          <a:endParaRPr lang="es-GT"/>
        </a:p>
      </c:txPr>
    </c:title>
    <c:autoTitleDeleted val="0"/>
    <c:plotArea>
      <c:layout>
        <c:manualLayout>
          <c:layoutTarget val="inner"/>
          <c:xMode val="edge"/>
          <c:yMode val="edge"/>
          <c:x val="8.4192777777777783E-2"/>
          <c:y val="0.19418229166666667"/>
          <c:w val="0.8899368518518519"/>
          <c:h val="0.59769340277777783"/>
        </c:manualLayout>
      </c:layout>
      <c:lineChart>
        <c:grouping val="standard"/>
        <c:varyColors val="0"/>
        <c:ser>
          <c:idx val="0"/>
          <c:order val="0"/>
          <c:tx>
            <c:strRef>
              <c:f>Hoja1!$B$1</c:f>
              <c:strCache>
                <c:ptCount val="1"/>
                <c:pt idx="0">
                  <c:v>Stringency Index</c:v>
                </c:pt>
              </c:strCache>
            </c:strRef>
          </c:tx>
          <c:spPr>
            <a:ln w="28575" cap="rnd">
              <a:solidFill>
                <a:srgbClr val="0B3963"/>
              </a:solidFill>
              <a:round/>
            </a:ln>
            <a:effectLst/>
          </c:spPr>
          <c:marker>
            <c:symbol val="none"/>
          </c:marker>
          <c:dLbls>
            <c:dLbl>
              <c:idx val="49"/>
              <c:layout>
                <c:manualLayout>
                  <c:x val="-7.0884814814814817E-2"/>
                  <c:y val="-5.867118055555555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10F0-4C3B-A5C8-243779797D96}"/>
                </c:ext>
              </c:extLst>
            </c:dLbl>
            <c:dLbl>
              <c:idx val="15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0F0-4C3B-A5C8-243779797D96}"/>
                </c:ext>
              </c:extLst>
            </c:dLbl>
            <c:dLbl>
              <c:idx val="319"/>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0F0-4C3B-A5C8-243779797D96}"/>
                </c:ext>
              </c:extLst>
            </c:dLbl>
            <c:dLbl>
              <c:idx val="389"/>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0F0-4C3B-A5C8-243779797D96}"/>
                </c:ext>
              </c:extLst>
            </c:dLbl>
            <c:dLbl>
              <c:idx val="593"/>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0F0-4C3B-A5C8-243779797D96}"/>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C00000"/>
                    </a:solidFill>
                    <a:latin typeface="+mn-lt"/>
                    <a:ea typeface="+mn-ea"/>
                    <a:cs typeface="+mn-cs"/>
                  </a:defRPr>
                </a:pPr>
                <a:endParaRPr lang="es-GT"/>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A$2:$A$596</c:f>
              <c:numCache>
                <c:formatCode>mmm\-yy</c:formatCode>
                <c:ptCount val="595"/>
                <c:pt idx="0">
                  <c:v>43831</c:v>
                </c:pt>
                <c:pt idx="1">
                  <c:v>43832</c:v>
                </c:pt>
                <c:pt idx="2">
                  <c:v>43833</c:v>
                </c:pt>
                <c:pt idx="3">
                  <c:v>43834</c:v>
                </c:pt>
                <c:pt idx="4">
                  <c:v>43835</c:v>
                </c:pt>
                <c:pt idx="5">
                  <c:v>43836</c:v>
                </c:pt>
                <c:pt idx="6">
                  <c:v>43837</c:v>
                </c:pt>
                <c:pt idx="7">
                  <c:v>43838</c:v>
                </c:pt>
                <c:pt idx="8">
                  <c:v>43839</c:v>
                </c:pt>
                <c:pt idx="9">
                  <c:v>43840</c:v>
                </c:pt>
                <c:pt idx="10">
                  <c:v>43841</c:v>
                </c:pt>
                <c:pt idx="11">
                  <c:v>43842</c:v>
                </c:pt>
                <c:pt idx="12">
                  <c:v>43843</c:v>
                </c:pt>
                <c:pt idx="13">
                  <c:v>43844</c:v>
                </c:pt>
                <c:pt idx="14">
                  <c:v>43845</c:v>
                </c:pt>
                <c:pt idx="15">
                  <c:v>43846</c:v>
                </c:pt>
                <c:pt idx="16">
                  <c:v>43847</c:v>
                </c:pt>
                <c:pt idx="17">
                  <c:v>43848</c:v>
                </c:pt>
                <c:pt idx="18">
                  <c:v>43849</c:v>
                </c:pt>
                <c:pt idx="19">
                  <c:v>43850</c:v>
                </c:pt>
                <c:pt idx="20">
                  <c:v>43851</c:v>
                </c:pt>
                <c:pt idx="21">
                  <c:v>43852</c:v>
                </c:pt>
                <c:pt idx="22">
                  <c:v>43853</c:v>
                </c:pt>
                <c:pt idx="23">
                  <c:v>43854</c:v>
                </c:pt>
                <c:pt idx="24">
                  <c:v>43855</c:v>
                </c:pt>
                <c:pt idx="25">
                  <c:v>43856</c:v>
                </c:pt>
                <c:pt idx="26">
                  <c:v>43857</c:v>
                </c:pt>
                <c:pt idx="27">
                  <c:v>43858</c:v>
                </c:pt>
                <c:pt idx="28">
                  <c:v>43859</c:v>
                </c:pt>
                <c:pt idx="29">
                  <c:v>43860</c:v>
                </c:pt>
                <c:pt idx="30">
                  <c:v>43861</c:v>
                </c:pt>
                <c:pt idx="31">
                  <c:v>43862</c:v>
                </c:pt>
                <c:pt idx="32">
                  <c:v>43863</c:v>
                </c:pt>
                <c:pt idx="33">
                  <c:v>43864</c:v>
                </c:pt>
                <c:pt idx="34">
                  <c:v>43865</c:v>
                </c:pt>
                <c:pt idx="35">
                  <c:v>43866</c:v>
                </c:pt>
                <c:pt idx="36">
                  <c:v>43867</c:v>
                </c:pt>
                <c:pt idx="37">
                  <c:v>43868</c:v>
                </c:pt>
                <c:pt idx="38">
                  <c:v>43869</c:v>
                </c:pt>
                <c:pt idx="39">
                  <c:v>43870</c:v>
                </c:pt>
                <c:pt idx="40">
                  <c:v>43871</c:v>
                </c:pt>
                <c:pt idx="41">
                  <c:v>43872</c:v>
                </c:pt>
                <c:pt idx="42">
                  <c:v>43873</c:v>
                </c:pt>
                <c:pt idx="43">
                  <c:v>43874</c:v>
                </c:pt>
                <c:pt idx="44">
                  <c:v>43875</c:v>
                </c:pt>
                <c:pt idx="45">
                  <c:v>43876</c:v>
                </c:pt>
                <c:pt idx="46">
                  <c:v>43877</c:v>
                </c:pt>
                <c:pt idx="47">
                  <c:v>43878</c:v>
                </c:pt>
                <c:pt idx="48">
                  <c:v>43879</c:v>
                </c:pt>
                <c:pt idx="49">
                  <c:v>43880</c:v>
                </c:pt>
                <c:pt idx="50">
                  <c:v>43881</c:v>
                </c:pt>
                <c:pt idx="51">
                  <c:v>43882</c:v>
                </c:pt>
                <c:pt idx="52">
                  <c:v>43883</c:v>
                </c:pt>
                <c:pt idx="53">
                  <c:v>43884</c:v>
                </c:pt>
                <c:pt idx="54">
                  <c:v>43885</c:v>
                </c:pt>
                <c:pt idx="55">
                  <c:v>43886</c:v>
                </c:pt>
                <c:pt idx="56">
                  <c:v>43887</c:v>
                </c:pt>
                <c:pt idx="57">
                  <c:v>43888</c:v>
                </c:pt>
                <c:pt idx="58">
                  <c:v>43889</c:v>
                </c:pt>
                <c:pt idx="59">
                  <c:v>43890</c:v>
                </c:pt>
                <c:pt idx="60">
                  <c:v>43891</c:v>
                </c:pt>
                <c:pt idx="61">
                  <c:v>43892</c:v>
                </c:pt>
                <c:pt idx="62">
                  <c:v>43893</c:v>
                </c:pt>
                <c:pt idx="63">
                  <c:v>43894</c:v>
                </c:pt>
                <c:pt idx="64">
                  <c:v>43895</c:v>
                </c:pt>
                <c:pt idx="65">
                  <c:v>43896</c:v>
                </c:pt>
                <c:pt idx="66">
                  <c:v>43897</c:v>
                </c:pt>
                <c:pt idx="67">
                  <c:v>43898</c:v>
                </c:pt>
                <c:pt idx="68">
                  <c:v>43899</c:v>
                </c:pt>
                <c:pt idx="69">
                  <c:v>43900</c:v>
                </c:pt>
                <c:pt idx="70">
                  <c:v>43901</c:v>
                </c:pt>
                <c:pt idx="71">
                  <c:v>43902</c:v>
                </c:pt>
                <c:pt idx="72">
                  <c:v>43903</c:v>
                </c:pt>
                <c:pt idx="73">
                  <c:v>43904</c:v>
                </c:pt>
                <c:pt idx="74">
                  <c:v>43905</c:v>
                </c:pt>
                <c:pt idx="75">
                  <c:v>43906</c:v>
                </c:pt>
                <c:pt idx="76">
                  <c:v>43907</c:v>
                </c:pt>
                <c:pt idx="77">
                  <c:v>43908</c:v>
                </c:pt>
                <c:pt idx="78">
                  <c:v>43909</c:v>
                </c:pt>
                <c:pt idx="79">
                  <c:v>43910</c:v>
                </c:pt>
                <c:pt idx="80">
                  <c:v>43911</c:v>
                </c:pt>
                <c:pt idx="81">
                  <c:v>43912</c:v>
                </c:pt>
                <c:pt idx="82">
                  <c:v>43913</c:v>
                </c:pt>
                <c:pt idx="83">
                  <c:v>43914</c:v>
                </c:pt>
                <c:pt idx="84">
                  <c:v>43915</c:v>
                </c:pt>
                <c:pt idx="85">
                  <c:v>43916</c:v>
                </c:pt>
                <c:pt idx="86">
                  <c:v>43917</c:v>
                </c:pt>
                <c:pt idx="87">
                  <c:v>43918</c:v>
                </c:pt>
                <c:pt idx="88">
                  <c:v>43919</c:v>
                </c:pt>
                <c:pt idx="89">
                  <c:v>43920</c:v>
                </c:pt>
                <c:pt idx="90">
                  <c:v>43921</c:v>
                </c:pt>
                <c:pt idx="91">
                  <c:v>43922</c:v>
                </c:pt>
                <c:pt idx="92">
                  <c:v>43923</c:v>
                </c:pt>
                <c:pt idx="93">
                  <c:v>43924</c:v>
                </c:pt>
                <c:pt idx="94">
                  <c:v>43925</c:v>
                </c:pt>
                <c:pt idx="95">
                  <c:v>43926</c:v>
                </c:pt>
                <c:pt idx="96">
                  <c:v>43927</c:v>
                </c:pt>
                <c:pt idx="97">
                  <c:v>43928</c:v>
                </c:pt>
                <c:pt idx="98">
                  <c:v>43929</c:v>
                </c:pt>
                <c:pt idx="99">
                  <c:v>43930</c:v>
                </c:pt>
                <c:pt idx="100">
                  <c:v>43931</c:v>
                </c:pt>
                <c:pt idx="101">
                  <c:v>43932</c:v>
                </c:pt>
                <c:pt idx="102">
                  <c:v>43933</c:v>
                </c:pt>
                <c:pt idx="103">
                  <c:v>43934</c:v>
                </c:pt>
                <c:pt idx="104">
                  <c:v>43935</c:v>
                </c:pt>
                <c:pt idx="105">
                  <c:v>43936</c:v>
                </c:pt>
                <c:pt idx="106">
                  <c:v>43937</c:v>
                </c:pt>
                <c:pt idx="107">
                  <c:v>43938</c:v>
                </c:pt>
                <c:pt idx="108">
                  <c:v>43939</c:v>
                </c:pt>
                <c:pt idx="109">
                  <c:v>43940</c:v>
                </c:pt>
                <c:pt idx="110">
                  <c:v>43941</c:v>
                </c:pt>
                <c:pt idx="111">
                  <c:v>43942</c:v>
                </c:pt>
                <c:pt idx="112">
                  <c:v>43943</c:v>
                </c:pt>
                <c:pt idx="113">
                  <c:v>43944</c:v>
                </c:pt>
                <c:pt idx="114">
                  <c:v>43945</c:v>
                </c:pt>
                <c:pt idx="115">
                  <c:v>43946</c:v>
                </c:pt>
                <c:pt idx="116">
                  <c:v>43947</c:v>
                </c:pt>
                <c:pt idx="117">
                  <c:v>43948</c:v>
                </c:pt>
                <c:pt idx="118">
                  <c:v>43949</c:v>
                </c:pt>
                <c:pt idx="119">
                  <c:v>43950</c:v>
                </c:pt>
                <c:pt idx="120">
                  <c:v>43951</c:v>
                </c:pt>
                <c:pt idx="121">
                  <c:v>43952</c:v>
                </c:pt>
                <c:pt idx="122">
                  <c:v>43953</c:v>
                </c:pt>
                <c:pt idx="123">
                  <c:v>43954</c:v>
                </c:pt>
                <c:pt idx="124">
                  <c:v>43955</c:v>
                </c:pt>
                <c:pt idx="125">
                  <c:v>43956</c:v>
                </c:pt>
                <c:pt idx="126">
                  <c:v>43957</c:v>
                </c:pt>
                <c:pt idx="127">
                  <c:v>43958</c:v>
                </c:pt>
                <c:pt idx="128">
                  <c:v>43959</c:v>
                </c:pt>
                <c:pt idx="129">
                  <c:v>43960</c:v>
                </c:pt>
                <c:pt idx="130">
                  <c:v>43961</c:v>
                </c:pt>
                <c:pt idx="131">
                  <c:v>43962</c:v>
                </c:pt>
                <c:pt idx="132">
                  <c:v>43963</c:v>
                </c:pt>
                <c:pt idx="133">
                  <c:v>43964</c:v>
                </c:pt>
                <c:pt idx="134">
                  <c:v>43965</c:v>
                </c:pt>
                <c:pt idx="135">
                  <c:v>43966</c:v>
                </c:pt>
                <c:pt idx="136">
                  <c:v>43967</c:v>
                </c:pt>
                <c:pt idx="137">
                  <c:v>43968</c:v>
                </c:pt>
                <c:pt idx="138">
                  <c:v>43969</c:v>
                </c:pt>
                <c:pt idx="139">
                  <c:v>43970</c:v>
                </c:pt>
                <c:pt idx="140">
                  <c:v>43971</c:v>
                </c:pt>
                <c:pt idx="141">
                  <c:v>43972</c:v>
                </c:pt>
                <c:pt idx="142">
                  <c:v>43973</c:v>
                </c:pt>
                <c:pt idx="143">
                  <c:v>43974</c:v>
                </c:pt>
                <c:pt idx="144">
                  <c:v>43975</c:v>
                </c:pt>
                <c:pt idx="145">
                  <c:v>43976</c:v>
                </c:pt>
                <c:pt idx="146">
                  <c:v>43977</c:v>
                </c:pt>
                <c:pt idx="147">
                  <c:v>43978</c:v>
                </c:pt>
                <c:pt idx="148">
                  <c:v>43979</c:v>
                </c:pt>
                <c:pt idx="149">
                  <c:v>43980</c:v>
                </c:pt>
                <c:pt idx="150">
                  <c:v>43981</c:v>
                </c:pt>
                <c:pt idx="151">
                  <c:v>43982</c:v>
                </c:pt>
                <c:pt idx="152">
                  <c:v>43983</c:v>
                </c:pt>
                <c:pt idx="153">
                  <c:v>43984</c:v>
                </c:pt>
                <c:pt idx="154">
                  <c:v>43985</c:v>
                </c:pt>
                <c:pt idx="155">
                  <c:v>43986</c:v>
                </c:pt>
                <c:pt idx="156">
                  <c:v>43987</c:v>
                </c:pt>
                <c:pt idx="157">
                  <c:v>43988</c:v>
                </c:pt>
                <c:pt idx="158">
                  <c:v>43989</c:v>
                </c:pt>
                <c:pt idx="159">
                  <c:v>43990</c:v>
                </c:pt>
                <c:pt idx="160">
                  <c:v>43991</c:v>
                </c:pt>
                <c:pt idx="161">
                  <c:v>43992</c:v>
                </c:pt>
                <c:pt idx="162">
                  <c:v>43993</c:v>
                </c:pt>
                <c:pt idx="163">
                  <c:v>43994</c:v>
                </c:pt>
                <c:pt idx="164">
                  <c:v>43995</c:v>
                </c:pt>
                <c:pt idx="165">
                  <c:v>43996</c:v>
                </c:pt>
                <c:pt idx="166">
                  <c:v>43997</c:v>
                </c:pt>
                <c:pt idx="167">
                  <c:v>43998</c:v>
                </c:pt>
                <c:pt idx="168">
                  <c:v>43999</c:v>
                </c:pt>
                <c:pt idx="169">
                  <c:v>44000</c:v>
                </c:pt>
                <c:pt idx="170">
                  <c:v>44001</c:v>
                </c:pt>
                <c:pt idx="171">
                  <c:v>44002</c:v>
                </c:pt>
                <c:pt idx="172">
                  <c:v>44003</c:v>
                </c:pt>
                <c:pt idx="173">
                  <c:v>44004</c:v>
                </c:pt>
                <c:pt idx="174">
                  <c:v>44005</c:v>
                </c:pt>
                <c:pt idx="175">
                  <c:v>44006</c:v>
                </c:pt>
                <c:pt idx="176">
                  <c:v>44007</c:v>
                </c:pt>
                <c:pt idx="177">
                  <c:v>44008</c:v>
                </c:pt>
                <c:pt idx="178">
                  <c:v>44009</c:v>
                </c:pt>
                <c:pt idx="179">
                  <c:v>44010</c:v>
                </c:pt>
                <c:pt idx="180">
                  <c:v>44011</c:v>
                </c:pt>
                <c:pt idx="181">
                  <c:v>44012</c:v>
                </c:pt>
                <c:pt idx="182">
                  <c:v>44013</c:v>
                </c:pt>
                <c:pt idx="183">
                  <c:v>44014</c:v>
                </c:pt>
                <c:pt idx="184">
                  <c:v>44015</c:v>
                </c:pt>
                <c:pt idx="185">
                  <c:v>44016</c:v>
                </c:pt>
                <c:pt idx="186">
                  <c:v>44017</c:v>
                </c:pt>
                <c:pt idx="187">
                  <c:v>44018</c:v>
                </c:pt>
                <c:pt idx="188">
                  <c:v>44019</c:v>
                </c:pt>
                <c:pt idx="189">
                  <c:v>44020</c:v>
                </c:pt>
                <c:pt idx="190">
                  <c:v>44021</c:v>
                </c:pt>
                <c:pt idx="191">
                  <c:v>44022</c:v>
                </c:pt>
                <c:pt idx="192">
                  <c:v>44023</c:v>
                </c:pt>
                <c:pt idx="193">
                  <c:v>44024</c:v>
                </c:pt>
                <c:pt idx="194">
                  <c:v>44025</c:v>
                </c:pt>
                <c:pt idx="195">
                  <c:v>44026</c:v>
                </c:pt>
                <c:pt idx="196">
                  <c:v>44027</c:v>
                </c:pt>
                <c:pt idx="197">
                  <c:v>44028</c:v>
                </c:pt>
                <c:pt idx="198">
                  <c:v>44029</c:v>
                </c:pt>
                <c:pt idx="199">
                  <c:v>44030</c:v>
                </c:pt>
                <c:pt idx="200">
                  <c:v>44031</c:v>
                </c:pt>
                <c:pt idx="201">
                  <c:v>44032</c:v>
                </c:pt>
                <c:pt idx="202">
                  <c:v>44033</c:v>
                </c:pt>
                <c:pt idx="203">
                  <c:v>44034</c:v>
                </c:pt>
                <c:pt idx="204">
                  <c:v>44035</c:v>
                </c:pt>
                <c:pt idx="205">
                  <c:v>44036</c:v>
                </c:pt>
                <c:pt idx="206">
                  <c:v>44037</c:v>
                </c:pt>
                <c:pt idx="207">
                  <c:v>44038</c:v>
                </c:pt>
                <c:pt idx="208">
                  <c:v>44039</c:v>
                </c:pt>
                <c:pt idx="209">
                  <c:v>44040</c:v>
                </c:pt>
                <c:pt idx="210">
                  <c:v>44041</c:v>
                </c:pt>
                <c:pt idx="211">
                  <c:v>44042</c:v>
                </c:pt>
                <c:pt idx="212">
                  <c:v>44043</c:v>
                </c:pt>
                <c:pt idx="213">
                  <c:v>44044</c:v>
                </c:pt>
                <c:pt idx="214">
                  <c:v>44045</c:v>
                </c:pt>
                <c:pt idx="215">
                  <c:v>44046</c:v>
                </c:pt>
                <c:pt idx="216">
                  <c:v>44047</c:v>
                </c:pt>
                <c:pt idx="217">
                  <c:v>44048</c:v>
                </c:pt>
                <c:pt idx="218">
                  <c:v>44049</c:v>
                </c:pt>
                <c:pt idx="219">
                  <c:v>44050</c:v>
                </c:pt>
                <c:pt idx="220">
                  <c:v>44051</c:v>
                </c:pt>
                <c:pt idx="221">
                  <c:v>44052</c:v>
                </c:pt>
                <c:pt idx="222">
                  <c:v>44053</c:v>
                </c:pt>
                <c:pt idx="223">
                  <c:v>44054</c:v>
                </c:pt>
                <c:pt idx="224">
                  <c:v>44055</c:v>
                </c:pt>
                <c:pt idx="225">
                  <c:v>44056</c:v>
                </c:pt>
                <c:pt idx="226">
                  <c:v>44057</c:v>
                </c:pt>
                <c:pt idx="227">
                  <c:v>44058</c:v>
                </c:pt>
                <c:pt idx="228">
                  <c:v>44059</c:v>
                </c:pt>
                <c:pt idx="229">
                  <c:v>44060</c:v>
                </c:pt>
                <c:pt idx="230">
                  <c:v>44061</c:v>
                </c:pt>
                <c:pt idx="231">
                  <c:v>44062</c:v>
                </c:pt>
                <c:pt idx="232">
                  <c:v>44063</c:v>
                </c:pt>
                <c:pt idx="233">
                  <c:v>44064</c:v>
                </c:pt>
                <c:pt idx="234">
                  <c:v>44065</c:v>
                </c:pt>
                <c:pt idx="235">
                  <c:v>44066</c:v>
                </c:pt>
                <c:pt idx="236">
                  <c:v>44067</c:v>
                </c:pt>
                <c:pt idx="237">
                  <c:v>44068</c:v>
                </c:pt>
                <c:pt idx="238">
                  <c:v>44069</c:v>
                </c:pt>
                <c:pt idx="239">
                  <c:v>44070</c:v>
                </c:pt>
                <c:pt idx="240">
                  <c:v>44071</c:v>
                </c:pt>
                <c:pt idx="241">
                  <c:v>44072</c:v>
                </c:pt>
                <c:pt idx="242">
                  <c:v>44073</c:v>
                </c:pt>
                <c:pt idx="243">
                  <c:v>44074</c:v>
                </c:pt>
                <c:pt idx="244">
                  <c:v>44075</c:v>
                </c:pt>
                <c:pt idx="245">
                  <c:v>44076</c:v>
                </c:pt>
                <c:pt idx="246">
                  <c:v>44077</c:v>
                </c:pt>
                <c:pt idx="247">
                  <c:v>44078</c:v>
                </c:pt>
                <c:pt idx="248">
                  <c:v>44079</c:v>
                </c:pt>
                <c:pt idx="249">
                  <c:v>44080</c:v>
                </c:pt>
                <c:pt idx="250">
                  <c:v>44081</c:v>
                </c:pt>
                <c:pt idx="251">
                  <c:v>44082</c:v>
                </c:pt>
                <c:pt idx="252">
                  <c:v>44083</c:v>
                </c:pt>
                <c:pt idx="253">
                  <c:v>44084</c:v>
                </c:pt>
                <c:pt idx="254">
                  <c:v>44085</c:v>
                </c:pt>
                <c:pt idx="255">
                  <c:v>44086</c:v>
                </c:pt>
                <c:pt idx="256">
                  <c:v>44087</c:v>
                </c:pt>
                <c:pt idx="257">
                  <c:v>44088</c:v>
                </c:pt>
                <c:pt idx="258">
                  <c:v>44089</c:v>
                </c:pt>
                <c:pt idx="259">
                  <c:v>44090</c:v>
                </c:pt>
                <c:pt idx="260">
                  <c:v>44091</c:v>
                </c:pt>
                <c:pt idx="261">
                  <c:v>44092</c:v>
                </c:pt>
                <c:pt idx="262">
                  <c:v>44093</c:v>
                </c:pt>
                <c:pt idx="263">
                  <c:v>44094</c:v>
                </c:pt>
                <c:pt idx="264">
                  <c:v>44095</c:v>
                </c:pt>
                <c:pt idx="265">
                  <c:v>44096</c:v>
                </c:pt>
                <c:pt idx="266">
                  <c:v>44097</c:v>
                </c:pt>
                <c:pt idx="267">
                  <c:v>44098</c:v>
                </c:pt>
                <c:pt idx="268">
                  <c:v>44099</c:v>
                </c:pt>
                <c:pt idx="269">
                  <c:v>44100</c:v>
                </c:pt>
                <c:pt idx="270">
                  <c:v>44101</c:v>
                </c:pt>
                <c:pt idx="271">
                  <c:v>44102</c:v>
                </c:pt>
                <c:pt idx="272">
                  <c:v>44103</c:v>
                </c:pt>
                <c:pt idx="273">
                  <c:v>44104</c:v>
                </c:pt>
                <c:pt idx="274">
                  <c:v>44105</c:v>
                </c:pt>
                <c:pt idx="275">
                  <c:v>44106</c:v>
                </c:pt>
                <c:pt idx="276">
                  <c:v>44107</c:v>
                </c:pt>
                <c:pt idx="277">
                  <c:v>44108</c:v>
                </c:pt>
                <c:pt idx="278">
                  <c:v>44109</c:v>
                </c:pt>
                <c:pt idx="279">
                  <c:v>44110</c:v>
                </c:pt>
                <c:pt idx="280">
                  <c:v>44111</c:v>
                </c:pt>
                <c:pt idx="281">
                  <c:v>44112</c:v>
                </c:pt>
                <c:pt idx="282">
                  <c:v>44113</c:v>
                </c:pt>
                <c:pt idx="283">
                  <c:v>44114</c:v>
                </c:pt>
                <c:pt idx="284">
                  <c:v>44115</c:v>
                </c:pt>
                <c:pt idx="285">
                  <c:v>44116</c:v>
                </c:pt>
                <c:pt idx="286">
                  <c:v>44117</c:v>
                </c:pt>
                <c:pt idx="287">
                  <c:v>44118</c:v>
                </c:pt>
                <c:pt idx="288">
                  <c:v>44119</c:v>
                </c:pt>
                <c:pt idx="289">
                  <c:v>44120</c:v>
                </c:pt>
                <c:pt idx="290">
                  <c:v>44121</c:v>
                </c:pt>
                <c:pt idx="291">
                  <c:v>44122</c:v>
                </c:pt>
                <c:pt idx="292">
                  <c:v>44123</c:v>
                </c:pt>
                <c:pt idx="293">
                  <c:v>44124</c:v>
                </c:pt>
                <c:pt idx="294">
                  <c:v>44125</c:v>
                </c:pt>
                <c:pt idx="295">
                  <c:v>44126</c:v>
                </c:pt>
                <c:pt idx="296">
                  <c:v>44127</c:v>
                </c:pt>
                <c:pt idx="297">
                  <c:v>44128</c:v>
                </c:pt>
                <c:pt idx="298">
                  <c:v>44129</c:v>
                </c:pt>
                <c:pt idx="299">
                  <c:v>44130</c:v>
                </c:pt>
                <c:pt idx="300">
                  <c:v>44131</c:v>
                </c:pt>
                <c:pt idx="301">
                  <c:v>44132</c:v>
                </c:pt>
                <c:pt idx="302">
                  <c:v>44133</c:v>
                </c:pt>
                <c:pt idx="303">
                  <c:v>44134</c:v>
                </c:pt>
                <c:pt idx="304">
                  <c:v>44135</c:v>
                </c:pt>
                <c:pt idx="305">
                  <c:v>44136</c:v>
                </c:pt>
                <c:pt idx="306">
                  <c:v>44137</c:v>
                </c:pt>
                <c:pt idx="307">
                  <c:v>44138</c:v>
                </c:pt>
                <c:pt idx="308">
                  <c:v>44139</c:v>
                </c:pt>
                <c:pt idx="309">
                  <c:v>44140</c:v>
                </c:pt>
                <c:pt idx="310">
                  <c:v>44141</c:v>
                </c:pt>
                <c:pt idx="311">
                  <c:v>44142</c:v>
                </c:pt>
                <c:pt idx="312">
                  <c:v>44143</c:v>
                </c:pt>
                <c:pt idx="313">
                  <c:v>44144</c:v>
                </c:pt>
                <c:pt idx="314">
                  <c:v>44145</c:v>
                </c:pt>
                <c:pt idx="315">
                  <c:v>44146</c:v>
                </c:pt>
                <c:pt idx="316">
                  <c:v>44147</c:v>
                </c:pt>
                <c:pt idx="317">
                  <c:v>44148</c:v>
                </c:pt>
                <c:pt idx="318">
                  <c:v>44149</c:v>
                </c:pt>
                <c:pt idx="319">
                  <c:v>44150</c:v>
                </c:pt>
                <c:pt idx="320">
                  <c:v>44151</c:v>
                </c:pt>
                <c:pt idx="321">
                  <c:v>44152</c:v>
                </c:pt>
                <c:pt idx="322">
                  <c:v>44153</c:v>
                </c:pt>
                <c:pt idx="323">
                  <c:v>44154</c:v>
                </c:pt>
                <c:pt idx="324">
                  <c:v>44155</c:v>
                </c:pt>
                <c:pt idx="325">
                  <c:v>44156</c:v>
                </c:pt>
                <c:pt idx="326">
                  <c:v>44157</c:v>
                </c:pt>
                <c:pt idx="327">
                  <c:v>44158</c:v>
                </c:pt>
                <c:pt idx="328">
                  <c:v>44159</c:v>
                </c:pt>
                <c:pt idx="329">
                  <c:v>44160</c:v>
                </c:pt>
                <c:pt idx="330">
                  <c:v>44161</c:v>
                </c:pt>
                <c:pt idx="331">
                  <c:v>44162</c:v>
                </c:pt>
                <c:pt idx="332">
                  <c:v>44163</c:v>
                </c:pt>
                <c:pt idx="333">
                  <c:v>44164</c:v>
                </c:pt>
                <c:pt idx="334">
                  <c:v>44165</c:v>
                </c:pt>
                <c:pt idx="335">
                  <c:v>44166</c:v>
                </c:pt>
                <c:pt idx="336">
                  <c:v>44167</c:v>
                </c:pt>
                <c:pt idx="337">
                  <c:v>44168</c:v>
                </c:pt>
                <c:pt idx="338">
                  <c:v>44169</c:v>
                </c:pt>
                <c:pt idx="339">
                  <c:v>44170</c:v>
                </c:pt>
                <c:pt idx="340">
                  <c:v>44171</c:v>
                </c:pt>
                <c:pt idx="341">
                  <c:v>44172</c:v>
                </c:pt>
                <c:pt idx="342">
                  <c:v>44173</c:v>
                </c:pt>
                <c:pt idx="343">
                  <c:v>44174</c:v>
                </c:pt>
                <c:pt idx="344">
                  <c:v>44175</c:v>
                </c:pt>
                <c:pt idx="345">
                  <c:v>44176</c:v>
                </c:pt>
                <c:pt idx="346">
                  <c:v>44177</c:v>
                </c:pt>
                <c:pt idx="347">
                  <c:v>44178</c:v>
                </c:pt>
                <c:pt idx="348">
                  <c:v>44179</c:v>
                </c:pt>
                <c:pt idx="349">
                  <c:v>44180</c:v>
                </c:pt>
                <c:pt idx="350">
                  <c:v>44181</c:v>
                </c:pt>
                <c:pt idx="351">
                  <c:v>44182</c:v>
                </c:pt>
                <c:pt idx="352">
                  <c:v>44183</c:v>
                </c:pt>
                <c:pt idx="353">
                  <c:v>44184</c:v>
                </c:pt>
                <c:pt idx="354">
                  <c:v>44185</c:v>
                </c:pt>
                <c:pt idx="355">
                  <c:v>44186</c:v>
                </c:pt>
                <c:pt idx="356">
                  <c:v>44187</c:v>
                </c:pt>
                <c:pt idx="357">
                  <c:v>44188</c:v>
                </c:pt>
                <c:pt idx="358">
                  <c:v>44189</c:v>
                </c:pt>
                <c:pt idx="359">
                  <c:v>44190</c:v>
                </c:pt>
                <c:pt idx="360">
                  <c:v>44191</c:v>
                </c:pt>
                <c:pt idx="361">
                  <c:v>44192</c:v>
                </c:pt>
                <c:pt idx="362">
                  <c:v>44193</c:v>
                </c:pt>
                <c:pt idx="363">
                  <c:v>44194</c:v>
                </c:pt>
                <c:pt idx="364">
                  <c:v>44195</c:v>
                </c:pt>
                <c:pt idx="365">
                  <c:v>44196</c:v>
                </c:pt>
                <c:pt idx="366">
                  <c:v>44197</c:v>
                </c:pt>
                <c:pt idx="367">
                  <c:v>44198</c:v>
                </c:pt>
                <c:pt idx="368">
                  <c:v>44199</c:v>
                </c:pt>
                <c:pt idx="369">
                  <c:v>44200</c:v>
                </c:pt>
                <c:pt idx="370">
                  <c:v>44201</c:v>
                </c:pt>
                <c:pt idx="371">
                  <c:v>44202</c:v>
                </c:pt>
                <c:pt idx="372">
                  <c:v>44203</c:v>
                </c:pt>
                <c:pt idx="373">
                  <c:v>44204</c:v>
                </c:pt>
                <c:pt idx="374">
                  <c:v>44205</c:v>
                </c:pt>
                <c:pt idx="375">
                  <c:v>44206</c:v>
                </c:pt>
                <c:pt idx="376">
                  <c:v>44207</c:v>
                </c:pt>
                <c:pt idx="377">
                  <c:v>44208</c:v>
                </c:pt>
                <c:pt idx="378">
                  <c:v>44209</c:v>
                </c:pt>
                <c:pt idx="379">
                  <c:v>44210</c:v>
                </c:pt>
                <c:pt idx="380">
                  <c:v>44211</c:v>
                </c:pt>
                <c:pt idx="381">
                  <c:v>44212</c:v>
                </c:pt>
                <c:pt idx="382">
                  <c:v>44213</c:v>
                </c:pt>
                <c:pt idx="383">
                  <c:v>44214</c:v>
                </c:pt>
                <c:pt idx="384">
                  <c:v>44215</c:v>
                </c:pt>
                <c:pt idx="385">
                  <c:v>44216</c:v>
                </c:pt>
                <c:pt idx="386">
                  <c:v>44217</c:v>
                </c:pt>
                <c:pt idx="387">
                  <c:v>44218</c:v>
                </c:pt>
                <c:pt idx="388">
                  <c:v>44219</c:v>
                </c:pt>
                <c:pt idx="389">
                  <c:v>44220</c:v>
                </c:pt>
                <c:pt idx="390">
                  <c:v>44221</c:v>
                </c:pt>
                <c:pt idx="391">
                  <c:v>44222</c:v>
                </c:pt>
                <c:pt idx="392">
                  <c:v>44223</c:v>
                </c:pt>
                <c:pt idx="393">
                  <c:v>44224</c:v>
                </c:pt>
                <c:pt idx="394">
                  <c:v>44225</c:v>
                </c:pt>
                <c:pt idx="395">
                  <c:v>44226</c:v>
                </c:pt>
                <c:pt idx="396">
                  <c:v>44227</c:v>
                </c:pt>
                <c:pt idx="397">
                  <c:v>44228</c:v>
                </c:pt>
                <c:pt idx="398">
                  <c:v>44229</c:v>
                </c:pt>
                <c:pt idx="399">
                  <c:v>44230</c:v>
                </c:pt>
                <c:pt idx="400">
                  <c:v>44231</c:v>
                </c:pt>
                <c:pt idx="401">
                  <c:v>44232</c:v>
                </c:pt>
                <c:pt idx="402">
                  <c:v>44233</c:v>
                </c:pt>
                <c:pt idx="403">
                  <c:v>44234</c:v>
                </c:pt>
                <c:pt idx="404">
                  <c:v>44235</c:v>
                </c:pt>
                <c:pt idx="405">
                  <c:v>44236</c:v>
                </c:pt>
                <c:pt idx="406">
                  <c:v>44237</c:v>
                </c:pt>
                <c:pt idx="407">
                  <c:v>44238</c:v>
                </c:pt>
                <c:pt idx="408">
                  <c:v>44239</c:v>
                </c:pt>
                <c:pt idx="409">
                  <c:v>44240</c:v>
                </c:pt>
                <c:pt idx="410">
                  <c:v>44241</c:v>
                </c:pt>
                <c:pt idx="411">
                  <c:v>44242</c:v>
                </c:pt>
                <c:pt idx="412">
                  <c:v>44243</c:v>
                </c:pt>
                <c:pt idx="413">
                  <c:v>44244</c:v>
                </c:pt>
                <c:pt idx="414">
                  <c:v>44245</c:v>
                </c:pt>
                <c:pt idx="415">
                  <c:v>44246</c:v>
                </c:pt>
                <c:pt idx="416">
                  <c:v>44247</c:v>
                </c:pt>
                <c:pt idx="417">
                  <c:v>44248</c:v>
                </c:pt>
                <c:pt idx="418">
                  <c:v>44249</c:v>
                </c:pt>
                <c:pt idx="419">
                  <c:v>44250</c:v>
                </c:pt>
                <c:pt idx="420">
                  <c:v>44251</c:v>
                </c:pt>
                <c:pt idx="421">
                  <c:v>44252</c:v>
                </c:pt>
                <c:pt idx="422">
                  <c:v>44253</c:v>
                </c:pt>
                <c:pt idx="423">
                  <c:v>44254</c:v>
                </c:pt>
                <c:pt idx="424">
                  <c:v>44255</c:v>
                </c:pt>
                <c:pt idx="425">
                  <c:v>44256</c:v>
                </c:pt>
                <c:pt idx="426">
                  <c:v>44257</c:v>
                </c:pt>
                <c:pt idx="427">
                  <c:v>44258</c:v>
                </c:pt>
                <c:pt idx="428">
                  <c:v>44259</c:v>
                </c:pt>
                <c:pt idx="429">
                  <c:v>44260</c:v>
                </c:pt>
                <c:pt idx="430">
                  <c:v>44261</c:v>
                </c:pt>
                <c:pt idx="431">
                  <c:v>44262</c:v>
                </c:pt>
                <c:pt idx="432">
                  <c:v>44263</c:v>
                </c:pt>
                <c:pt idx="433">
                  <c:v>44264</c:v>
                </c:pt>
                <c:pt idx="434">
                  <c:v>44265</c:v>
                </c:pt>
                <c:pt idx="435">
                  <c:v>44266</c:v>
                </c:pt>
                <c:pt idx="436">
                  <c:v>44267</c:v>
                </c:pt>
                <c:pt idx="437">
                  <c:v>44268</c:v>
                </c:pt>
                <c:pt idx="438">
                  <c:v>44269</c:v>
                </c:pt>
                <c:pt idx="439">
                  <c:v>44270</c:v>
                </c:pt>
                <c:pt idx="440">
                  <c:v>44271</c:v>
                </c:pt>
                <c:pt idx="441">
                  <c:v>44272</c:v>
                </c:pt>
                <c:pt idx="442">
                  <c:v>44273</c:v>
                </c:pt>
                <c:pt idx="443">
                  <c:v>44274</c:v>
                </c:pt>
                <c:pt idx="444">
                  <c:v>44275</c:v>
                </c:pt>
                <c:pt idx="445">
                  <c:v>44276</c:v>
                </c:pt>
                <c:pt idx="446">
                  <c:v>44277</c:v>
                </c:pt>
                <c:pt idx="447">
                  <c:v>44278</c:v>
                </c:pt>
                <c:pt idx="448">
                  <c:v>44279</c:v>
                </c:pt>
                <c:pt idx="449">
                  <c:v>44280</c:v>
                </c:pt>
                <c:pt idx="450">
                  <c:v>44281</c:v>
                </c:pt>
                <c:pt idx="451">
                  <c:v>44282</c:v>
                </c:pt>
                <c:pt idx="452">
                  <c:v>44283</c:v>
                </c:pt>
                <c:pt idx="453">
                  <c:v>44284</c:v>
                </c:pt>
                <c:pt idx="454">
                  <c:v>44285</c:v>
                </c:pt>
                <c:pt idx="455">
                  <c:v>44286</c:v>
                </c:pt>
                <c:pt idx="456">
                  <c:v>44287</c:v>
                </c:pt>
                <c:pt idx="457">
                  <c:v>44288</c:v>
                </c:pt>
                <c:pt idx="458">
                  <c:v>44289</c:v>
                </c:pt>
                <c:pt idx="459">
                  <c:v>44290</c:v>
                </c:pt>
                <c:pt idx="460">
                  <c:v>44291</c:v>
                </c:pt>
                <c:pt idx="461">
                  <c:v>44292</c:v>
                </c:pt>
                <c:pt idx="462">
                  <c:v>44293</c:v>
                </c:pt>
                <c:pt idx="463">
                  <c:v>44294</c:v>
                </c:pt>
                <c:pt idx="464">
                  <c:v>44295</c:v>
                </c:pt>
                <c:pt idx="465">
                  <c:v>44296</c:v>
                </c:pt>
                <c:pt idx="466">
                  <c:v>44297</c:v>
                </c:pt>
                <c:pt idx="467">
                  <c:v>44298</c:v>
                </c:pt>
                <c:pt idx="468">
                  <c:v>44299</c:v>
                </c:pt>
                <c:pt idx="469">
                  <c:v>44300</c:v>
                </c:pt>
                <c:pt idx="470">
                  <c:v>44301</c:v>
                </c:pt>
                <c:pt idx="471">
                  <c:v>44302</c:v>
                </c:pt>
                <c:pt idx="472">
                  <c:v>44303</c:v>
                </c:pt>
                <c:pt idx="473">
                  <c:v>44304</c:v>
                </c:pt>
                <c:pt idx="474">
                  <c:v>44305</c:v>
                </c:pt>
                <c:pt idx="475">
                  <c:v>44306</c:v>
                </c:pt>
                <c:pt idx="476">
                  <c:v>44307</c:v>
                </c:pt>
                <c:pt idx="477">
                  <c:v>44308</c:v>
                </c:pt>
                <c:pt idx="478">
                  <c:v>44309</c:v>
                </c:pt>
                <c:pt idx="479">
                  <c:v>44310</c:v>
                </c:pt>
                <c:pt idx="480">
                  <c:v>44311</c:v>
                </c:pt>
                <c:pt idx="481">
                  <c:v>44312</c:v>
                </c:pt>
                <c:pt idx="482">
                  <c:v>44313</c:v>
                </c:pt>
                <c:pt idx="483">
                  <c:v>44314</c:v>
                </c:pt>
                <c:pt idx="484">
                  <c:v>44315</c:v>
                </c:pt>
                <c:pt idx="485">
                  <c:v>44316</c:v>
                </c:pt>
                <c:pt idx="486">
                  <c:v>44317</c:v>
                </c:pt>
                <c:pt idx="487">
                  <c:v>44318</c:v>
                </c:pt>
                <c:pt idx="488">
                  <c:v>44319</c:v>
                </c:pt>
                <c:pt idx="489">
                  <c:v>44320</c:v>
                </c:pt>
                <c:pt idx="490">
                  <c:v>44321</c:v>
                </c:pt>
                <c:pt idx="491">
                  <c:v>44322</c:v>
                </c:pt>
                <c:pt idx="492">
                  <c:v>44323</c:v>
                </c:pt>
                <c:pt idx="493">
                  <c:v>44324</c:v>
                </c:pt>
                <c:pt idx="494">
                  <c:v>44325</c:v>
                </c:pt>
                <c:pt idx="495">
                  <c:v>44326</c:v>
                </c:pt>
                <c:pt idx="496">
                  <c:v>44327</c:v>
                </c:pt>
                <c:pt idx="497">
                  <c:v>44328</c:v>
                </c:pt>
                <c:pt idx="498">
                  <c:v>44329</c:v>
                </c:pt>
                <c:pt idx="499">
                  <c:v>44330</c:v>
                </c:pt>
                <c:pt idx="500">
                  <c:v>44331</c:v>
                </c:pt>
                <c:pt idx="501">
                  <c:v>44332</c:v>
                </c:pt>
                <c:pt idx="502">
                  <c:v>44333</c:v>
                </c:pt>
                <c:pt idx="503">
                  <c:v>44334</c:v>
                </c:pt>
                <c:pt idx="504">
                  <c:v>44335</c:v>
                </c:pt>
                <c:pt idx="505">
                  <c:v>44336</c:v>
                </c:pt>
                <c:pt idx="506">
                  <c:v>44337</c:v>
                </c:pt>
                <c:pt idx="507">
                  <c:v>44338</c:v>
                </c:pt>
                <c:pt idx="508">
                  <c:v>44339</c:v>
                </c:pt>
                <c:pt idx="509">
                  <c:v>44340</c:v>
                </c:pt>
                <c:pt idx="510">
                  <c:v>44341</c:v>
                </c:pt>
                <c:pt idx="511">
                  <c:v>44342</c:v>
                </c:pt>
                <c:pt idx="512">
                  <c:v>44343</c:v>
                </c:pt>
                <c:pt idx="513">
                  <c:v>44344</c:v>
                </c:pt>
                <c:pt idx="514">
                  <c:v>44345</c:v>
                </c:pt>
                <c:pt idx="515">
                  <c:v>44346</c:v>
                </c:pt>
                <c:pt idx="516">
                  <c:v>44347</c:v>
                </c:pt>
                <c:pt idx="517">
                  <c:v>44348</c:v>
                </c:pt>
                <c:pt idx="518">
                  <c:v>44349</c:v>
                </c:pt>
                <c:pt idx="519">
                  <c:v>44350</c:v>
                </c:pt>
                <c:pt idx="520">
                  <c:v>44351</c:v>
                </c:pt>
                <c:pt idx="521">
                  <c:v>44352</c:v>
                </c:pt>
                <c:pt idx="522">
                  <c:v>44353</c:v>
                </c:pt>
                <c:pt idx="523">
                  <c:v>44354</c:v>
                </c:pt>
                <c:pt idx="524">
                  <c:v>44355</c:v>
                </c:pt>
                <c:pt idx="525">
                  <c:v>44356</c:v>
                </c:pt>
                <c:pt idx="526">
                  <c:v>44357</c:v>
                </c:pt>
                <c:pt idx="527">
                  <c:v>44358</c:v>
                </c:pt>
                <c:pt idx="528">
                  <c:v>44359</c:v>
                </c:pt>
                <c:pt idx="529">
                  <c:v>44360</c:v>
                </c:pt>
                <c:pt idx="530">
                  <c:v>44361</c:v>
                </c:pt>
                <c:pt idx="531">
                  <c:v>44362</c:v>
                </c:pt>
                <c:pt idx="532">
                  <c:v>44363</c:v>
                </c:pt>
                <c:pt idx="533">
                  <c:v>44364</c:v>
                </c:pt>
                <c:pt idx="534">
                  <c:v>44365</c:v>
                </c:pt>
                <c:pt idx="535">
                  <c:v>44366</c:v>
                </c:pt>
                <c:pt idx="536">
                  <c:v>44367</c:v>
                </c:pt>
                <c:pt idx="537">
                  <c:v>44368</c:v>
                </c:pt>
                <c:pt idx="538">
                  <c:v>44369</c:v>
                </c:pt>
                <c:pt idx="539">
                  <c:v>44370</c:v>
                </c:pt>
                <c:pt idx="540">
                  <c:v>44371</c:v>
                </c:pt>
                <c:pt idx="541">
                  <c:v>44372</c:v>
                </c:pt>
                <c:pt idx="542">
                  <c:v>44373</c:v>
                </c:pt>
                <c:pt idx="543">
                  <c:v>44374</c:v>
                </c:pt>
                <c:pt idx="544">
                  <c:v>44375</c:v>
                </c:pt>
                <c:pt idx="545">
                  <c:v>44376</c:v>
                </c:pt>
                <c:pt idx="546">
                  <c:v>44377</c:v>
                </c:pt>
                <c:pt idx="547">
                  <c:v>44378</c:v>
                </c:pt>
                <c:pt idx="548">
                  <c:v>44379</c:v>
                </c:pt>
                <c:pt idx="549">
                  <c:v>44380</c:v>
                </c:pt>
                <c:pt idx="550">
                  <c:v>44381</c:v>
                </c:pt>
                <c:pt idx="551">
                  <c:v>44382</c:v>
                </c:pt>
                <c:pt idx="552">
                  <c:v>44383</c:v>
                </c:pt>
                <c:pt idx="553">
                  <c:v>44384</c:v>
                </c:pt>
                <c:pt idx="554">
                  <c:v>44385</c:v>
                </c:pt>
                <c:pt idx="555">
                  <c:v>44386</c:v>
                </c:pt>
                <c:pt idx="556">
                  <c:v>44387</c:v>
                </c:pt>
                <c:pt idx="557">
                  <c:v>44388</c:v>
                </c:pt>
                <c:pt idx="558">
                  <c:v>44389</c:v>
                </c:pt>
                <c:pt idx="559">
                  <c:v>44390</c:v>
                </c:pt>
                <c:pt idx="560">
                  <c:v>44391</c:v>
                </c:pt>
                <c:pt idx="561">
                  <c:v>44392</c:v>
                </c:pt>
                <c:pt idx="562">
                  <c:v>44393</c:v>
                </c:pt>
                <c:pt idx="563">
                  <c:v>44394</c:v>
                </c:pt>
                <c:pt idx="564">
                  <c:v>44395</c:v>
                </c:pt>
                <c:pt idx="565">
                  <c:v>44396</c:v>
                </c:pt>
                <c:pt idx="566">
                  <c:v>44397</c:v>
                </c:pt>
                <c:pt idx="567">
                  <c:v>44398</c:v>
                </c:pt>
                <c:pt idx="568">
                  <c:v>44399</c:v>
                </c:pt>
                <c:pt idx="569">
                  <c:v>44400</c:v>
                </c:pt>
                <c:pt idx="570">
                  <c:v>44401</c:v>
                </c:pt>
                <c:pt idx="571">
                  <c:v>44402</c:v>
                </c:pt>
                <c:pt idx="572">
                  <c:v>44403</c:v>
                </c:pt>
                <c:pt idx="573">
                  <c:v>44404</c:v>
                </c:pt>
                <c:pt idx="574">
                  <c:v>44405</c:v>
                </c:pt>
                <c:pt idx="575">
                  <c:v>44406</c:v>
                </c:pt>
                <c:pt idx="576">
                  <c:v>44407</c:v>
                </c:pt>
                <c:pt idx="577">
                  <c:v>44408</c:v>
                </c:pt>
                <c:pt idx="578">
                  <c:v>44409</c:v>
                </c:pt>
                <c:pt idx="579">
                  <c:v>44410</c:v>
                </c:pt>
                <c:pt idx="580">
                  <c:v>44411</c:v>
                </c:pt>
                <c:pt idx="581">
                  <c:v>44412</c:v>
                </c:pt>
                <c:pt idx="582">
                  <c:v>44413</c:v>
                </c:pt>
                <c:pt idx="583">
                  <c:v>44414</c:v>
                </c:pt>
                <c:pt idx="584">
                  <c:v>44415</c:v>
                </c:pt>
                <c:pt idx="585">
                  <c:v>44416</c:v>
                </c:pt>
                <c:pt idx="586">
                  <c:v>44417</c:v>
                </c:pt>
                <c:pt idx="587">
                  <c:v>44418</c:v>
                </c:pt>
                <c:pt idx="588">
                  <c:v>44419</c:v>
                </c:pt>
                <c:pt idx="589">
                  <c:v>44420</c:v>
                </c:pt>
                <c:pt idx="590">
                  <c:v>44421</c:v>
                </c:pt>
                <c:pt idx="591">
                  <c:v>44422</c:v>
                </c:pt>
                <c:pt idx="592">
                  <c:v>44423</c:v>
                </c:pt>
                <c:pt idx="593">
                  <c:v>44424</c:v>
                </c:pt>
                <c:pt idx="594">
                  <c:v>44425</c:v>
                </c:pt>
              </c:numCache>
            </c:numRef>
          </c:cat>
          <c:val>
            <c:numRef>
              <c:f>Hoja1!$B$2:$B$596</c:f>
              <c:numCache>
                <c:formatCode>0.0</c:formatCode>
                <c:ptCount val="59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2.78</c:v>
                </c:pt>
                <c:pt idx="21">
                  <c:v>2.78</c:v>
                </c:pt>
                <c:pt idx="22">
                  <c:v>2.78</c:v>
                </c:pt>
                <c:pt idx="23">
                  <c:v>2.78</c:v>
                </c:pt>
                <c:pt idx="24">
                  <c:v>2.78</c:v>
                </c:pt>
                <c:pt idx="25">
                  <c:v>2.78</c:v>
                </c:pt>
                <c:pt idx="26">
                  <c:v>2.78</c:v>
                </c:pt>
                <c:pt idx="27">
                  <c:v>8.33</c:v>
                </c:pt>
                <c:pt idx="28">
                  <c:v>8.33</c:v>
                </c:pt>
                <c:pt idx="29">
                  <c:v>8.33</c:v>
                </c:pt>
                <c:pt idx="30">
                  <c:v>11.11</c:v>
                </c:pt>
                <c:pt idx="31">
                  <c:v>11.11</c:v>
                </c:pt>
                <c:pt idx="32">
                  <c:v>11.11</c:v>
                </c:pt>
                <c:pt idx="33">
                  <c:v>11.11</c:v>
                </c:pt>
                <c:pt idx="34">
                  <c:v>11.11</c:v>
                </c:pt>
                <c:pt idx="35">
                  <c:v>11.11</c:v>
                </c:pt>
                <c:pt idx="36">
                  <c:v>11.11</c:v>
                </c:pt>
                <c:pt idx="37">
                  <c:v>11.11</c:v>
                </c:pt>
                <c:pt idx="38">
                  <c:v>11.11</c:v>
                </c:pt>
                <c:pt idx="39">
                  <c:v>11.11</c:v>
                </c:pt>
                <c:pt idx="40">
                  <c:v>11.11</c:v>
                </c:pt>
                <c:pt idx="41">
                  <c:v>11.11</c:v>
                </c:pt>
                <c:pt idx="42">
                  <c:v>11.11</c:v>
                </c:pt>
                <c:pt idx="43">
                  <c:v>11.11</c:v>
                </c:pt>
                <c:pt idx="44">
                  <c:v>11.11</c:v>
                </c:pt>
                <c:pt idx="45">
                  <c:v>11.11</c:v>
                </c:pt>
                <c:pt idx="46">
                  <c:v>11.11</c:v>
                </c:pt>
                <c:pt idx="47">
                  <c:v>11.11</c:v>
                </c:pt>
                <c:pt idx="48">
                  <c:v>11.11</c:v>
                </c:pt>
                <c:pt idx="49">
                  <c:v>11.11</c:v>
                </c:pt>
                <c:pt idx="50">
                  <c:v>11.11</c:v>
                </c:pt>
                <c:pt idx="51">
                  <c:v>11.11</c:v>
                </c:pt>
                <c:pt idx="52">
                  <c:v>11.11</c:v>
                </c:pt>
                <c:pt idx="53">
                  <c:v>11.11</c:v>
                </c:pt>
                <c:pt idx="54">
                  <c:v>11.11</c:v>
                </c:pt>
                <c:pt idx="55">
                  <c:v>11.11</c:v>
                </c:pt>
                <c:pt idx="56">
                  <c:v>11.11</c:v>
                </c:pt>
                <c:pt idx="57">
                  <c:v>11.11</c:v>
                </c:pt>
                <c:pt idx="58">
                  <c:v>11.11</c:v>
                </c:pt>
                <c:pt idx="59">
                  <c:v>11.11</c:v>
                </c:pt>
                <c:pt idx="60">
                  <c:v>11.11</c:v>
                </c:pt>
                <c:pt idx="61">
                  <c:v>11.11</c:v>
                </c:pt>
                <c:pt idx="62">
                  <c:v>11.11</c:v>
                </c:pt>
                <c:pt idx="63">
                  <c:v>11.11</c:v>
                </c:pt>
                <c:pt idx="64">
                  <c:v>11.11</c:v>
                </c:pt>
                <c:pt idx="65">
                  <c:v>25</c:v>
                </c:pt>
                <c:pt idx="66">
                  <c:v>25</c:v>
                </c:pt>
                <c:pt idx="67">
                  <c:v>25</c:v>
                </c:pt>
                <c:pt idx="68">
                  <c:v>30.56</c:v>
                </c:pt>
                <c:pt idx="69">
                  <c:v>30.56</c:v>
                </c:pt>
                <c:pt idx="70">
                  <c:v>30.56</c:v>
                </c:pt>
                <c:pt idx="71">
                  <c:v>33.33</c:v>
                </c:pt>
                <c:pt idx="72">
                  <c:v>33.33</c:v>
                </c:pt>
                <c:pt idx="73">
                  <c:v>33.33</c:v>
                </c:pt>
                <c:pt idx="74">
                  <c:v>41.67</c:v>
                </c:pt>
                <c:pt idx="75">
                  <c:v>52.78</c:v>
                </c:pt>
                <c:pt idx="76">
                  <c:v>83.33</c:v>
                </c:pt>
                <c:pt idx="77">
                  <c:v>83.33</c:v>
                </c:pt>
                <c:pt idx="78">
                  <c:v>83.33</c:v>
                </c:pt>
                <c:pt idx="79">
                  <c:v>83.33</c:v>
                </c:pt>
                <c:pt idx="80">
                  <c:v>83.33</c:v>
                </c:pt>
                <c:pt idx="81">
                  <c:v>93.52</c:v>
                </c:pt>
                <c:pt idx="82">
                  <c:v>93.52</c:v>
                </c:pt>
                <c:pt idx="83">
                  <c:v>93.52</c:v>
                </c:pt>
                <c:pt idx="84">
                  <c:v>93.52</c:v>
                </c:pt>
                <c:pt idx="85">
                  <c:v>93.52</c:v>
                </c:pt>
                <c:pt idx="86">
                  <c:v>93.52</c:v>
                </c:pt>
                <c:pt idx="87">
                  <c:v>93.52</c:v>
                </c:pt>
                <c:pt idx="88">
                  <c:v>93.52</c:v>
                </c:pt>
                <c:pt idx="89">
                  <c:v>93.52</c:v>
                </c:pt>
                <c:pt idx="90">
                  <c:v>93.52</c:v>
                </c:pt>
                <c:pt idx="91">
                  <c:v>93.52</c:v>
                </c:pt>
                <c:pt idx="92">
                  <c:v>93.52</c:v>
                </c:pt>
                <c:pt idx="93">
                  <c:v>93.52</c:v>
                </c:pt>
                <c:pt idx="94">
                  <c:v>93.52</c:v>
                </c:pt>
                <c:pt idx="95">
                  <c:v>93.52</c:v>
                </c:pt>
                <c:pt idx="96">
                  <c:v>93.52</c:v>
                </c:pt>
                <c:pt idx="97">
                  <c:v>93.52</c:v>
                </c:pt>
                <c:pt idx="98">
                  <c:v>93.52</c:v>
                </c:pt>
                <c:pt idx="99">
                  <c:v>93.52</c:v>
                </c:pt>
                <c:pt idx="100">
                  <c:v>93.52</c:v>
                </c:pt>
                <c:pt idx="101">
                  <c:v>93.52</c:v>
                </c:pt>
                <c:pt idx="102">
                  <c:v>93.52</c:v>
                </c:pt>
                <c:pt idx="103">
                  <c:v>93.52</c:v>
                </c:pt>
                <c:pt idx="104">
                  <c:v>93.52</c:v>
                </c:pt>
                <c:pt idx="105">
                  <c:v>93.52</c:v>
                </c:pt>
                <c:pt idx="106">
                  <c:v>93.52</c:v>
                </c:pt>
                <c:pt idx="107">
                  <c:v>93.52</c:v>
                </c:pt>
                <c:pt idx="108">
                  <c:v>96.3</c:v>
                </c:pt>
                <c:pt idx="109">
                  <c:v>96.3</c:v>
                </c:pt>
                <c:pt idx="110">
                  <c:v>96.3</c:v>
                </c:pt>
                <c:pt idx="111">
                  <c:v>96.3</c:v>
                </c:pt>
                <c:pt idx="112">
                  <c:v>96.3</c:v>
                </c:pt>
                <c:pt idx="113">
                  <c:v>96.3</c:v>
                </c:pt>
                <c:pt idx="114">
                  <c:v>96.3</c:v>
                </c:pt>
                <c:pt idx="115">
                  <c:v>96.3</c:v>
                </c:pt>
                <c:pt idx="116">
                  <c:v>96.3</c:v>
                </c:pt>
                <c:pt idx="117">
                  <c:v>96.3</c:v>
                </c:pt>
                <c:pt idx="118">
                  <c:v>96.3</c:v>
                </c:pt>
                <c:pt idx="119">
                  <c:v>96.3</c:v>
                </c:pt>
                <c:pt idx="120">
                  <c:v>96.3</c:v>
                </c:pt>
                <c:pt idx="121">
                  <c:v>96.3</c:v>
                </c:pt>
                <c:pt idx="122">
                  <c:v>96.3</c:v>
                </c:pt>
                <c:pt idx="123">
                  <c:v>96.3</c:v>
                </c:pt>
                <c:pt idx="124">
                  <c:v>96.3</c:v>
                </c:pt>
                <c:pt idx="125">
                  <c:v>96.3</c:v>
                </c:pt>
                <c:pt idx="126">
                  <c:v>96.3</c:v>
                </c:pt>
                <c:pt idx="127">
                  <c:v>96.3</c:v>
                </c:pt>
                <c:pt idx="128">
                  <c:v>96.3</c:v>
                </c:pt>
                <c:pt idx="129">
                  <c:v>96.3</c:v>
                </c:pt>
                <c:pt idx="130">
                  <c:v>96.3</c:v>
                </c:pt>
                <c:pt idx="131">
                  <c:v>96.3</c:v>
                </c:pt>
                <c:pt idx="132">
                  <c:v>96.3</c:v>
                </c:pt>
                <c:pt idx="133">
                  <c:v>96.3</c:v>
                </c:pt>
                <c:pt idx="134">
                  <c:v>96.3</c:v>
                </c:pt>
                <c:pt idx="135">
                  <c:v>96.3</c:v>
                </c:pt>
                <c:pt idx="136">
                  <c:v>96.3</c:v>
                </c:pt>
                <c:pt idx="137">
                  <c:v>96.3</c:v>
                </c:pt>
                <c:pt idx="138">
                  <c:v>96.3</c:v>
                </c:pt>
                <c:pt idx="139">
                  <c:v>96.3</c:v>
                </c:pt>
                <c:pt idx="140">
                  <c:v>96.3</c:v>
                </c:pt>
                <c:pt idx="141">
                  <c:v>96.3</c:v>
                </c:pt>
                <c:pt idx="142">
                  <c:v>96.3</c:v>
                </c:pt>
                <c:pt idx="143">
                  <c:v>96.3</c:v>
                </c:pt>
                <c:pt idx="144">
                  <c:v>96.3</c:v>
                </c:pt>
                <c:pt idx="145">
                  <c:v>96.3</c:v>
                </c:pt>
                <c:pt idx="146">
                  <c:v>96.3</c:v>
                </c:pt>
                <c:pt idx="147">
                  <c:v>96.3</c:v>
                </c:pt>
                <c:pt idx="148">
                  <c:v>96.3</c:v>
                </c:pt>
                <c:pt idx="149">
                  <c:v>96.3</c:v>
                </c:pt>
                <c:pt idx="150">
                  <c:v>96.3</c:v>
                </c:pt>
                <c:pt idx="151">
                  <c:v>96.3</c:v>
                </c:pt>
                <c:pt idx="152">
                  <c:v>96.3</c:v>
                </c:pt>
                <c:pt idx="153">
                  <c:v>96.3</c:v>
                </c:pt>
                <c:pt idx="154">
                  <c:v>96.3</c:v>
                </c:pt>
                <c:pt idx="155">
                  <c:v>96.3</c:v>
                </c:pt>
                <c:pt idx="156">
                  <c:v>96.3</c:v>
                </c:pt>
                <c:pt idx="157">
                  <c:v>96.3</c:v>
                </c:pt>
                <c:pt idx="158">
                  <c:v>96.3</c:v>
                </c:pt>
                <c:pt idx="159">
                  <c:v>96.3</c:v>
                </c:pt>
                <c:pt idx="160">
                  <c:v>96.3</c:v>
                </c:pt>
                <c:pt idx="161">
                  <c:v>96.3</c:v>
                </c:pt>
                <c:pt idx="162">
                  <c:v>96.3</c:v>
                </c:pt>
                <c:pt idx="163">
                  <c:v>96.3</c:v>
                </c:pt>
                <c:pt idx="164">
                  <c:v>96.3</c:v>
                </c:pt>
                <c:pt idx="165">
                  <c:v>96.3</c:v>
                </c:pt>
                <c:pt idx="166">
                  <c:v>96.3</c:v>
                </c:pt>
                <c:pt idx="167">
                  <c:v>96.3</c:v>
                </c:pt>
                <c:pt idx="168">
                  <c:v>96.3</c:v>
                </c:pt>
                <c:pt idx="169">
                  <c:v>96.3</c:v>
                </c:pt>
                <c:pt idx="170">
                  <c:v>96.3</c:v>
                </c:pt>
                <c:pt idx="171">
                  <c:v>96.3</c:v>
                </c:pt>
                <c:pt idx="172">
                  <c:v>96.3</c:v>
                </c:pt>
                <c:pt idx="173">
                  <c:v>96.3</c:v>
                </c:pt>
                <c:pt idx="174">
                  <c:v>96.3</c:v>
                </c:pt>
                <c:pt idx="175">
                  <c:v>96.3</c:v>
                </c:pt>
                <c:pt idx="176">
                  <c:v>96.3</c:v>
                </c:pt>
                <c:pt idx="177">
                  <c:v>96.3</c:v>
                </c:pt>
                <c:pt idx="178">
                  <c:v>96.3</c:v>
                </c:pt>
                <c:pt idx="179">
                  <c:v>96.3</c:v>
                </c:pt>
                <c:pt idx="180">
                  <c:v>96.3</c:v>
                </c:pt>
                <c:pt idx="181">
                  <c:v>96.3</c:v>
                </c:pt>
                <c:pt idx="182">
                  <c:v>96.3</c:v>
                </c:pt>
                <c:pt idx="183">
                  <c:v>96.3</c:v>
                </c:pt>
                <c:pt idx="184">
                  <c:v>96.3</c:v>
                </c:pt>
                <c:pt idx="185">
                  <c:v>96.3</c:v>
                </c:pt>
                <c:pt idx="186">
                  <c:v>96.3</c:v>
                </c:pt>
                <c:pt idx="187">
                  <c:v>96.3</c:v>
                </c:pt>
                <c:pt idx="188">
                  <c:v>96.3</c:v>
                </c:pt>
                <c:pt idx="189">
                  <c:v>96.3</c:v>
                </c:pt>
                <c:pt idx="190">
                  <c:v>96.3</c:v>
                </c:pt>
                <c:pt idx="191">
                  <c:v>96.3</c:v>
                </c:pt>
                <c:pt idx="192">
                  <c:v>96.3</c:v>
                </c:pt>
                <c:pt idx="193">
                  <c:v>96.3</c:v>
                </c:pt>
                <c:pt idx="194">
                  <c:v>96.3</c:v>
                </c:pt>
                <c:pt idx="195">
                  <c:v>96.3</c:v>
                </c:pt>
                <c:pt idx="196">
                  <c:v>96.3</c:v>
                </c:pt>
                <c:pt idx="197">
                  <c:v>96.3</c:v>
                </c:pt>
                <c:pt idx="198">
                  <c:v>96.3</c:v>
                </c:pt>
                <c:pt idx="199">
                  <c:v>96.3</c:v>
                </c:pt>
                <c:pt idx="200">
                  <c:v>96.3</c:v>
                </c:pt>
                <c:pt idx="201">
                  <c:v>96.3</c:v>
                </c:pt>
                <c:pt idx="202">
                  <c:v>96.3</c:v>
                </c:pt>
                <c:pt idx="203">
                  <c:v>96.3</c:v>
                </c:pt>
                <c:pt idx="204">
                  <c:v>96.3</c:v>
                </c:pt>
                <c:pt idx="205">
                  <c:v>96.3</c:v>
                </c:pt>
                <c:pt idx="206">
                  <c:v>96.3</c:v>
                </c:pt>
                <c:pt idx="207">
                  <c:v>96.3</c:v>
                </c:pt>
                <c:pt idx="208">
                  <c:v>87.04</c:v>
                </c:pt>
                <c:pt idx="209">
                  <c:v>87.04</c:v>
                </c:pt>
                <c:pt idx="210">
                  <c:v>87.04</c:v>
                </c:pt>
                <c:pt idx="211">
                  <c:v>87.04</c:v>
                </c:pt>
                <c:pt idx="212">
                  <c:v>87.04</c:v>
                </c:pt>
                <c:pt idx="213">
                  <c:v>87.04</c:v>
                </c:pt>
                <c:pt idx="214">
                  <c:v>87.04</c:v>
                </c:pt>
                <c:pt idx="215">
                  <c:v>87.04</c:v>
                </c:pt>
                <c:pt idx="216">
                  <c:v>87.04</c:v>
                </c:pt>
                <c:pt idx="217">
                  <c:v>87.04</c:v>
                </c:pt>
                <c:pt idx="218">
                  <c:v>87.04</c:v>
                </c:pt>
                <c:pt idx="219">
                  <c:v>87.04</c:v>
                </c:pt>
                <c:pt idx="220">
                  <c:v>87.04</c:v>
                </c:pt>
                <c:pt idx="221">
                  <c:v>87.04</c:v>
                </c:pt>
                <c:pt idx="222">
                  <c:v>87.04</c:v>
                </c:pt>
                <c:pt idx="223">
                  <c:v>87.04</c:v>
                </c:pt>
                <c:pt idx="224">
                  <c:v>87.04</c:v>
                </c:pt>
                <c:pt idx="225">
                  <c:v>87.04</c:v>
                </c:pt>
                <c:pt idx="226">
                  <c:v>87.04</c:v>
                </c:pt>
                <c:pt idx="227">
                  <c:v>87.04</c:v>
                </c:pt>
                <c:pt idx="228">
                  <c:v>87.04</c:v>
                </c:pt>
                <c:pt idx="229">
                  <c:v>87.04</c:v>
                </c:pt>
                <c:pt idx="230">
                  <c:v>87.04</c:v>
                </c:pt>
                <c:pt idx="231">
                  <c:v>87.04</c:v>
                </c:pt>
                <c:pt idx="232">
                  <c:v>87.04</c:v>
                </c:pt>
                <c:pt idx="233">
                  <c:v>87.04</c:v>
                </c:pt>
                <c:pt idx="234">
                  <c:v>87.04</c:v>
                </c:pt>
                <c:pt idx="235">
                  <c:v>87.04</c:v>
                </c:pt>
                <c:pt idx="236">
                  <c:v>87.04</c:v>
                </c:pt>
                <c:pt idx="237">
                  <c:v>87.04</c:v>
                </c:pt>
                <c:pt idx="238">
                  <c:v>87.04</c:v>
                </c:pt>
                <c:pt idx="239">
                  <c:v>87.04</c:v>
                </c:pt>
                <c:pt idx="240">
                  <c:v>87.04</c:v>
                </c:pt>
                <c:pt idx="241">
                  <c:v>87.04</c:v>
                </c:pt>
                <c:pt idx="242">
                  <c:v>87.04</c:v>
                </c:pt>
                <c:pt idx="243">
                  <c:v>87.04</c:v>
                </c:pt>
                <c:pt idx="244">
                  <c:v>87.04</c:v>
                </c:pt>
                <c:pt idx="245">
                  <c:v>87.04</c:v>
                </c:pt>
                <c:pt idx="246">
                  <c:v>87.04</c:v>
                </c:pt>
                <c:pt idx="247">
                  <c:v>87.04</c:v>
                </c:pt>
                <c:pt idx="248">
                  <c:v>87.04</c:v>
                </c:pt>
                <c:pt idx="249">
                  <c:v>87.04</c:v>
                </c:pt>
                <c:pt idx="250">
                  <c:v>87.04</c:v>
                </c:pt>
                <c:pt idx="251">
                  <c:v>87.04</c:v>
                </c:pt>
                <c:pt idx="252">
                  <c:v>87.04</c:v>
                </c:pt>
                <c:pt idx="253">
                  <c:v>87.04</c:v>
                </c:pt>
                <c:pt idx="254">
                  <c:v>87.04</c:v>
                </c:pt>
                <c:pt idx="255">
                  <c:v>87.04</c:v>
                </c:pt>
                <c:pt idx="256">
                  <c:v>87.04</c:v>
                </c:pt>
                <c:pt idx="257">
                  <c:v>87.04</c:v>
                </c:pt>
                <c:pt idx="258">
                  <c:v>87.04</c:v>
                </c:pt>
                <c:pt idx="259">
                  <c:v>87.04</c:v>
                </c:pt>
                <c:pt idx="260">
                  <c:v>87.04</c:v>
                </c:pt>
                <c:pt idx="261">
                  <c:v>67.59</c:v>
                </c:pt>
                <c:pt idx="262">
                  <c:v>67.59</c:v>
                </c:pt>
                <c:pt idx="263">
                  <c:v>67.59</c:v>
                </c:pt>
                <c:pt idx="264">
                  <c:v>67.59</c:v>
                </c:pt>
                <c:pt idx="265">
                  <c:v>67.59</c:v>
                </c:pt>
                <c:pt idx="266">
                  <c:v>67.59</c:v>
                </c:pt>
                <c:pt idx="267">
                  <c:v>67.59</c:v>
                </c:pt>
                <c:pt idx="268">
                  <c:v>67.59</c:v>
                </c:pt>
                <c:pt idx="269">
                  <c:v>67.59</c:v>
                </c:pt>
                <c:pt idx="270">
                  <c:v>67.59</c:v>
                </c:pt>
                <c:pt idx="271">
                  <c:v>67.59</c:v>
                </c:pt>
                <c:pt idx="272">
                  <c:v>67.59</c:v>
                </c:pt>
                <c:pt idx="273">
                  <c:v>67.59</c:v>
                </c:pt>
                <c:pt idx="274">
                  <c:v>49.54</c:v>
                </c:pt>
                <c:pt idx="275">
                  <c:v>49.54</c:v>
                </c:pt>
                <c:pt idx="276">
                  <c:v>49.54</c:v>
                </c:pt>
                <c:pt idx="277">
                  <c:v>49.54</c:v>
                </c:pt>
                <c:pt idx="278">
                  <c:v>49.54</c:v>
                </c:pt>
                <c:pt idx="279">
                  <c:v>49.54</c:v>
                </c:pt>
                <c:pt idx="280">
                  <c:v>49.54</c:v>
                </c:pt>
                <c:pt idx="281">
                  <c:v>49.54</c:v>
                </c:pt>
                <c:pt idx="282">
                  <c:v>49.54</c:v>
                </c:pt>
                <c:pt idx="283">
                  <c:v>49.54</c:v>
                </c:pt>
                <c:pt idx="284">
                  <c:v>49.54</c:v>
                </c:pt>
                <c:pt idx="285">
                  <c:v>49.54</c:v>
                </c:pt>
                <c:pt idx="286">
                  <c:v>49.54</c:v>
                </c:pt>
                <c:pt idx="287">
                  <c:v>49.54</c:v>
                </c:pt>
                <c:pt idx="288">
                  <c:v>49.54</c:v>
                </c:pt>
                <c:pt idx="289">
                  <c:v>49.54</c:v>
                </c:pt>
                <c:pt idx="290">
                  <c:v>49.54</c:v>
                </c:pt>
                <c:pt idx="291">
                  <c:v>49.54</c:v>
                </c:pt>
                <c:pt idx="292">
                  <c:v>49.54</c:v>
                </c:pt>
                <c:pt idx="293">
                  <c:v>49.54</c:v>
                </c:pt>
                <c:pt idx="294">
                  <c:v>49.54</c:v>
                </c:pt>
                <c:pt idx="295">
                  <c:v>49.54</c:v>
                </c:pt>
                <c:pt idx="296">
                  <c:v>49.54</c:v>
                </c:pt>
                <c:pt idx="297">
                  <c:v>49.54</c:v>
                </c:pt>
                <c:pt idx="298">
                  <c:v>49.54</c:v>
                </c:pt>
                <c:pt idx="299">
                  <c:v>49.54</c:v>
                </c:pt>
                <c:pt idx="300">
                  <c:v>49.54</c:v>
                </c:pt>
                <c:pt idx="301">
                  <c:v>49.54</c:v>
                </c:pt>
                <c:pt idx="302">
                  <c:v>49.54</c:v>
                </c:pt>
                <c:pt idx="303">
                  <c:v>49.54</c:v>
                </c:pt>
                <c:pt idx="304">
                  <c:v>49.54</c:v>
                </c:pt>
                <c:pt idx="305">
                  <c:v>49.54</c:v>
                </c:pt>
                <c:pt idx="306">
                  <c:v>49.54</c:v>
                </c:pt>
                <c:pt idx="307">
                  <c:v>49.54</c:v>
                </c:pt>
                <c:pt idx="308">
                  <c:v>49.54</c:v>
                </c:pt>
                <c:pt idx="309">
                  <c:v>49.54</c:v>
                </c:pt>
                <c:pt idx="310">
                  <c:v>49.54</c:v>
                </c:pt>
                <c:pt idx="311">
                  <c:v>49.54</c:v>
                </c:pt>
                <c:pt idx="312">
                  <c:v>49.54</c:v>
                </c:pt>
                <c:pt idx="313">
                  <c:v>49.54</c:v>
                </c:pt>
                <c:pt idx="314">
                  <c:v>49.54</c:v>
                </c:pt>
                <c:pt idx="315">
                  <c:v>49.54</c:v>
                </c:pt>
                <c:pt idx="316">
                  <c:v>49.54</c:v>
                </c:pt>
                <c:pt idx="317">
                  <c:v>49.54</c:v>
                </c:pt>
                <c:pt idx="318">
                  <c:v>49.54</c:v>
                </c:pt>
                <c:pt idx="319">
                  <c:v>49.54</c:v>
                </c:pt>
                <c:pt idx="320">
                  <c:v>49.54</c:v>
                </c:pt>
                <c:pt idx="321">
                  <c:v>49.54</c:v>
                </c:pt>
                <c:pt idx="322">
                  <c:v>49.54</c:v>
                </c:pt>
                <c:pt idx="323">
                  <c:v>49.54</c:v>
                </c:pt>
                <c:pt idx="324">
                  <c:v>49.54</c:v>
                </c:pt>
                <c:pt idx="325">
                  <c:v>49.54</c:v>
                </c:pt>
                <c:pt idx="326">
                  <c:v>49.54</c:v>
                </c:pt>
                <c:pt idx="327">
                  <c:v>49.54</c:v>
                </c:pt>
                <c:pt idx="328">
                  <c:v>49.54</c:v>
                </c:pt>
                <c:pt idx="329">
                  <c:v>49.54</c:v>
                </c:pt>
                <c:pt idx="330">
                  <c:v>49.54</c:v>
                </c:pt>
                <c:pt idx="331">
                  <c:v>49.54</c:v>
                </c:pt>
                <c:pt idx="332">
                  <c:v>49.54</c:v>
                </c:pt>
                <c:pt idx="333">
                  <c:v>49.54</c:v>
                </c:pt>
                <c:pt idx="334">
                  <c:v>49.54</c:v>
                </c:pt>
                <c:pt idx="335">
                  <c:v>49.54</c:v>
                </c:pt>
                <c:pt idx="336">
                  <c:v>49.54</c:v>
                </c:pt>
                <c:pt idx="337">
                  <c:v>49.54</c:v>
                </c:pt>
                <c:pt idx="338">
                  <c:v>49.54</c:v>
                </c:pt>
                <c:pt idx="339">
                  <c:v>49.54</c:v>
                </c:pt>
                <c:pt idx="340">
                  <c:v>49.54</c:v>
                </c:pt>
                <c:pt idx="341">
                  <c:v>49.54</c:v>
                </c:pt>
                <c:pt idx="342">
                  <c:v>49.54</c:v>
                </c:pt>
                <c:pt idx="343">
                  <c:v>49.54</c:v>
                </c:pt>
                <c:pt idx="344">
                  <c:v>49.54</c:v>
                </c:pt>
                <c:pt idx="345">
                  <c:v>49.54</c:v>
                </c:pt>
                <c:pt idx="346">
                  <c:v>49.54</c:v>
                </c:pt>
                <c:pt idx="347">
                  <c:v>49.54</c:v>
                </c:pt>
                <c:pt idx="348">
                  <c:v>49.54</c:v>
                </c:pt>
                <c:pt idx="349">
                  <c:v>49.54</c:v>
                </c:pt>
                <c:pt idx="350">
                  <c:v>49.54</c:v>
                </c:pt>
                <c:pt idx="351">
                  <c:v>49.54</c:v>
                </c:pt>
                <c:pt idx="352">
                  <c:v>49.54</c:v>
                </c:pt>
                <c:pt idx="353">
                  <c:v>49.54</c:v>
                </c:pt>
                <c:pt idx="354">
                  <c:v>49.54</c:v>
                </c:pt>
                <c:pt idx="355">
                  <c:v>49.54</c:v>
                </c:pt>
                <c:pt idx="356">
                  <c:v>49.54</c:v>
                </c:pt>
                <c:pt idx="357">
                  <c:v>52.31</c:v>
                </c:pt>
                <c:pt idx="358">
                  <c:v>52.31</c:v>
                </c:pt>
                <c:pt idx="359">
                  <c:v>52.31</c:v>
                </c:pt>
                <c:pt idx="360">
                  <c:v>52.31</c:v>
                </c:pt>
                <c:pt idx="361">
                  <c:v>52.31</c:v>
                </c:pt>
                <c:pt idx="362">
                  <c:v>52.31</c:v>
                </c:pt>
                <c:pt idx="363">
                  <c:v>52.31</c:v>
                </c:pt>
                <c:pt idx="364">
                  <c:v>52.31</c:v>
                </c:pt>
                <c:pt idx="365">
                  <c:v>52.31</c:v>
                </c:pt>
                <c:pt idx="366">
                  <c:v>52.31</c:v>
                </c:pt>
                <c:pt idx="367">
                  <c:v>52.31</c:v>
                </c:pt>
                <c:pt idx="368">
                  <c:v>52.31</c:v>
                </c:pt>
                <c:pt idx="369">
                  <c:v>48.61</c:v>
                </c:pt>
                <c:pt idx="370">
                  <c:v>48.61</c:v>
                </c:pt>
                <c:pt idx="371">
                  <c:v>48.61</c:v>
                </c:pt>
                <c:pt idx="372">
                  <c:v>48.61</c:v>
                </c:pt>
                <c:pt idx="373">
                  <c:v>48.61</c:v>
                </c:pt>
                <c:pt idx="374">
                  <c:v>48.61</c:v>
                </c:pt>
                <c:pt idx="375">
                  <c:v>48.61</c:v>
                </c:pt>
                <c:pt idx="376">
                  <c:v>48.61</c:v>
                </c:pt>
                <c:pt idx="377">
                  <c:v>48.61</c:v>
                </c:pt>
                <c:pt idx="378">
                  <c:v>48.61</c:v>
                </c:pt>
                <c:pt idx="379">
                  <c:v>59.72</c:v>
                </c:pt>
                <c:pt idx="380">
                  <c:v>59.72</c:v>
                </c:pt>
                <c:pt idx="381">
                  <c:v>59.72</c:v>
                </c:pt>
                <c:pt idx="382">
                  <c:v>59.72</c:v>
                </c:pt>
                <c:pt idx="383">
                  <c:v>59.72</c:v>
                </c:pt>
                <c:pt idx="384">
                  <c:v>59.72</c:v>
                </c:pt>
                <c:pt idx="385">
                  <c:v>59.72</c:v>
                </c:pt>
                <c:pt idx="386">
                  <c:v>59.72</c:v>
                </c:pt>
                <c:pt idx="387">
                  <c:v>59.72</c:v>
                </c:pt>
                <c:pt idx="388">
                  <c:v>59.72</c:v>
                </c:pt>
                <c:pt idx="389">
                  <c:v>59.72</c:v>
                </c:pt>
                <c:pt idx="390">
                  <c:v>59.72</c:v>
                </c:pt>
                <c:pt idx="391">
                  <c:v>59.72</c:v>
                </c:pt>
                <c:pt idx="392">
                  <c:v>59.72</c:v>
                </c:pt>
                <c:pt idx="393">
                  <c:v>59.72</c:v>
                </c:pt>
                <c:pt idx="394">
                  <c:v>51.39</c:v>
                </c:pt>
                <c:pt idx="395">
                  <c:v>51.39</c:v>
                </c:pt>
                <c:pt idx="396">
                  <c:v>51.39</c:v>
                </c:pt>
                <c:pt idx="397">
                  <c:v>43.06</c:v>
                </c:pt>
                <c:pt idx="398">
                  <c:v>43.06</c:v>
                </c:pt>
                <c:pt idx="399">
                  <c:v>43.06</c:v>
                </c:pt>
                <c:pt idx="400">
                  <c:v>43.06</c:v>
                </c:pt>
                <c:pt idx="401">
                  <c:v>43.06</c:v>
                </c:pt>
                <c:pt idx="402">
                  <c:v>43.06</c:v>
                </c:pt>
                <c:pt idx="403">
                  <c:v>43.06</c:v>
                </c:pt>
                <c:pt idx="404">
                  <c:v>43.06</c:v>
                </c:pt>
                <c:pt idx="405">
                  <c:v>43.06</c:v>
                </c:pt>
                <c:pt idx="406">
                  <c:v>43.06</c:v>
                </c:pt>
                <c:pt idx="407">
                  <c:v>43.06</c:v>
                </c:pt>
                <c:pt idx="408">
                  <c:v>43.06</c:v>
                </c:pt>
                <c:pt idx="409">
                  <c:v>43.06</c:v>
                </c:pt>
                <c:pt idx="410">
                  <c:v>43.06</c:v>
                </c:pt>
                <c:pt idx="411">
                  <c:v>43.06</c:v>
                </c:pt>
                <c:pt idx="412">
                  <c:v>52.78</c:v>
                </c:pt>
                <c:pt idx="413">
                  <c:v>52.78</c:v>
                </c:pt>
                <c:pt idx="414">
                  <c:v>52.78</c:v>
                </c:pt>
                <c:pt idx="415">
                  <c:v>52.78</c:v>
                </c:pt>
                <c:pt idx="416">
                  <c:v>52.78</c:v>
                </c:pt>
                <c:pt idx="417">
                  <c:v>52.78</c:v>
                </c:pt>
                <c:pt idx="418">
                  <c:v>52.78</c:v>
                </c:pt>
                <c:pt idx="419">
                  <c:v>52.78</c:v>
                </c:pt>
                <c:pt idx="420">
                  <c:v>52.78</c:v>
                </c:pt>
                <c:pt idx="421">
                  <c:v>52.78</c:v>
                </c:pt>
                <c:pt idx="422">
                  <c:v>52.78</c:v>
                </c:pt>
                <c:pt idx="423">
                  <c:v>52.78</c:v>
                </c:pt>
                <c:pt idx="424">
                  <c:v>52.78</c:v>
                </c:pt>
                <c:pt idx="425">
                  <c:v>52.78</c:v>
                </c:pt>
                <c:pt idx="426">
                  <c:v>52.78</c:v>
                </c:pt>
                <c:pt idx="427">
                  <c:v>52.78</c:v>
                </c:pt>
                <c:pt idx="428">
                  <c:v>52.78</c:v>
                </c:pt>
                <c:pt idx="429">
                  <c:v>52.78</c:v>
                </c:pt>
                <c:pt idx="430">
                  <c:v>52.78</c:v>
                </c:pt>
                <c:pt idx="431">
                  <c:v>52.78</c:v>
                </c:pt>
                <c:pt idx="432">
                  <c:v>52.78</c:v>
                </c:pt>
                <c:pt idx="433">
                  <c:v>52.78</c:v>
                </c:pt>
                <c:pt idx="434">
                  <c:v>52.78</c:v>
                </c:pt>
                <c:pt idx="435">
                  <c:v>52.78</c:v>
                </c:pt>
                <c:pt idx="436">
                  <c:v>52.78</c:v>
                </c:pt>
                <c:pt idx="437">
                  <c:v>52.78</c:v>
                </c:pt>
                <c:pt idx="438">
                  <c:v>52.78</c:v>
                </c:pt>
                <c:pt idx="439">
                  <c:v>52.78</c:v>
                </c:pt>
                <c:pt idx="440">
                  <c:v>52.78</c:v>
                </c:pt>
                <c:pt idx="441">
                  <c:v>52.78</c:v>
                </c:pt>
                <c:pt idx="442">
                  <c:v>52.78</c:v>
                </c:pt>
                <c:pt idx="443">
                  <c:v>52.78</c:v>
                </c:pt>
                <c:pt idx="444">
                  <c:v>52.78</c:v>
                </c:pt>
                <c:pt idx="445">
                  <c:v>52.78</c:v>
                </c:pt>
                <c:pt idx="446">
                  <c:v>52.78</c:v>
                </c:pt>
                <c:pt idx="447">
                  <c:v>52.78</c:v>
                </c:pt>
                <c:pt idx="448">
                  <c:v>52.78</c:v>
                </c:pt>
                <c:pt idx="449">
                  <c:v>52.78</c:v>
                </c:pt>
                <c:pt idx="450">
                  <c:v>52.78</c:v>
                </c:pt>
                <c:pt idx="451">
                  <c:v>52.78</c:v>
                </c:pt>
                <c:pt idx="452">
                  <c:v>52.78</c:v>
                </c:pt>
                <c:pt idx="453">
                  <c:v>54.63</c:v>
                </c:pt>
                <c:pt idx="454">
                  <c:v>54.63</c:v>
                </c:pt>
                <c:pt idx="455">
                  <c:v>54.63</c:v>
                </c:pt>
                <c:pt idx="456">
                  <c:v>49.07</c:v>
                </c:pt>
                <c:pt idx="457">
                  <c:v>49.07</c:v>
                </c:pt>
                <c:pt idx="458">
                  <c:v>49.07</c:v>
                </c:pt>
                <c:pt idx="459">
                  <c:v>49.07</c:v>
                </c:pt>
                <c:pt idx="460">
                  <c:v>49.07</c:v>
                </c:pt>
                <c:pt idx="461">
                  <c:v>49.07</c:v>
                </c:pt>
                <c:pt idx="462">
                  <c:v>49.07</c:v>
                </c:pt>
                <c:pt idx="463">
                  <c:v>49.07</c:v>
                </c:pt>
                <c:pt idx="464">
                  <c:v>49.07</c:v>
                </c:pt>
                <c:pt idx="465">
                  <c:v>49.07</c:v>
                </c:pt>
                <c:pt idx="466">
                  <c:v>46.3</c:v>
                </c:pt>
                <c:pt idx="467">
                  <c:v>46.3</c:v>
                </c:pt>
                <c:pt idx="468">
                  <c:v>46.3</c:v>
                </c:pt>
                <c:pt idx="469">
                  <c:v>46.3</c:v>
                </c:pt>
                <c:pt idx="470">
                  <c:v>46.3</c:v>
                </c:pt>
                <c:pt idx="471">
                  <c:v>46.3</c:v>
                </c:pt>
                <c:pt idx="472">
                  <c:v>51.85</c:v>
                </c:pt>
                <c:pt idx="473">
                  <c:v>51.85</c:v>
                </c:pt>
                <c:pt idx="474">
                  <c:v>51.85</c:v>
                </c:pt>
                <c:pt idx="475">
                  <c:v>51.85</c:v>
                </c:pt>
                <c:pt idx="476">
                  <c:v>51.85</c:v>
                </c:pt>
                <c:pt idx="477">
                  <c:v>51.85</c:v>
                </c:pt>
                <c:pt idx="478">
                  <c:v>51.85</c:v>
                </c:pt>
                <c:pt idx="479">
                  <c:v>51.85</c:v>
                </c:pt>
                <c:pt idx="480">
                  <c:v>51.85</c:v>
                </c:pt>
                <c:pt idx="481">
                  <c:v>51.85</c:v>
                </c:pt>
                <c:pt idx="482">
                  <c:v>51.85</c:v>
                </c:pt>
                <c:pt idx="483">
                  <c:v>51.85</c:v>
                </c:pt>
                <c:pt idx="484">
                  <c:v>51.85</c:v>
                </c:pt>
                <c:pt idx="485">
                  <c:v>51.85</c:v>
                </c:pt>
                <c:pt idx="486">
                  <c:v>51.85</c:v>
                </c:pt>
                <c:pt idx="487">
                  <c:v>51.85</c:v>
                </c:pt>
                <c:pt idx="488">
                  <c:v>51.85</c:v>
                </c:pt>
                <c:pt idx="489">
                  <c:v>51.85</c:v>
                </c:pt>
                <c:pt idx="490">
                  <c:v>51.85</c:v>
                </c:pt>
                <c:pt idx="491">
                  <c:v>51.85</c:v>
                </c:pt>
                <c:pt idx="492">
                  <c:v>51.85</c:v>
                </c:pt>
                <c:pt idx="493">
                  <c:v>51.85</c:v>
                </c:pt>
                <c:pt idx="494">
                  <c:v>51.85</c:v>
                </c:pt>
                <c:pt idx="495">
                  <c:v>51.85</c:v>
                </c:pt>
                <c:pt idx="496">
                  <c:v>51.85</c:v>
                </c:pt>
                <c:pt idx="497">
                  <c:v>51.85</c:v>
                </c:pt>
                <c:pt idx="498">
                  <c:v>51.85</c:v>
                </c:pt>
                <c:pt idx="499">
                  <c:v>51.85</c:v>
                </c:pt>
                <c:pt idx="500">
                  <c:v>51.85</c:v>
                </c:pt>
                <c:pt idx="501">
                  <c:v>51.85</c:v>
                </c:pt>
                <c:pt idx="502">
                  <c:v>51.85</c:v>
                </c:pt>
                <c:pt idx="503">
                  <c:v>51.85</c:v>
                </c:pt>
                <c:pt idx="504">
                  <c:v>51.85</c:v>
                </c:pt>
                <c:pt idx="505">
                  <c:v>51.85</c:v>
                </c:pt>
                <c:pt idx="506">
                  <c:v>51.85</c:v>
                </c:pt>
                <c:pt idx="507">
                  <c:v>51.85</c:v>
                </c:pt>
                <c:pt idx="508">
                  <c:v>51.85</c:v>
                </c:pt>
                <c:pt idx="509">
                  <c:v>51.85</c:v>
                </c:pt>
                <c:pt idx="510">
                  <c:v>51.85</c:v>
                </c:pt>
                <c:pt idx="511">
                  <c:v>51.85</c:v>
                </c:pt>
                <c:pt idx="512">
                  <c:v>51.85</c:v>
                </c:pt>
                <c:pt idx="513">
                  <c:v>51.85</c:v>
                </c:pt>
                <c:pt idx="514">
                  <c:v>51.85</c:v>
                </c:pt>
                <c:pt idx="515">
                  <c:v>51.85</c:v>
                </c:pt>
                <c:pt idx="516">
                  <c:v>51.85</c:v>
                </c:pt>
                <c:pt idx="517">
                  <c:v>51.85</c:v>
                </c:pt>
                <c:pt idx="518">
                  <c:v>51.85</c:v>
                </c:pt>
                <c:pt idx="519">
                  <c:v>51.85</c:v>
                </c:pt>
                <c:pt idx="520">
                  <c:v>51.85</c:v>
                </c:pt>
                <c:pt idx="521">
                  <c:v>51.85</c:v>
                </c:pt>
                <c:pt idx="522">
                  <c:v>51.85</c:v>
                </c:pt>
                <c:pt idx="523">
                  <c:v>51.85</c:v>
                </c:pt>
                <c:pt idx="524">
                  <c:v>51.85</c:v>
                </c:pt>
                <c:pt idx="525">
                  <c:v>51.85</c:v>
                </c:pt>
                <c:pt idx="526">
                  <c:v>51.85</c:v>
                </c:pt>
                <c:pt idx="527">
                  <c:v>51.85</c:v>
                </c:pt>
                <c:pt idx="528">
                  <c:v>51.85</c:v>
                </c:pt>
                <c:pt idx="529">
                  <c:v>51.85</c:v>
                </c:pt>
                <c:pt idx="530">
                  <c:v>51.85</c:v>
                </c:pt>
                <c:pt idx="531">
                  <c:v>51.85</c:v>
                </c:pt>
                <c:pt idx="532">
                  <c:v>51.85</c:v>
                </c:pt>
                <c:pt idx="533">
                  <c:v>51.85</c:v>
                </c:pt>
                <c:pt idx="534">
                  <c:v>51.85</c:v>
                </c:pt>
                <c:pt idx="535">
                  <c:v>51.85</c:v>
                </c:pt>
                <c:pt idx="536">
                  <c:v>51.85</c:v>
                </c:pt>
                <c:pt idx="537">
                  <c:v>51.85</c:v>
                </c:pt>
                <c:pt idx="538">
                  <c:v>51.85</c:v>
                </c:pt>
                <c:pt idx="539">
                  <c:v>51.85</c:v>
                </c:pt>
                <c:pt idx="540">
                  <c:v>51.85</c:v>
                </c:pt>
                <c:pt idx="541">
                  <c:v>51.85</c:v>
                </c:pt>
                <c:pt idx="542">
                  <c:v>51.85</c:v>
                </c:pt>
                <c:pt idx="543">
                  <c:v>51.85</c:v>
                </c:pt>
                <c:pt idx="544">
                  <c:v>51.85</c:v>
                </c:pt>
                <c:pt idx="545">
                  <c:v>51.85</c:v>
                </c:pt>
                <c:pt idx="546">
                  <c:v>51.85</c:v>
                </c:pt>
                <c:pt idx="547">
                  <c:v>51.85</c:v>
                </c:pt>
                <c:pt idx="548">
                  <c:v>51.85</c:v>
                </c:pt>
                <c:pt idx="549">
                  <c:v>51.85</c:v>
                </c:pt>
                <c:pt idx="550">
                  <c:v>51.85</c:v>
                </c:pt>
                <c:pt idx="551">
                  <c:v>51.85</c:v>
                </c:pt>
                <c:pt idx="552">
                  <c:v>51.85</c:v>
                </c:pt>
                <c:pt idx="553">
                  <c:v>51.85</c:v>
                </c:pt>
                <c:pt idx="554">
                  <c:v>51.85</c:v>
                </c:pt>
                <c:pt idx="555">
                  <c:v>51.85</c:v>
                </c:pt>
                <c:pt idx="556">
                  <c:v>51.85</c:v>
                </c:pt>
                <c:pt idx="557">
                  <c:v>51.85</c:v>
                </c:pt>
                <c:pt idx="558">
                  <c:v>51.85</c:v>
                </c:pt>
                <c:pt idx="559">
                  <c:v>52.78</c:v>
                </c:pt>
                <c:pt idx="560">
                  <c:v>52.78</c:v>
                </c:pt>
                <c:pt idx="561">
                  <c:v>52.78</c:v>
                </c:pt>
                <c:pt idx="562">
                  <c:v>52.78</c:v>
                </c:pt>
                <c:pt idx="563">
                  <c:v>52.78</c:v>
                </c:pt>
                <c:pt idx="564">
                  <c:v>52.78</c:v>
                </c:pt>
                <c:pt idx="565">
                  <c:v>52.78</c:v>
                </c:pt>
                <c:pt idx="566">
                  <c:v>52.78</c:v>
                </c:pt>
                <c:pt idx="567">
                  <c:v>52.78</c:v>
                </c:pt>
                <c:pt idx="568">
                  <c:v>52.78</c:v>
                </c:pt>
                <c:pt idx="569">
                  <c:v>52.78</c:v>
                </c:pt>
                <c:pt idx="570">
                  <c:v>52.78</c:v>
                </c:pt>
                <c:pt idx="571">
                  <c:v>52.78</c:v>
                </c:pt>
                <c:pt idx="572">
                  <c:v>52.78</c:v>
                </c:pt>
                <c:pt idx="573">
                  <c:v>52.78</c:v>
                </c:pt>
                <c:pt idx="574">
                  <c:v>52.78</c:v>
                </c:pt>
                <c:pt idx="575">
                  <c:v>52.78</c:v>
                </c:pt>
                <c:pt idx="576">
                  <c:v>52.78</c:v>
                </c:pt>
                <c:pt idx="577">
                  <c:v>52.78</c:v>
                </c:pt>
                <c:pt idx="578">
                  <c:v>52.78</c:v>
                </c:pt>
                <c:pt idx="579">
                  <c:v>52.78</c:v>
                </c:pt>
                <c:pt idx="580">
                  <c:v>52.78</c:v>
                </c:pt>
                <c:pt idx="581">
                  <c:v>52.78</c:v>
                </c:pt>
                <c:pt idx="582">
                  <c:v>52.78</c:v>
                </c:pt>
                <c:pt idx="583">
                  <c:v>52.78</c:v>
                </c:pt>
                <c:pt idx="584">
                  <c:v>52.78</c:v>
                </c:pt>
                <c:pt idx="585">
                  <c:v>52.78</c:v>
                </c:pt>
                <c:pt idx="586">
                  <c:v>52.78</c:v>
                </c:pt>
                <c:pt idx="587">
                  <c:v>52.78</c:v>
                </c:pt>
                <c:pt idx="588">
                  <c:v>52.78</c:v>
                </c:pt>
                <c:pt idx="589">
                  <c:v>52.78</c:v>
                </c:pt>
                <c:pt idx="590">
                  <c:v>52.78</c:v>
                </c:pt>
                <c:pt idx="591">
                  <c:v>52.78</c:v>
                </c:pt>
                <c:pt idx="592">
                  <c:v>52.78</c:v>
                </c:pt>
                <c:pt idx="593">
                  <c:v>52.78</c:v>
                </c:pt>
              </c:numCache>
            </c:numRef>
          </c:val>
          <c:smooth val="0"/>
          <c:extLst>
            <c:ext xmlns:c16="http://schemas.microsoft.com/office/drawing/2014/chart" uri="{C3380CC4-5D6E-409C-BE32-E72D297353CC}">
              <c16:uniqueId val="{00000000-10F0-4C3B-A5C8-243779797D96}"/>
            </c:ext>
          </c:extLst>
        </c:ser>
        <c:dLbls>
          <c:showLegendKey val="0"/>
          <c:showVal val="0"/>
          <c:showCatName val="0"/>
          <c:showSerName val="0"/>
          <c:showPercent val="0"/>
          <c:showBubbleSize val="0"/>
        </c:dLbls>
        <c:smooth val="0"/>
        <c:axId val="591651935"/>
        <c:axId val="591667743"/>
      </c:lineChart>
      <c:dateAx>
        <c:axId val="591651935"/>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s-GT"/>
          </a:p>
        </c:txPr>
        <c:crossAx val="591667743"/>
        <c:crosses val="autoZero"/>
        <c:auto val="1"/>
        <c:lblOffset val="100"/>
        <c:baseTimeUnit val="days"/>
      </c:dateAx>
      <c:valAx>
        <c:axId val="591667743"/>
        <c:scaling>
          <c:orientation val="minMax"/>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GT"/>
          </a:p>
        </c:txPr>
        <c:crossAx val="59165193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GT"/>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MX"/>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accent1">
                    <a:lumMod val="50000"/>
                  </a:schemeClr>
                </a:solidFill>
                <a:latin typeface="+mn-lt"/>
                <a:ea typeface="+mn-ea"/>
                <a:cs typeface="+mn-cs"/>
              </a:defRPr>
            </a:pPr>
            <a:r>
              <a:rPr lang="en-US" sz="1400" b="0" dirty="0" err="1">
                <a:solidFill>
                  <a:schemeClr val="accent1">
                    <a:lumMod val="50000"/>
                  </a:schemeClr>
                </a:solidFill>
              </a:rPr>
              <a:t>Millones</a:t>
            </a:r>
            <a:r>
              <a:rPr lang="en-US" sz="1400" b="0" baseline="0" dirty="0">
                <a:solidFill>
                  <a:schemeClr val="accent1">
                    <a:lumMod val="50000"/>
                  </a:schemeClr>
                </a:solidFill>
              </a:rPr>
              <a:t> de </a:t>
            </a:r>
            <a:r>
              <a:rPr lang="en-US" sz="1400" b="0" baseline="0" dirty="0" err="1">
                <a:solidFill>
                  <a:schemeClr val="accent1">
                    <a:lumMod val="50000"/>
                  </a:schemeClr>
                </a:solidFill>
              </a:rPr>
              <a:t>quetzales</a:t>
            </a:r>
            <a:endParaRPr lang="en-US" sz="1400" b="0" dirty="0">
              <a:solidFill>
                <a:schemeClr val="accent1">
                  <a:lumMod val="50000"/>
                </a:schemeClr>
              </a:solidFill>
            </a:endParaRPr>
          </a:p>
        </c:rich>
      </c:tx>
      <c:layout>
        <c:manualLayout>
          <c:xMode val="edge"/>
          <c:yMode val="edge"/>
          <c:x val="0.35496129992076914"/>
          <c:y val="2.1560197769826723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accent1">
                  <a:lumMod val="50000"/>
                </a:schemeClr>
              </a:solidFill>
              <a:latin typeface="+mn-lt"/>
              <a:ea typeface="+mn-ea"/>
              <a:cs typeface="+mn-cs"/>
            </a:defRPr>
          </a:pPr>
          <a:endParaRPr lang="es-GT"/>
        </a:p>
      </c:txPr>
    </c:title>
    <c:autoTitleDeleted val="0"/>
    <c:plotArea>
      <c:layout>
        <c:manualLayout>
          <c:layoutTarget val="inner"/>
          <c:xMode val="edge"/>
          <c:yMode val="edge"/>
          <c:x val="0.26571639785679624"/>
          <c:y val="0.14640936126810633"/>
          <c:w val="0.44945094374306543"/>
          <c:h val="0.81105831031881248"/>
        </c:manualLayout>
      </c:layout>
      <c:pieChart>
        <c:varyColors val="1"/>
        <c:ser>
          <c:idx val="0"/>
          <c:order val="0"/>
          <c:tx>
            <c:strRef>
              <c:f>Hoja1!$B$1</c:f>
              <c:strCache>
                <c:ptCount val="1"/>
                <c:pt idx="0">
                  <c:v>Ventas</c:v>
                </c:pt>
              </c:strCache>
            </c:strRef>
          </c:tx>
          <c:spPr>
            <a:ln>
              <a:noFill/>
            </a:ln>
            <a:effectLst>
              <a:outerShdw blurRad="50800" dist="38100" dir="2700000" algn="tl" rotWithShape="0">
                <a:prstClr val="black">
                  <a:alpha val="40000"/>
                </a:prstClr>
              </a:outerShdw>
            </a:effectLst>
            <a:scene3d>
              <a:camera prst="orthographicFront"/>
              <a:lightRig rig="threePt" dir="t"/>
            </a:scene3d>
            <a:sp3d/>
          </c:spPr>
          <c:explosion val="12"/>
          <c:dPt>
            <c:idx val="0"/>
            <c:bubble3D val="0"/>
            <c:spPr>
              <a:solidFill>
                <a:srgbClr val="0B3963"/>
              </a:solidFill>
              <a:ln w="19050">
                <a:noFill/>
              </a:ln>
              <a:effectLst>
                <a:outerShdw blurRad="50800" dist="38100" dir="2700000" algn="tl" rotWithShape="0">
                  <a:prstClr val="black">
                    <a:alpha val="40000"/>
                  </a:prstClr>
                </a:outerShdw>
              </a:effectLst>
              <a:scene3d>
                <a:camera prst="orthographicFront"/>
                <a:lightRig rig="threePt" dir="t"/>
              </a:scene3d>
              <a:sp3d/>
            </c:spPr>
            <c:extLst>
              <c:ext xmlns:c16="http://schemas.microsoft.com/office/drawing/2014/chart" uri="{C3380CC4-5D6E-409C-BE32-E72D297353CC}">
                <c16:uniqueId val="{00000001-6A6C-4D5D-B0BA-48DA784595B2}"/>
              </c:ext>
            </c:extLst>
          </c:dPt>
          <c:dPt>
            <c:idx val="1"/>
            <c:bubble3D val="0"/>
            <c:spPr>
              <a:solidFill>
                <a:srgbClr val="0385B3"/>
              </a:solidFill>
              <a:ln w="19050">
                <a:noFill/>
              </a:ln>
              <a:effectLst>
                <a:outerShdw blurRad="50800" dist="38100" dir="2700000" algn="tl" rotWithShape="0">
                  <a:prstClr val="black">
                    <a:alpha val="40000"/>
                  </a:prstClr>
                </a:outerShdw>
              </a:effectLst>
              <a:scene3d>
                <a:camera prst="orthographicFront"/>
                <a:lightRig rig="threePt" dir="t"/>
              </a:scene3d>
              <a:sp3d/>
            </c:spPr>
            <c:extLst>
              <c:ext xmlns:c16="http://schemas.microsoft.com/office/drawing/2014/chart" uri="{C3380CC4-5D6E-409C-BE32-E72D297353CC}">
                <c16:uniqueId val="{00000003-6A6C-4D5D-B0BA-48DA784595B2}"/>
              </c:ext>
            </c:extLst>
          </c:dPt>
          <c:dPt>
            <c:idx val="2"/>
            <c:bubble3D val="0"/>
            <c:spPr>
              <a:solidFill>
                <a:schemeClr val="accent3"/>
              </a:solidFill>
              <a:ln w="19050">
                <a:noFill/>
              </a:ln>
              <a:effectLst>
                <a:outerShdw blurRad="50800" dist="38100" dir="2700000" algn="tl" rotWithShape="0">
                  <a:prstClr val="black">
                    <a:alpha val="40000"/>
                  </a:prstClr>
                </a:outerShdw>
              </a:effectLst>
              <a:scene3d>
                <a:camera prst="orthographicFront"/>
                <a:lightRig rig="threePt" dir="t"/>
              </a:scene3d>
              <a:sp3d/>
            </c:spPr>
            <c:extLst>
              <c:ext xmlns:c16="http://schemas.microsoft.com/office/drawing/2014/chart" uri="{C3380CC4-5D6E-409C-BE32-E72D297353CC}">
                <c16:uniqueId val="{00000005-6A6C-4D5D-B0BA-48DA784595B2}"/>
              </c:ext>
            </c:extLst>
          </c:dPt>
          <c:dLbls>
            <c:dLbl>
              <c:idx val="0"/>
              <c:layout>
                <c:manualLayout>
                  <c:x val="0.20089195418043079"/>
                  <c:y val="-5.8100536476751272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mn-lt"/>
                      <a:ea typeface="+mn-ea"/>
                      <a:cs typeface="+mn-cs"/>
                    </a:defRPr>
                  </a:pPr>
                  <a:endParaRPr lang="es-GT"/>
                </a:p>
              </c:txP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A6C-4D5D-B0BA-48DA784595B2}"/>
                </c:ext>
              </c:extLst>
            </c:dLbl>
            <c:dLbl>
              <c:idx val="1"/>
              <c:layout>
                <c:manualLayout>
                  <c:x val="-2.3382140633587383E-2"/>
                  <c:y val="3.0160509730609575E-3"/>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B3963"/>
                      </a:solidFill>
                      <a:latin typeface="+mn-lt"/>
                      <a:ea typeface="+mn-ea"/>
                      <a:cs typeface="+mn-cs"/>
                    </a:defRPr>
                  </a:pPr>
                  <a:endParaRPr lang="es-GT"/>
                </a:p>
              </c:txP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A6C-4D5D-B0BA-48DA784595B2}"/>
                </c:ext>
              </c:extLst>
            </c:dLbl>
            <c:dLbl>
              <c:idx val="2"/>
              <c:layout>
                <c:manualLayout>
                  <c:x val="4.6889402460691719E-3"/>
                  <c:y val="3.3633908520929691E-3"/>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B3963"/>
                      </a:solidFill>
                      <a:latin typeface="+mn-lt"/>
                      <a:ea typeface="+mn-ea"/>
                      <a:cs typeface="+mn-cs"/>
                    </a:defRPr>
                  </a:pPr>
                  <a:endParaRPr lang="es-GT"/>
                </a:p>
              </c:txP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A6C-4D5D-B0BA-48DA784595B2}"/>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1">
                        <a:lumMod val="50000"/>
                      </a:schemeClr>
                    </a:solidFill>
                    <a:latin typeface="+mn-lt"/>
                    <a:ea typeface="+mn-ea"/>
                    <a:cs typeface="+mn-cs"/>
                  </a:defRPr>
                </a:pPr>
                <a:endParaRPr lang="es-GT"/>
              </a:p>
            </c:txP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1!$A$2:$A$4</c:f>
              <c:strCache>
                <c:ptCount val="3"/>
                <c:pt idx="0">
                  <c:v>Funcionamiento</c:v>
                </c:pt>
                <c:pt idx="1">
                  <c:v>Inversión</c:v>
                </c:pt>
                <c:pt idx="2">
                  <c:v>Servicio de deuda</c:v>
                </c:pt>
              </c:strCache>
            </c:strRef>
          </c:cat>
          <c:val>
            <c:numRef>
              <c:f>Hoja1!$B$2:$B$4</c:f>
              <c:numCache>
                <c:formatCode>General</c:formatCode>
                <c:ptCount val="3"/>
                <c:pt idx="0">
                  <c:v>61879.1</c:v>
                </c:pt>
                <c:pt idx="1">
                  <c:v>17863.900000000001</c:v>
                </c:pt>
                <c:pt idx="2">
                  <c:v>14611</c:v>
                </c:pt>
              </c:numCache>
            </c:numRef>
          </c:val>
          <c:extLst>
            <c:ext xmlns:c16="http://schemas.microsoft.com/office/drawing/2014/chart" uri="{C3380CC4-5D6E-409C-BE32-E72D297353CC}">
              <c16:uniqueId val="{00000006-6A6C-4D5D-B0BA-48DA784595B2}"/>
            </c:ext>
          </c:extLst>
        </c:ser>
        <c:dLbls>
          <c:showLegendKey val="0"/>
          <c:showVal val="0"/>
          <c:showCatName val="0"/>
          <c:showSerName val="0"/>
          <c:showPercent val="0"/>
          <c:showBubbleSize val="0"/>
          <c:showLeaderLines val="1"/>
        </c:dLbls>
        <c:firstSliceAng val="141"/>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GT"/>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MX"/>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s-MX" sz="1400" b="1" i="0" u="none" strike="noStrike" baseline="0" dirty="0">
                <a:solidFill>
                  <a:srgbClr val="0B3963"/>
                </a:solidFill>
                <a:effectLst/>
              </a:rPr>
              <a:t>Carga tributaria de 2021 para distintos valores del índice de rigor dado un rebrote de pandemia </a:t>
            </a:r>
            <a:r>
              <a:rPr lang="es-MX" sz="1400" b="0" i="0" u="none" strike="noStrike" baseline="0" dirty="0">
                <a:solidFill>
                  <a:srgbClr val="0B3963"/>
                </a:solidFill>
                <a:effectLst/>
              </a:rPr>
              <a:t>(en porcentaje)</a:t>
            </a:r>
            <a:endParaRPr lang="en-US" sz="1400" b="0" dirty="0">
              <a:solidFill>
                <a:srgbClr val="0B3963"/>
              </a:solidFill>
            </a:endParaRPr>
          </a:p>
        </c:rich>
      </c:tx>
      <c:layout>
        <c:manualLayout>
          <c:xMode val="edge"/>
          <c:yMode val="edge"/>
          <c:x val="0.10832836633713379"/>
          <c:y val="0"/>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s-GT"/>
        </a:p>
      </c:txPr>
    </c:title>
    <c:autoTitleDeleted val="0"/>
    <c:plotArea>
      <c:layout>
        <c:manualLayout>
          <c:layoutTarget val="inner"/>
          <c:xMode val="edge"/>
          <c:yMode val="edge"/>
          <c:x val="1.6137263027880031E-2"/>
          <c:y val="0.21666582504521173"/>
          <c:w val="0.95083900116200648"/>
          <c:h val="0.5306740499989735"/>
        </c:manualLayout>
      </c:layout>
      <c:barChart>
        <c:barDir val="col"/>
        <c:grouping val="clustered"/>
        <c:varyColors val="0"/>
        <c:ser>
          <c:idx val="0"/>
          <c:order val="0"/>
          <c:tx>
            <c:strRef>
              <c:f>Hoja1!$B$1</c:f>
              <c:strCache>
                <c:ptCount val="1"/>
                <c:pt idx="0">
                  <c:v>Columna2</c:v>
                </c:pt>
              </c:strCache>
            </c:strRef>
          </c:tx>
          <c:spPr>
            <a:solidFill>
              <a:schemeClr val="bg1">
                <a:lumMod val="65000"/>
              </a:schemeClr>
            </a:solidFill>
            <a:ln>
              <a:noFill/>
            </a:ln>
            <a:effectLst/>
          </c:spPr>
          <c:invertIfNegative val="0"/>
          <c:dPt>
            <c:idx val="1"/>
            <c:invertIfNegative val="0"/>
            <c:bubble3D val="0"/>
            <c:spPr>
              <a:solidFill>
                <a:srgbClr val="002060"/>
              </a:solidFill>
              <a:ln>
                <a:noFill/>
              </a:ln>
              <a:effectLst/>
            </c:spPr>
            <c:extLst>
              <c:ext xmlns:c16="http://schemas.microsoft.com/office/drawing/2014/chart" uri="{C3380CC4-5D6E-409C-BE32-E72D297353CC}">
                <c16:uniqueId val="{00000001-7558-4E90-AD2D-C21C28015B1B}"/>
              </c:ext>
            </c:extLst>
          </c:dPt>
          <c:dPt>
            <c:idx val="2"/>
            <c:invertIfNegative val="0"/>
            <c:bubble3D val="0"/>
            <c:spPr>
              <a:solidFill>
                <a:schemeClr val="accent4"/>
              </a:solidFill>
              <a:ln>
                <a:noFill/>
              </a:ln>
              <a:effectLst/>
            </c:spPr>
            <c:extLst>
              <c:ext xmlns:c16="http://schemas.microsoft.com/office/drawing/2014/chart" uri="{C3380CC4-5D6E-409C-BE32-E72D297353CC}">
                <c16:uniqueId val="{00000003-7558-4E90-AD2D-C21C28015B1B}"/>
              </c:ext>
            </c:extLst>
          </c:dPt>
          <c:dLbls>
            <c:dLbl>
              <c:idx val="0"/>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lumMod val="50000"/>
                        </a:schemeClr>
                      </a:solidFill>
                      <a:latin typeface="+mn-lt"/>
                      <a:ea typeface="+mn-ea"/>
                      <a:cs typeface="+mn-cs"/>
                    </a:defRPr>
                  </a:pPr>
                  <a:endParaRPr lang="es-GT"/>
                </a:p>
              </c:txPr>
              <c:showLegendKey val="0"/>
              <c:showVal val="1"/>
              <c:showCatName val="0"/>
              <c:showSerName val="0"/>
              <c:showPercent val="0"/>
              <c:showBubbleSize val="0"/>
              <c:extLst>
                <c:ext xmlns:c16="http://schemas.microsoft.com/office/drawing/2014/chart" uri="{C3380CC4-5D6E-409C-BE32-E72D297353CC}">
                  <c16:uniqueId val="{00000008-7558-4E90-AD2D-C21C28015B1B}"/>
                </c:ext>
              </c:extLst>
            </c:dLbl>
            <c:dLbl>
              <c:idx val="1"/>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rgbClr val="002060"/>
                      </a:solidFill>
                      <a:latin typeface="+mn-lt"/>
                      <a:ea typeface="+mn-ea"/>
                      <a:cs typeface="+mn-cs"/>
                    </a:defRPr>
                  </a:pPr>
                  <a:endParaRPr lang="es-GT"/>
                </a:p>
              </c:txPr>
              <c:showLegendKey val="0"/>
              <c:showVal val="1"/>
              <c:showCatName val="0"/>
              <c:showSerName val="0"/>
              <c:showPercent val="0"/>
              <c:showBubbleSize val="0"/>
              <c:extLst>
                <c:ext xmlns:c16="http://schemas.microsoft.com/office/drawing/2014/chart" uri="{C3380CC4-5D6E-409C-BE32-E72D297353CC}">
                  <c16:uniqueId val="{00000001-7558-4E90-AD2D-C21C28015B1B}"/>
                </c:ext>
              </c:extLst>
            </c:dLbl>
            <c:dLbl>
              <c:idx val="2"/>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accent4"/>
                      </a:solidFill>
                      <a:latin typeface="+mn-lt"/>
                      <a:ea typeface="+mn-ea"/>
                      <a:cs typeface="+mn-cs"/>
                    </a:defRPr>
                  </a:pPr>
                  <a:endParaRPr lang="es-GT"/>
                </a:p>
              </c:txPr>
              <c:showLegendKey val="0"/>
              <c:showVal val="1"/>
              <c:showCatName val="0"/>
              <c:showSerName val="0"/>
              <c:showPercent val="0"/>
              <c:showBubbleSize val="0"/>
              <c:extLst>
                <c:ext xmlns:c16="http://schemas.microsoft.com/office/drawing/2014/chart" uri="{C3380CC4-5D6E-409C-BE32-E72D297353CC}">
                  <c16:uniqueId val="{00000003-7558-4E90-AD2D-C21C28015B1B}"/>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s-G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Escenario base</c:v>
                </c:pt>
                <c:pt idx="1">
                  <c:v>índice de rigor = 60.0</c:v>
                </c:pt>
                <c:pt idx="2">
                  <c:v>índice de rigor = 70.0</c:v>
                </c:pt>
              </c:strCache>
            </c:strRef>
          </c:cat>
          <c:val>
            <c:numRef>
              <c:f>Hoja1!$B$2:$B$4</c:f>
              <c:numCache>
                <c:formatCode>General</c:formatCode>
                <c:ptCount val="3"/>
                <c:pt idx="0">
                  <c:v>10.98</c:v>
                </c:pt>
                <c:pt idx="1">
                  <c:v>10.8</c:v>
                </c:pt>
                <c:pt idx="2">
                  <c:v>10.67</c:v>
                </c:pt>
              </c:numCache>
            </c:numRef>
          </c:val>
          <c:extLst>
            <c:ext xmlns:c16="http://schemas.microsoft.com/office/drawing/2014/chart" uri="{C3380CC4-5D6E-409C-BE32-E72D297353CC}">
              <c16:uniqueId val="{00000009-7558-4E90-AD2D-C21C28015B1B}"/>
            </c:ext>
          </c:extLst>
        </c:ser>
        <c:dLbls>
          <c:showLegendKey val="0"/>
          <c:showVal val="0"/>
          <c:showCatName val="0"/>
          <c:showSerName val="0"/>
          <c:showPercent val="0"/>
          <c:showBubbleSize val="0"/>
        </c:dLbls>
        <c:gapWidth val="50"/>
        <c:overlap val="-27"/>
        <c:axId val="403811071"/>
        <c:axId val="403807743"/>
      </c:barChart>
      <c:catAx>
        <c:axId val="4038110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s-GT"/>
          </a:p>
        </c:txPr>
        <c:crossAx val="403807743"/>
        <c:crosses val="autoZero"/>
        <c:auto val="1"/>
        <c:lblAlgn val="ctr"/>
        <c:lblOffset val="100"/>
        <c:noMultiLvlLbl val="0"/>
      </c:catAx>
      <c:valAx>
        <c:axId val="403807743"/>
        <c:scaling>
          <c:orientation val="minMax"/>
        </c:scaling>
        <c:delete val="1"/>
        <c:axPos val="l"/>
        <c:numFmt formatCode="General" sourceLinked="1"/>
        <c:majorTickMark val="none"/>
        <c:minorTickMark val="none"/>
        <c:tickLblPos val="nextTo"/>
        <c:crossAx val="40381107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es-GT"/>
    </a:p>
  </c:txPr>
  <c:externalData r:id="rId3">
    <c:autoUpdate val="0"/>
  </c:externalData>
  <c:userShapes r:id="rId4"/>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MX"/>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865979153932335E-2"/>
          <c:y val="2.8656736434094089E-2"/>
          <c:w val="0.94543034468529974"/>
          <c:h val="0.68813159017208714"/>
        </c:manualLayout>
      </c:layout>
      <c:barChart>
        <c:barDir val="col"/>
        <c:grouping val="clustered"/>
        <c:varyColors val="0"/>
        <c:ser>
          <c:idx val="0"/>
          <c:order val="0"/>
          <c:tx>
            <c:strRef>
              <c:f>Hoja1!$B$1</c:f>
              <c:strCache>
                <c:ptCount val="1"/>
                <c:pt idx="0">
                  <c:v>Escenario base</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lumMod val="50000"/>
                      </a:schemeClr>
                    </a:solidFill>
                    <a:latin typeface="+mn-lt"/>
                    <a:ea typeface="+mn-ea"/>
                    <a:cs typeface="+mn-cs"/>
                  </a:defRPr>
                </a:pPr>
                <a:endParaRPr lang="es-G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PIB real</c:v>
                </c:pt>
                <c:pt idx="1">
                  <c:v>PIB nominal</c:v>
                </c:pt>
                <c:pt idx="2">
                  <c:v>Importaciones FOB</c:v>
                </c:pt>
              </c:strCache>
            </c:strRef>
          </c:cat>
          <c:val>
            <c:numRef>
              <c:f>Hoja1!$B$2:$B$4</c:f>
              <c:numCache>
                <c:formatCode>_-* #,##0.0_-;\-* #,##0.0_-;_-* "-"??_-;_-@_-</c:formatCode>
                <c:ptCount val="3"/>
                <c:pt idx="0">
                  <c:v>5</c:v>
                </c:pt>
                <c:pt idx="1">
                  <c:v>8.6999999999999993</c:v>
                </c:pt>
                <c:pt idx="2">
                  <c:v>20</c:v>
                </c:pt>
              </c:numCache>
            </c:numRef>
          </c:val>
          <c:extLst>
            <c:ext xmlns:c16="http://schemas.microsoft.com/office/drawing/2014/chart" uri="{C3380CC4-5D6E-409C-BE32-E72D297353CC}">
              <c16:uniqueId val="{00000000-46D8-430E-8AE7-A0A75F15B224}"/>
            </c:ext>
          </c:extLst>
        </c:ser>
        <c:ser>
          <c:idx val="1"/>
          <c:order val="1"/>
          <c:tx>
            <c:strRef>
              <c:f>Hoja1!$C$1</c:f>
              <c:strCache>
                <c:ptCount val="1"/>
                <c:pt idx="0">
                  <c:v>IR= 60.0</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C00000"/>
                    </a:solidFill>
                    <a:latin typeface="+mn-lt"/>
                    <a:ea typeface="+mn-ea"/>
                    <a:cs typeface="+mn-cs"/>
                  </a:defRPr>
                </a:pPr>
                <a:endParaRPr lang="es-G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PIB real</c:v>
                </c:pt>
                <c:pt idx="1">
                  <c:v>PIB nominal</c:v>
                </c:pt>
                <c:pt idx="2">
                  <c:v>Importaciones FOB</c:v>
                </c:pt>
              </c:strCache>
            </c:strRef>
          </c:cat>
          <c:val>
            <c:numRef>
              <c:f>Hoja1!$C$2:$C$4</c:f>
              <c:numCache>
                <c:formatCode>_-* #,##0.0_-;\-* #,##0.0_-;_-* "-"??_-;_-@_-</c:formatCode>
                <c:ptCount val="3"/>
                <c:pt idx="0">
                  <c:v>4.5</c:v>
                </c:pt>
                <c:pt idx="1">
                  <c:v>8</c:v>
                </c:pt>
                <c:pt idx="2">
                  <c:v>19.16</c:v>
                </c:pt>
              </c:numCache>
            </c:numRef>
          </c:val>
          <c:extLst>
            <c:ext xmlns:c16="http://schemas.microsoft.com/office/drawing/2014/chart" uri="{C3380CC4-5D6E-409C-BE32-E72D297353CC}">
              <c16:uniqueId val="{00000001-46D8-430E-8AE7-A0A75F15B224}"/>
            </c:ext>
          </c:extLst>
        </c:ser>
        <c:ser>
          <c:idx val="2"/>
          <c:order val="2"/>
          <c:tx>
            <c:strRef>
              <c:f>Hoja1!$D$1</c:f>
              <c:strCache>
                <c:ptCount val="1"/>
                <c:pt idx="0">
                  <c:v>IR = 70.0</c:v>
                </c:pt>
              </c:strCache>
            </c:strRef>
          </c:tx>
          <c:spPr>
            <a:solidFill>
              <a:schemeClr val="accent6">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6">
                        <a:lumMod val="50000"/>
                      </a:schemeClr>
                    </a:solidFill>
                    <a:latin typeface="+mn-lt"/>
                    <a:ea typeface="+mn-ea"/>
                    <a:cs typeface="+mn-cs"/>
                  </a:defRPr>
                </a:pPr>
                <a:endParaRPr lang="es-G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PIB real</c:v>
                </c:pt>
                <c:pt idx="1">
                  <c:v>PIB nominal</c:v>
                </c:pt>
                <c:pt idx="2">
                  <c:v>Importaciones FOB</c:v>
                </c:pt>
              </c:strCache>
            </c:strRef>
          </c:cat>
          <c:val>
            <c:numRef>
              <c:f>Hoja1!$D$2:$D$4</c:f>
              <c:numCache>
                <c:formatCode>_-* #,##0.0_-;\-* #,##0.0_-;_-* "-"??_-;_-@_-</c:formatCode>
                <c:ptCount val="3"/>
                <c:pt idx="0">
                  <c:v>4</c:v>
                </c:pt>
                <c:pt idx="1">
                  <c:v>7.3</c:v>
                </c:pt>
                <c:pt idx="2">
                  <c:v>18.3</c:v>
                </c:pt>
              </c:numCache>
            </c:numRef>
          </c:val>
          <c:extLst>
            <c:ext xmlns:c16="http://schemas.microsoft.com/office/drawing/2014/chart" uri="{C3380CC4-5D6E-409C-BE32-E72D297353CC}">
              <c16:uniqueId val="{00000002-46D8-430E-8AE7-A0A75F15B224}"/>
            </c:ext>
          </c:extLst>
        </c:ser>
        <c:dLbls>
          <c:showLegendKey val="0"/>
          <c:showVal val="0"/>
          <c:showCatName val="0"/>
          <c:showSerName val="0"/>
          <c:showPercent val="0"/>
          <c:showBubbleSize val="0"/>
        </c:dLbls>
        <c:gapWidth val="100"/>
        <c:overlap val="-20"/>
        <c:axId val="403839359"/>
        <c:axId val="403832287"/>
      </c:barChart>
      <c:catAx>
        <c:axId val="403839359"/>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s-GT"/>
          </a:p>
        </c:txPr>
        <c:crossAx val="403832287"/>
        <c:crosses val="autoZero"/>
        <c:auto val="1"/>
        <c:lblAlgn val="ctr"/>
        <c:lblOffset val="100"/>
        <c:noMultiLvlLbl val="0"/>
      </c:catAx>
      <c:valAx>
        <c:axId val="403832287"/>
        <c:scaling>
          <c:orientation val="minMax"/>
        </c:scaling>
        <c:delete val="1"/>
        <c:axPos val="l"/>
        <c:numFmt formatCode="_-* #,##0.0_-;\-* #,##0.0_-;_-* &quot;-&quot;??_-;_-@_-" sourceLinked="1"/>
        <c:majorTickMark val="none"/>
        <c:minorTickMark val="none"/>
        <c:tickLblPos val="nextTo"/>
        <c:crossAx val="403839359"/>
        <c:crosses val="autoZero"/>
        <c:crossBetween val="between"/>
      </c:valAx>
      <c:spPr>
        <a:noFill/>
        <a:ln>
          <a:noFill/>
        </a:ln>
        <a:effectLst/>
      </c:spPr>
    </c:plotArea>
    <c:legend>
      <c:legendPos val="b"/>
      <c:layout>
        <c:manualLayout>
          <c:xMode val="edge"/>
          <c:yMode val="edge"/>
          <c:x val="2.7950104536478455E-2"/>
          <c:y val="0.87224112039547297"/>
          <c:w val="0.7959898964064569"/>
          <c:h val="0.1040340124111715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G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GT"/>
    </a:p>
  </c:txPr>
  <c:externalData r:id="rId3">
    <c:autoUpdate val="0"/>
  </c:externalData>
  <c:userShapes r:id="rId4"/>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MX"/>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n-US" sz="1400" b="1" dirty="0" err="1">
                <a:solidFill>
                  <a:srgbClr val="0B3963"/>
                </a:solidFill>
              </a:rPr>
              <a:t>Déficit</a:t>
            </a:r>
            <a:r>
              <a:rPr lang="en-US" sz="1400" b="1" baseline="0" dirty="0">
                <a:solidFill>
                  <a:srgbClr val="0B3963"/>
                </a:solidFill>
              </a:rPr>
              <a:t> fiscal de 2021 para </a:t>
            </a:r>
            <a:r>
              <a:rPr lang="en-US" sz="1400" b="1" baseline="0" dirty="0" err="1">
                <a:solidFill>
                  <a:srgbClr val="0B3963"/>
                </a:solidFill>
              </a:rPr>
              <a:t>distintos</a:t>
            </a:r>
            <a:r>
              <a:rPr lang="en-US" sz="1400" b="1" baseline="0" dirty="0">
                <a:solidFill>
                  <a:srgbClr val="0B3963"/>
                </a:solidFill>
              </a:rPr>
              <a:t> </a:t>
            </a:r>
            <a:r>
              <a:rPr lang="en-US" sz="1400" b="1" baseline="0" dirty="0" err="1">
                <a:solidFill>
                  <a:srgbClr val="0B3963"/>
                </a:solidFill>
              </a:rPr>
              <a:t>valores</a:t>
            </a:r>
            <a:r>
              <a:rPr lang="en-US" sz="1400" b="1" baseline="0" dirty="0">
                <a:solidFill>
                  <a:srgbClr val="0B3963"/>
                </a:solidFill>
              </a:rPr>
              <a:t> del </a:t>
            </a:r>
            <a:r>
              <a:rPr lang="en-US" sz="1400" b="1" baseline="0" dirty="0" err="1">
                <a:solidFill>
                  <a:srgbClr val="0B3963"/>
                </a:solidFill>
              </a:rPr>
              <a:t>índice</a:t>
            </a:r>
            <a:r>
              <a:rPr lang="en-US" sz="1400" b="1" baseline="0" dirty="0">
                <a:solidFill>
                  <a:srgbClr val="0B3963"/>
                </a:solidFill>
              </a:rPr>
              <a:t> de rigor (</a:t>
            </a:r>
            <a:r>
              <a:rPr lang="en-US" sz="1400" b="1" baseline="0" dirty="0" err="1">
                <a:solidFill>
                  <a:srgbClr val="0B3963"/>
                </a:solidFill>
              </a:rPr>
              <a:t>porcentajes</a:t>
            </a:r>
            <a:r>
              <a:rPr lang="en-US" sz="1400" b="1" baseline="0" dirty="0">
                <a:solidFill>
                  <a:srgbClr val="0B3963"/>
                </a:solidFill>
              </a:rPr>
              <a:t>)</a:t>
            </a:r>
            <a:endParaRPr lang="en-US" sz="1400" b="1" dirty="0">
              <a:solidFill>
                <a:srgbClr val="0B3963"/>
              </a:solidFill>
            </a:endParaRPr>
          </a:p>
        </c:rich>
      </c:tx>
      <c:layout>
        <c:manualLayout>
          <c:xMode val="edge"/>
          <c:yMode val="edge"/>
          <c:x val="0.10761285346479947"/>
          <c:y val="0"/>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es-GT"/>
        </a:p>
      </c:txPr>
    </c:title>
    <c:autoTitleDeleted val="0"/>
    <c:plotArea>
      <c:layout>
        <c:manualLayout>
          <c:layoutTarget val="inner"/>
          <c:xMode val="edge"/>
          <c:yMode val="edge"/>
          <c:x val="3.7361302516097851E-2"/>
          <c:y val="0.20871367759101722"/>
          <c:w val="0.92527739496780426"/>
          <c:h val="0.61521344676070133"/>
        </c:manualLayout>
      </c:layout>
      <c:barChart>
        <c:barDir val="col"/>
        <c:grouping val="clustered"/>
        <c:varyColors val="0"/>
        <c:ser>
          <c:idx val="0"/>
          <c:order val="0"/>
          <c:tx>
            <c:strRef>
              <c:f>Hoja1!$A$2</c:f>
              <c:strCache>
                <c:ptCount val="1"/>
                <c:pt idx="0">
                  <c:v>Categoría 1</c:v>
                </c:pt>
              </c:strCache>
            </c:strRef>
          </c:tx>
          <c:spPr>
            <a:solidFill>
              <a:schemeClr val="accent1"/>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4-F0AA-4977-B97C-39DF0EB8E6EC}"/>
              </c:ext>
            </c:extLst>
          </c:dPt>
          <c:dPt>
            <c:idx val="1"/>
            <c:invertIfNegative val="0"/>
            <c:bubble3D val="0"/>
            <c:spPr>
              <a:solidFill>
                <a:srgbClr val="002060"/>
              </a:solidFill>
              <a:ln>
                <a:noFill/>
              </a:ln>
              <a:effectLst/>
            </c:spPr>
            <c:extLst>
              <c:ext xmlns:c16="http://schemas.microsoft.com/office/drawing/2014/chart" uri="{C3380CC4-5D6E-409C-BE32-E72D297353CC}">
                <c16:uniqueId val="{00000005-F0AA-4977-B97C-39DF0EB8E6EC}"/>
              </c:ext>
            </c:extLst>
          </c:dPt>
          <c:dPt>
            <c:idx val="2"/>
            <c:invertIfNegative val="0"/>
            <c:bubble3D val="0"/>
            <c:spPr>
              <a:solidFill>
                <a:schemeClr val="accent4"/>
              </a:solidFill>
              <a:ln>
                <a:noFill/>
              </a:ln>
              <a:effectLst/>
            </c:spPr>
            <c:extLst>
              <c:ext xmlns:c16="http://schemas.microsoft.com/office/drawing/2014/chart" uri="{C3380CC4-5D6E-409C-BE32-E72D297353CC}">
                <c16:uniqueId val="{00000006-F0AA-4977-B97C-39DF0EB8E6EC}"/>
              </c:ext>
            </c:extLst>
          </c:dPt>
          <c:dLbls>
            <c:dLbl>
              <c:idx val="1"/>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rgbClr val="002060"/>
                      </a:solidFill>
                      <a:latin typeface="+mn-lt"/>
                      <a:ea typeface="+mn-ea"/>
                      <a:cs typeface="+mn-cs"/>
                    </a:defRPr>
                  </a:pPr>
                  <a:endParaRPr lang="es-GT"/>
                </a:p>
              </c:txPr>
              <c:showLegendKey val="0"/>
              <c:showVal val="1"/>
              <c:showCatName val="0"/>
              <c:showSerName val="0"/>
              <c:showPercent val="0"/>
              <c:showBubbleSize val="0"/>
              <c:extLst>
                <c:ext xmlns:c16="http://schemas.microsoft.com/office/drawing/2014/chart" uri="{C3380CC4-5D6E-409C-BE32-E72D297353CC}">
                  <c16:uniqueId val="{00000005-F0AA-4977-B97C-39DF0EB8E6EC}"/>
                </c:ext>
              </c:extLst>
            </c:dLbl>
            <c:dLbl>
              <c:idx val="2"/>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accent4"/>
                      </a:solidFill>
                      <a:latin typeface="+mn-lt"/>
                      <a:ea typeface="+mn-ea"/>
                      <a:cs typeface="+mn-cs"/>
                    </a:defRPr>
                  </a:pPr>
                  <a:endParaRPr lang="es-GT"/>
                </a:p>
              </c:txPr>
              <c:showLegendKey val="0"/>
              <c:showVal val="1"/>
              <c:showCatName val="0"/>
              <c:showSerName val="0"/>
              <c:showPercent val="0"/>
              <c:showBubbleSize val="0"/>
              <c:extLst>
                <c:ext xmlns:c16="http://schemas.microsoft.com/office/drawing/2014/chart" uri="{C3380CC4-5D6E-409C-BE32-E72D297353CC}">
                  <c16:uniqueId val="{00000006-F0AA-4977-B97C-39DF0EB8E6EC}"/>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lumMod val="50000"/>
                      </a:schemeClr>
                    </a:solidFill>
                    <a:latin typeface="+mn-lt"/>
                    <a:ea typeface="+mn-ea"/>
                    <a:cs typeface="+mn-cs"/>
                  </a:defRPr>
                </a:pPr>
                <a:endParaRPr lang="es-G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B$1:$D$1</c:f>
              <c:strCache>
                <c:ptCount val="3"/>
                <c:pt idx="0">
                  <c:v>Escenario Base</c:v>
                </c:pt>
                <c:pt idx="1">
                  <c:v>Índice de Rigor=60</c:v>
                </c:pt>
                <c:pt idx="2">
                  <c:v>Índice de Rigor=70</c:v>
                </c:pt>
              </c:strCache>
            </c:strRef>
          </c:cat>
          <c:val>
            <c:numRef>
              <c:f>Hoja1!$B$2:$D$2</c:f>
              <c:numCache>
                <c:formatCode>General</c:formatCode>
                <c:ptCount val="3"/>
                <c:pt idx="0">
                  <c:v>2.2999999999999998</c:v>
                </c:pt>
                <c:pt idx="1">
                  <c:v>2.5</c:v>
                </c:pt>
                <c:pt idx="2">
                  <c:v>2.6</c:v>
                </c:pt>
              </c:numCache>
            </c:numRef>
          </c:val>
          <c:extLst>
            <c:ext xmlns:c16="http://schemas.microsoft.com/office/drawing/2014/chart" uri="{C3380CC4-5D6E-409C-BE32-E72D297353CC}">
              <c16:uniqueId val="{00000000-F0AA-4977-B97C-39DF0EB8E6EC}"/>
            </c:ext>
          </c:extLst>
        </c:ser>
        <c:dLbls>
          <c:showLegendKey val="0"/>
          <c:showVal val="0"/>
          <c:showCatName val="0"/>
          <c:showSerName val="0"/>
          <c:showPercent val="0"/>
          <c:showBubbleSize val="0"/>
        </c:dLbls>
        <c:gapWidth val="60"/>
        <c:overlap val="-27"/>
        <c:axId val="1180031311"/>
        <c:axId val="1180030479"/>
      </c:barChart>
      <c:catAx>
        <c:axId val="11800313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s-GT"/>
          </a:p>
        </c:txPr>
        <c:crossAx val="1180030479"/>
        <c:crosses val="autoZero"/>
        <c:auto val="1"/>
        <c:lblAlgn val="ctr"/>
        <c:lblOffset val="100"/>
        <c:noMultiLvlLbl val="0"/>
      </c:catAx>
      <c:valAx>
        <c:axId val="1180030479"/>
        <c:scaling>
          <c:orientation val="minMax"/>
          <c:min val="2"/>
        </c:scaling>
        <c:delete val="1"/>
        <c:axPos val="l"/>
        <c:numFmt formatCode="General" sourceLinked="1"/>
        <c:majorTickMark val="out"/>
        <c:minorTickMark val="none"/>
        <c:tickLblPos val="nextTo"/>
        <c:crossAx val="11800313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GT"/>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MX"/>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484189169072417E-2"/>
          <c:y val="4.5901319658369667E-2"/>
          <c:w val="0.85625287810972683"/>
          <c:h val="0.86771235644454303"/>
        </c:manualLayout>
      </c:layout>
      <c:lineChart>
        <c:grouping val="standard"/>
        <c:varyColors val="0"/>
        <c:ser>
          <c:idx val="0"/>
          <c:order val="0"/>
          <c:tx>
            <c:strRef>
              <c:f>Hoja1!$B$1</c:f>
              <c:strCache>
                <c:ptCount val="1"/>
                <c:pt idx="0">
                  <c:v>Bajo </c:v>
                </c:pt>
              </c:strCache>
            </c:strRef>
          </c:tx>
          <c:spPr>
            <a:ln w="44450" cap="rnd">
              <a:solidFill>
                <a:schemeClr val="accent1">
                  <a:lumMod val="75000"/>
                </a:schemeClr>
              </a:solidFill>
              <a:prstDash val="solid"/>
              <a:round/>
            </a:ln>
            <a:effectLst/>
          </c:spPr>
          <c:marker>
            <c:symbol val="none"/>
          </c:marker>
          <c:dPt>
            <c:idx val="7"/>
            <c:marker>
              <c:symbol val="none"/>
            </c:marker>
            <c:bubble3D val="0"/>
            <c:spPr>
              <a:ln w="44450" cap="rnd">
                <a:solidFill>
                  <a:schemeClr val="accent1">
                    <a:lumMod val="75000"/>
                  </a:schemeClr>
                </a:solidFill>
                <a:prstDash val="solid"/>
                <a:round/>
              </a:ln>
              <a:effectLst/>
            </c:spPr>
            <c:extLst>
              <c:ext xmlns:c16="http://schemas.microsoft.com/office/drawing/2014/chart" uri="{C3380CC4-5D6E-409C-BE32-E72D297353CC}">
                <c16:uniqueId val="{00000007-96CC-4AA9-9540-2C51E74ABD7B}"/>
              </c:ext>
            </c:extLst>
          </c:dPt>
          <c:dLbls>
            <c:dLbl>
              <c:idx val="7"/>
              <c:layout>
                <c:manualLayout>
                  <c:x val="2.4750094688600448E-3"/>
                  <c:y val="5.9013480916408412E-4"/>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accent1">
                          <a:lumMod val="50000"/>
                        </a:schemeClr>
                      </a:solidFill>
                      <a:latin typeface="+mn-lt"/>
                      <a:ea typeface="+mn-ea"/>
                      <a:cs typeface="+mn-cs"/>
                    </a:defRPr>
                  </a:pPr>
                  <a:endParaRPr lang="es-GT"/>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6CC-4AA9-9540-2C51E74ABD7B}"/>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accent1">
                        <a:lumMod val="75000"/>
                      </a:schemeClr>
                    </a:solidFill>
                    <a:latin typeface="+mn-lt"/>
                    <a:ea typeface="+mn-ea"/>
                    <a:cs typeface="+mn-cs"/>
                  </a:defRPr>
                </a:pPr>
                <a:endParaRPr lang="es-GT"/>
              </a:p>
            </c:txPr>
            <c:showLegendKey val="0"/>
            <c:showVal val="0"/>
            <c:showCatName val="0"/>
            <c:showSerName val="0"/>
            <c:showPercent val="0"/>
            <c:showBubbleSize val="0"/>
            <c:extLst>
              <c:ext xmlns:c15="http://schemas.microsoft.com/office/drawing/2012/chart" uri="{CE6537A1-D6FC-4f65-9D91-7224C49458BB}">
                <c15:showLeaderLines val="0"/>
              </c:ext>
            </c:extLst>
          </c:dLbls>
          <c:cat>
            <c:numRef>
              <c:f>Hoja1!$A$2:$A$9</c:f>
              <c:numCache>
                <c:formatCode>General</c:formatCode>
                <c:ptCount val="8"/>
                <c:pt idx="0">
                  <c:v>2015</c:v>
                </c:pt>
                <c:pt idx="1">
                  <c:v>2016</c:v>
                </c:pt>
                <c:pt idx="2">
                  <c:v>2017</c:v>
                </c:pt>
                <c:pt idx="3">
                  <c:v>2018</c:v>
                </c:pt>
                <c:pt idx="4">
                  <c:v>2019</c:v>
                </c:pt>
                <c:pt idx="5">
                  <c:v>2020</c:v>
                </c:pt>
                <c:pt idx="6">
                  <c:v>2021</c:v>
                </c:pt>
                <c:pt idx="7">
                  <c:v>2022</c:v>
                </c:pt>
              </c:numCache>
            </c:numRef>
          </c:cat>
          <c:val>
            <c:numRef>
              <c:f>Hoja1!$B$2:$B$9</c:f>
              <c:numCache>
                <c:formatCode>General</c:formatCode>
                <c:ptCount val="8"/>
                <c:pt idx="0">
                  <c:v>10.4</c:v>
                </c:pt>
                <c:pt idx="1">
                  <c:v>10.8</c:v>
                </c:pt>
                <c:pt idx="2">
                  <c:v>10.8</c:v>
                </c:pt>
                <c:pt idx="3">
                  <c:v>10.7</c:v>
                </c:pt>
                <c:pt idx="4">
                  <c:v>10.6</c:v>
                </c:pt>
                <c:pt idx="5">
                  <c:v>10.1</c:v>
                </c:pt>
                <c:pt idx="6">
                  <c:v>10.5</c:v>
                </c:pt>
                <c:pt idx="7">
                  <c:v>10.5</c:v>
                </c:pt>
              </c:numCache>
            </c:numRef>
          </c:val>
          <c:smooth val="0"/>
          <c:extLst>
            <c:ext xmlns:c16="http://schemas.microsoft.com/office/drawing/2014/chart" uri="{C3380CC4-5D6E-409C-BE32-E72D297353CC}">
              <c16:uniqueId val="{00000005-96CC-4AA9-9540-2C51E74ABD7B}"/>
            </c:ext>
          </c:extLst>
        </c:ser>
        <c:ser>
          <c:idx val="1"/>
          <c:order val="1"/>
          <c:tx>
            <c:strRef>
              <c:f>Hoja1!$C$1</c:f>
              <c:strCache>
                <c:ptCount val="1"/>
                <c:pt idx="0">
                  <c:v>Medio </c:v>
                </c:pt>
              </c:strCache>
            </c:strRef>
          </c:tx>
          <c:spPr>
            <a:ln w="44450" cap="rnd">
              <a:solidFill>
                <a:schemeClr val="accent2"/>
              </a:solidFill>
              <a:prstDash val="sysDash"/>
              <a:round/>
            </a:ln>
            <a:effectLst/>
          </c:spPr>
          <c:marker>
            <c:symbol val="none"/>
          </c:marker>
          <c:dLbls>
            <c:dLbl>
              <c:idx val="0"/>
              <c:layout>
                <c:manualLayout>
                  <c:x val="-3.5993381262124931E-2"/>
                  <c:y val="3.13073017312101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541-40DF-ADFA-AA6DA9858F94}"/>
                </c:ext>
              </c:extLst>
            </c:dLbl>
            <c:dLbl>
              <c:idx val="5"/>
              <c:layout>
                <c:manualLayout>
                  <c:x val="-3.4051979915554031E-2"/>
                  <c:y val="4.373543492432239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6CC-4AA9-9540-2C51E74ABD7B}"/>
                </c:ext>
              </c:extLst>
            </c:dLbl>
            <c:dLbl>
              <c:idx val="7"/>
              <c:layout>
                <c:manualLayout>
                  <c:x val="1.5354315632110904E-2"/>
                  <c:y val="-7.3944203416428846E-3"/>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accent2"/>
                      </a:solidFill>
                      <a:latin typeface="+mn-lt"/>
                      <a:ea typeface="+mn-ea"/>
                      <a:cs typeface="+mn-cs"/>
                    </a:defRPr>
                  </a:pPr>
                  <a:endParaRPr lang="es-GT"/>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541-40DF-ADFA-AA6DA9858F94}"/>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accent1">
                        <a:lumMod val="75000"/>
                      </a:schemeClr>
                    </a:solidFill>
                    <a:latin typeface="+mn-lt"/>
                    <a:ea typeface="+mn-ea"/>
                    <a:cs typeface="+mn-cs"/>
                  </a:defRPr>
                </a:pPr>
                <a:endParaRPr lang="es-GT"/>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Hoja1!$A$2:$A$9</c:f>
              <c:numCache>
                <c:formatCode>General</c:formatCode>
                <c:ptCount val="8"/>
                <c:pt idx="0">
                  <c:v>2015</c:v>
                </c:pt>
                <c:pt idx="1">
                  <c:v>2016</c:v>
                </c:pt>
                <c:pt idx="2">
                  <c:v>2017</c:v>
                </c:pt>
                <c:pt idx="3">
                  <c:v>2018</c:v>
                </c:pt>
                <c:pt idx="4">
                  <c:v>2019</c:v>
                </c:pt>
                <c:pt idx="5">
                  <c:v>2020</c:v>
                </c:pt>
                <c:pt idx="6">
                  <c:v>2021</c:v>
                </c:pt>
                <c:pt idx="7">
                  <c:v>2022</c:v>
                </c:pt>
              </c:numCache>
            </c:numRef>
          </c:cat>
          <c:val>
            <c:numRef>
              <c:f>Hoja1!$C$2:$C$9</c:f>
              <c:numCache>
                <c:formatCode>General</c:formatCode>
                <c:ptCount val="8"/>
                <c:pt idx="0">
                  <c:v>10.4</c:v>
                </c:pt>
                <c:pt idx="1">
                  <c:v>10.8</c:v>
                </c:pt>
                <c:pt idx="2">
                  <c:v>10.8</c:v>
                </c:pt>
                <c:pt idx="3">
                  <c:v>10.7</c:v>
                </c:pt>
                <c:pt idx="4">
                  <c:v>10.6</c:v>
                </c:pt>
                <c:pt idx="5">
                  <c:v>10.1</c:v>
                </c:pt>
                <c:pt idx="6">
                  <c:v>10.5</c:v>
                </c:pt>
                <c:pt idx="7">
                  <c:v>10.6</c:v>
                </c:pt>
              </c:numCache>
            </c:numRef>
          </c:val>
          <c:smooth val="0"/>
          <c:extLst>
            <c:ext xmlns:c16="http://schemas.microsoft.com/office/drawing/2014/chart" uri="{C3380CC4-5D6E-409C-BE32-E72D297353CC}">
              <c16:uniqueId val="{00000003-96CC-4AA9-9540-2C51E74ABD7B}"/>
            </c:ext>
          </c:extLst>
        </c:ser>
        <c:ser>
          <c:idx val="2"/>
          <c:order val="2"/>
          <c:tx>
            <c:strRef>
              <c:f>Hoja1!$D$1</c:f>
              <c:strCache>
                <c:ptCount val="1"/>
                <c:pt idx="0">
                  <c:v>Alto</c:v>
                </c:pt>
              </c:strCache>
            </c:strRef>
          </c:tx>
          <c:spPr>
            <a:ln w="44450" cap="rnd">
              <a:solidFill>
                <a:schemeClr val="accent3"/>
              </a:solidFill>
              <a:prstDash val="sysDot"/>
              <a:round/>
            </a:ln>
            <a:effectLst>
              <a:outerShdw blurRad="50800" dist="50800" dir="5400000" sx="1000" sy="1000" algn="ctr" rotWithShape="0">
                <a:srgbClr val="000000">
                  <a:alpha val="43137"/>
                </a:srgbClr>
              </a:outerShdw>
            </a:effectLst>
          </c:spPr>
          <c:marker>
            <c:symbol val="none"/>
          </c:marker>
          <c:dLbls>
            <c:dLbl>
              <c:idx val="7"/>
              <c:layout>
                <c:manualLayout>
                  <c:x val="-2.4750094688600448E-3"/>
                  <c:y val="-1.9801088709072309E-2"/>
                </c:manualLayout>
              </c:layout>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2">
                          <a:lumMod val="50000"/>
                        </a:schemeClr>
                      </a:solidFill>
                      <a:latin typeface="+mn-lt"/>
                      <a:ea typeface="+mn-ea"/>
                      <a:cs typeface="+mn-cs"/>
                    </a:defRPr>
                  </a:pPr>
                  <a:endParaRPr lang="es-GT"/>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541-40DF-ADFA-AA6DA9858F94}"/>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es-GT"/>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A$2:$A$9</c:f>
              <c:numCache>
                <c:formatCode>General</c:formatCode>
                <c:ptCount val="8"/>
                <c:pt idx="0">
                  <c:v>2015</c:v>
                </c:pt>
                <c:pt idx="1">
                  <c:v>2016</c:v>
                </c:pt>
                <c:pt idx="2">
                  <c:v>2017</c:v>
                </c:pt>
                <c:pt idx="3">
                  <c:v>2018</c:v>
                </c:pt>
                <c:pt idx="4">
                  <c:v>2019</c:v>
                </c:pt>
                <c:pt idx="5">
                  <c:v>2020</c:v>
                </c:pt>
                <c:pt idx="6">
                  <c:v>2021</c:v>
                </c:pt>
                <c:pt idx="7">
                  <c:v>2022</c:v>
                </c:pt>
              </c:numCache>
            </c:numRef>
          </c:cat>
          <c:val>
            <c:numRef>
              <c:f>Hoja1!$D$2:$D$9</c:f>
              <c:numCache>
                <c:formatCode>General</c:formatCode>
                <c:ptCount val="8"/>
                <c:pt idx="0">
                  <c:v>10.4</c:v>
                </c:pt>
                <c:pt idx="1">
                  <c:v>10.8</c:v>
                </c:pt>
                <c:pt idx="2">
                  <c:v>10.8</c:v>
                </c:pt>
                <c:pt idx="3">
                  <c:v>10.7</c:v>
                </c:pt>
                <c:pt idx="4">
                  <c:v>10.6</c:v>
                </c:pt>
                <c:pt idx="5">
                  <c:v>10.1</c:v>
                </c:pt>
                <c:pt idx="6">
                  <c:v>10.5</c:v>
                </c:pt>
                <c:pt idx="7">
                  <c:v>10.7</c:v>
                </c:pt>
              </c:numCache>
            </c:numRef>
          </c:val>
          <c:smooth val="0"/>
          <c:extLst>
            <c:ext xmlns:c16="http://schemas.microsoft.com/office/drawing/2014/chart" uri="{C3380CC4-5D6E-409C-BE32-E72D297353CC}">
              <c16:uniqueId val="{00000005-9541-40DF-ADFA-AA6DA9858F94}"/>
            </c:ext>
          </c:extLst>
        </c:ser>
        <c:dLbls>
          <c:showLegendKey val="0"/>
          <c:showVal val="0"/>
          <c:showCatName val="0"/>
          <c:showSerName val="0"/>
          <c:showPercent val="0"/>
          <c:showBubbleSize val="0"/>
        </c:dLbls>
        <c:smooth val="0"/>
        <c:axId val="2067651615"/>
        <c:axId val="2067649119"/>
      </c:lineChart>
      <c:catAx>
        <c:axId val="20676516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s-GT"/>
          </a:p>
        </c:txPr>
        <c:crossAx val="2067649119"/>
        <c:crosses val="autoZero"/>
        <c:auto val="1"/>
        <c:lblAlgn val="ctr"/>
        <c:lblOffset val="100"/>
        <c:noMultiLvlLbl val="0"/>
      </c:catAx>
      <c:valAx>
        <c:axId val="2067649119"/>
        <c:scaling>
          <c:orientation val="minMax"/>
        </c:scaling>
        <c:delete val="0"/>
        <c:axPos val="l"/>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s-GT"/>
          </a:p>
        </c:txPr>
        <c:crossAx val="2067651615"/>
        <c:crosses val="autoZero"/>
        <c:crossBetween val="between"/>
      </c:valAx>
      <c:spPr>
        <a:noFill/>
        <a:ln>
          <a:noFill/>
        </a:ln>
        <a:effectLst/>
      </c:spPr>
    </c:plotArea>
    <c:legend>
      <c:legendPos val="b"/>
      <c:layout>
        <c:manualLayout>
          <c:xMode val="edge"/>
          <c:yMode val="edge"/>
          <c:x val="0.39868135636473834"/>
          <c:y val="0.79241925179747985"/>
          <c:w val="0.56825552525107526"/>
          <c:h val="6.5358282219804928E-2"/>
        </c:manualLayout>
      </c:layout>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s-G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GT"/>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MX"/>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484189169072417E-2"/>
          <c:y val="4.5901319658369667E-2"/>
          <c:w val="0.88405794934366877"/>
          <c:h val="0.86771235644454303"/>
        </c:manualLayout>
      </c:layout>
      <c:lineChart>
        <c:grouping val="standard"/>
        <c:varyColors val="0"/>
        <c:ser>
          <c:idx val="0"/>
          <c:order val="0"/>
          <c:tx>
            <c:strRef>
              <c:f>Hoja1!$B$1</c:f>
              <c:strCache>
                <c:ptCount val="1"/>
                <c:pt idx="0">
                  <c:v>Bajo </c:v>
                </c:pt>
              </c:strCache>
            </c:strRef>
          </c:tx>
          <c:spPr>
            <a:ln w="44450" cap="rnd">
              <a:solidFill>
                <a:schemeClr val="accent1">
                  <a:lumMod val="75000"/>
                </a:schemeClr>
              </a:solidFill>
              <a:prstDash val="solid"/>
              <a:round/>
            </a:ln>
            <a:effectLst/>
          </c:spPr>
          <c:marker>
            <c:symbol val="none"/>
          </c:marker>
          <c:dPt>
            <c:idx val="7"/>
            <c:marker>
              <c:symbol val="none"/>
            </c:marker>
            <c:bubble3D val="0"/>
            <c:spPr>
              <a:ln w="44450" cap="rnd">
                <a:solidFill>
                  <a:schemeClr val="accent1">
                    <a:lumMod val="75000"/>
                  </a:schemeClr>
                </a:solidFill>
                <a:prstDash val="solid"/>
                <a:round/>
              </a:ln>
              <a:effectLst/>
            </c:spPr>
            <c:extLst>
              <c:ext xmlns:c16="http://schemas.microsoft.com/office/drawing/2014/chart" uri="{C3380CC4-5D6E-409C-BE32-E72D297353CC}">
                <c16:uniqueId val="{00000001-5621-4D51-A72B-B4B2A5EFD585}"/>
              </c:ext>
            </c:extLst>
          </c:dPt>
          <c:dLbls>
            <c:dLbl>
              <c:idx val="7"/>
              <c:layout>
                <c:manualLayout>
                  <c:x val="2.4750094688600448E-3"/>
                  <c:y val="5.9013480916408412E-4"/>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accent1">
                          <a:lumMod val="50000"/>
                        </a:schemeClr>
                      </a:solidFill>
                      <a:latin typeface="+mn-lt"/>
                      <a:ea typeface="+mn-ea"/>
                      <a:cs typeface="+mn-cs"/>
                    </a:defRPr>
                  </a:pPr>
                  <a:endParaRPr lang="es-GT"/>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21-4D51-A72B-B4B2A5EFD585}"/>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accent1">
                        <a:lumMod val="75000"/>
                      </a:schemeClr>
                    </a:solidFill>
                    <a:latin typeface="+mn-lt"/>
                    <a:ea typeface="+mn-ea"/>
                    <a:cs typeface="+mn-cs"/>
                  </a:defRPr>
                </a:pPr>
                <a:endParaRPr lang="es-GT"/>
              </a:p>
            </c:txPr>
            <c:showLegendKey val="0"/>
            <c:showVal val="0"/>
            <c:showCatName val="0"/>
            <c:showSerName val="0"/>
            <c:showPercent val="0"/>
            <c:showBubbleSize val="0"/>
            <c:extLst>
              <c:ext xmlns:c15="http://schemas.microsoft.com/office/drawing/2012/chart" uri="{CE6537A1-D6FC-4f65-9D91-7224C49458BB}">
                <c15:showLeaderLines val="0"/>
              </c:ext>
            </c:extLst>
          </c:dLbls>
          <c:cat>
            <c:numRef>
              <c:f>Hoja1!$A$2:$A$9</c:f>
              <c:numCache>
                <c:formatCode>General</c:formatCode>
                <c:ptCount val="8"/>
                <c:pt idx="0">
                  <c:v>2015</c:v>
                </c:pt>
                <c:pt idx="1">
                  <c:v>2016</c:v>
                </c:pt>
                <c:pt idx="2">
                  <c:v>2017</c:v>
                </c:pt>
                <c:pt idx="3">
                  <c:v>2018</c:v>
                </c:pt>
                <c:pt idx="4">
                  <c:v>2019</c:v>
                </c:pt>
                <c:pt idx="5">
                  <c:v>2020</c:v>
                </c:pt>
                <c:pt idx="6">
                  <c:v>2021</c:v>
                </c:pt>
                <c:pt idx="7">
                  <c:v>2022</c:v>
                </c:pt>
              </c:numCache>
            </c:numRef>
          </c:cat>
          <c:val>
            <c:numRef>
              <c:f>Hoja1!$B$2:$B$9</c:f>
              <c:numCache>
                <c:formatCode>General</c:formatCode>
                <c:ptCount val="8"/>
                <c:pt idx="0">
                  <c:v>10.4</c:v>
                </c:pt>
                <c:pt idx="1">
                  <c:v>10.8</c:v>
                </c:pt>
                <c:pt idx="2">
                  <c:v>10.8</c:v>
                </c:pt>
                <c:pt idx="3">
                  <c:v>10.7</c:v>
                </c:pt>
                <c:pt idx="4">
                  <c:v>10.6</c:v>
                </c:pt>
                <c:pt idx="5">
                  <c:v>10.1</c:v>
                </c:pt>
                <c:pt idx="6">
                  <c:v>11</c:v>
                </c:pt>
                <c:pt idx="7">
                  <c:v>10.7</c:v>
                </c:pt>
              </c:numCache>
            </c:numRef>
          </c:val>
          <c:smooth val="0"/>
          <c:extLst>
            <c:ext xmlns:c16="http://schemas.microsoft.com/office/drawing/2014/chart" uri="{C3380CC4-5D6E-409C-BE32-E72D297353CC}">
              <c16:uniqueId val="{00000002-5621-4D51-A72B-B4B2A5EFD585}"/>
            </c:ext>
          </c:extLst>
        </c:ser>
        <c:ser>
          <c:idx val="1"/>
          <c:order val="1"/>
          <c:tx>
            <c:strRef>
              <c:f>Hoja1!$C$1</c:f>
              <c:strCache>
                <c:ptCount val="1"/>
                <c:pt idx="0">
                  <c:v>Medio </c:v>
                </c:pt>
              </c:strCache>
            </c:strRef>
          </c:tx>
          <c:spPr>
            <a:ln w="44450" cap="rnd">
              <a:solidFill>
                <a:schemeClr val="accent2"/>
              </a:solidFill>
              <a:prstDash val="sysDash"/>
              <a:round/>
            </a:ln>
            <a:effectLst/>
          </c:spPr>
          <c:marker>
            <c:symbol val="none"/>
          </c:marker>
          <c:dLbls>
            <c:dLbl>
              <c:idx val="0"/>
              <c:layout>
                <c:manualLayout>
                  <c:x val="-3.5993381262124931E-2"/>
                  <c:y val="3.13073017312101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621-4D51-A72B-B4B2A5EFD585}"/>
                </c:ext>
              </c:extLst>
            </c:dLbl>
            <c:dLbl>
              <c:idx val="5"/>
              <c:layout>
                <c:manualLayout>
                  <c:x val="-3.4051979915554031E-2"/>
                  <c:y val="4.373543492432239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621-4D51-A72B-B4B2A5EFD585}"/>
                </c:ext>
              </c:extLst>
            </c:dLbl>
            <c:dLbl>
              <c:idx val="7"/>
              <c:layout>
                <c:manualLayout>
                  <c:x val="1.5354315632110904E-2"/>
                  <c:y val="-7.3944203416428846E-3"/>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accent2"/>
                      </a:solidFill>
                      <a:latin typeface="+mn-lt"/>
                      <a:ea typeface="+mn-ea"/>
                      <a:cs typeface="+mn-cs"/>
                    </a:defRPr>
                  </a:pPr>
                  <a:endParaRPr lang="es-GT"/>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621-4D51-A72B-B4B2A5EFD585}"/>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accent1">
                        <a:lumMod val="75000"/>
                      </a:schemeClr>
                    </a:solidFill>
                    <a:latin typeface="+mn-lt"/>
                    <a:ea typeface="+mn-ea"/>
                    <a:cs typeface="+mn-cs"/>
                  </a:defRPr>
                </a:pPr>
                <a:endParaRPr lang="es-GT"/>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Hoja1!$A$2:$A$9</c:f>
              <c:numCache>
                <c:formatCode>General</c:formatCode>
                <c:ptCount val="8"/>
                <c:pt idx="0">
                  <c:v>2015</c:v>
                </c:pt>
                <c:pt idx="1">
                  <c:v>2016</c:v>
                </c:pt>
                <c:pt idx="2">
                  <c:v>2017</c:v>
                </c:pt>
                <c:pt idx="3">
                  <c:v>2018</c:v>
                </c:pt>
                <c:pt idx="4">
                  <c:v>2019</c:v>
                </c:pt>
                <c:pt idx="5">
                  <c:v>2020</c:v>
                </c:pt>
                <c:pt idx="6">
                  <c:v>2021</c:v>
                </c:pt>
                <c:pt idx="7">
                  <c:v>2022</c:v>
                </c:pt>
              </c:numCache>
            </c:numRef>
          </c:cat>
          <c:val>
            <c:numRef>
              <c:f>Hoja1!$C$2:$C$9</c:f>
              <c:numCache>
                <c:formatCode>General</c:formatCode>
                <c:ptCount val="8"/>
                <c:pt idx="0">
                  <c:v>10.4</c:v>
                </c:pt>
                <c:pt idx="1">
                  <c:v>10.8</c:v>
                </c:pt>
                <c:pt idx="2">
                  <c:v>10.8</c:v>
                </c:pt>
                <c:pt idx="3">
                  <c:v>10.7</c:v>
                </c:pt>
                <c:pt idx="4">
                  <c:v>10.6</c:v>
                </c:pt>
                <c:pt idx="5">
                  <c:v>10.1</c:v>
                </c:pt>
                <c:pt idx="6">
                  <c:v>11</c:v>
                </c:pt>
                <c:pt idx="7">
                  <c:v>10.8</c:v>
                </c:pt>
              </c:numCache>
            </c:numRef>
          </c:val>
          <c:smooth val="0"/>
          <c:extLst>
            <c:ext xmlns:c16="http://schemas.microsoft.com/office/drawing/2014/chart" uri="{C3380CC4-5D6E-409C-BE32-E72D297353CC}">
              <c16:uniqueId val="{00000006-5621-4D51-A72B-B4B2A5EFD585}"/>
            </c:ext>
          </c:extLst>
        </c:ser>
        <c:ser>
          <c:idx val="2"/>
          <c:order val="2"/>
          <c:tx>
            <c:strRef>
              <c:f>Hoja1!$D$1</c:f>
              <c:strCache>
                <c:ptCount val="1"/>
                <c:pt idx="0">
                  <c:v>Alto</c:v>
                </c:pt>
              </c:strCache>
            </c:strRef>
          </c:tx>
          <c:spPr>
            <a:ln w="44450" cap="rnd">
              <a:solidFill>
                <a:schemeClr val="accent3"/>
              </a:solidFill>
              <a:prstDash val="sysDot"/>
              <a:round/>
            </a:ln>
            <a:effectLst/>
          </c:spPr>
          <c:marker>
            <c:symbol val="none"/>
          </c:marker>
          <c:dLbls>
            <c:dLbl>
              <c:idx val="7"/>
              <c:layout>
                <c:manualLayout>
                  <c:x val="-2.4750094688600448E-3"/>
                  <c:y val="-1.9801088709072309E-2"/>
                </c:manualLayout>
              </c:layout>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2">
                          <a:lumMod val="50000"/>
                        </a:schemeClr>
                      </a:solidFill>
                      <a:latin typeface="+mn-lt"/>
                      <a:ea typeface="+mn-ea"/>
                      <a:cs typeface="+mn-cs"/>
                    </a:defRPr>
                  </a:pPr>
                  <a:endParaRPr lang="es-GT"/>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621-4D51-A72B-B4B2A5EFD585}"/>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es-GT"/>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A$2:$A$9</c:f>
              <c:numCache>
                <c:formatCode>General</c:formatCode>
                <c:ptCount val="8"/>
                <c:pt idx="0">
                  <c:v>2015</c:v>
                </c:pt>
                <c:pt idx="1">
                  <c:v>2016</c:v>
                </c:pt>
                <c:pt idx="2">
                  <c:v>2017</c:v>
                </c:pt>
                <c:pt idx="3">
                  <c:v>2018</c:v>
                </c:pt>
                <c:pt idx="4">
                  <c:v>2019</c:v>
                </c:pt>
                <c:pt idx="5">
                  <c:v>2020</c:v>
                </c:pt>
                <c:pt idx="6">
                  <c:v>2021</c:v>
                </c:pt>
                <c:pt idx="7">
                  <c:v>2022</c:v>
                </c:pt>
              </c:numCache>
            </c:numRef>
          </c:cat>
          <c:val>
            <c:numRef>
              <c:f>Hoja1!$D$2:$D$9</c:f>
              <c:numCache>
                <c:formatCode>General</c:formatCode>
                <c:ptCount val="8"/>
                <c:pt idx="0">
                  <c:v>10.4</c:v>
                </c:pt>
                <c:pt idx="1">
                  <c:v>10.8</c:v>
                </c:pt>
                <c:pt idx="2">
                  <c:v>10.8</c:v>
                </c:pt>
                <c:pt idx="3">
                  <c:v>10.7</c:v>
                </c:pt>
                <c:pt idx="4">
                  <c:v>10.6</c:v>
                </c:pt>
                <c:pt idx="5">
                  <c:v>10.1</c:v>
                </c:pt>
                <c:pt idx="6">
                  <c:v>11</c:v>
                </c:pt>
                <c:pt idx="7">
                  <c:v>10.9</c:v>
                </c:pt>
              </c:numCache>
            </c:numRef>
          </c:val>
          <c:smooth val="0"/>
          <c:extLst>
            <c:ext xmlns:c16="http://schemas.microsoft.com/office/drawing/2014/chart" uri="{C3380CC4-5D6E-409C-BE32-E72D297353CC}">
              <c16:uniqueId val="{00000008-5621-4D51-A72B-B4B2A5EFD585}"/>
            </c:ext>
          </c:extLst>
        </c:ser>
        <c:dLbls>
          <c:showLegendKey val="0"/>
          <c:showVal val="0"/>
          <c:showCatName val="0"/>
          <c:showSerName val="0"/>
          <c:showPercent val="0"/>
          <c:showBubbleSize val="0"/>
        </c:dLbls>
        <c:smooth val="0"/>
        <c:axId val="2067651615"/>
        <c:axId val="2067649119"/>
      </c:lineChart>
      <c:catAx>
        <c:axId val="20676516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s-GT"/>
          </a:p>
        </c:txPr>
        <c:crossAx val="2067649119"/>
        <c:crosses val="autoZero"/>
        <c:auto val="1"/>
        <c:lblAlgn val="ctr"/>
        <c:lblOffset val="100"/>
        <c:noMultiLvlLbl val="0"/>
      </c:catAx>
      <c:valAx>
        <c:axId val="2067649119"/>
        <c:scaling>
          <c:orientation val="minMax"/>
        </c:scaling>
        <c:delete val="0"/>
        <c:axPos val="l"/>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s-GT"/>
          </a:p>
        </c:txPr>
        <c:crossAx val="2067651615"/>
        <c:crosses val="autoZero"/>
        <c:crossBetween val="between"/>
      </c:valAx>
      <c:spPr>
        <a:noFill/>
        <a:ln>
          <a:noFill/>
        </a:ln>
        <a:effectLst/>
      </c:spPr>
    </c:plotArea>
    <c:legend>
      <c:legendPos val="b"/>
      <c:layout>
        <c:manualLayout>
          <c:xMode val="edge"/>
          <c:yMode val="edge"/>
          <c:x val="0.39868135636473834"/>
          <c:y val="0.79241925179747985"/>
          <c:w val="0.56825552525107526"/>
          <c:h val="6.5358282219804928E-2"/>
        </c:manualLayout>
      </c:layout>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s-G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GT"/>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MX"/>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Hoja1!$B$1</c:f>
              <c:strCache>
                <c:ptCount val="1"/>
                <c:pt idx="0">
                  <c:v>Serie 1</c:v>
                </c:pt>
              </c:strCache>
            </c:strRef>
          </c:tx>
          <c:spPr>
            <a:ln w="28575" cap="rnd">
              <a:solidFill>
                <a:schemeClr val="accent1"/>
              </a:solidFill>
              <a:round/>
            </a:ln>
            <a:effectLst>
              <a:glow rad="50800">
                <a:srgbClr val="FFFF00">
                  <a:alpha val="45000"/>
                </a:srgbClr>
              </a:glow>
            </a:effectLst>
          </c:spPr>
          <c:marker>
            <c:symbol val="circle"/>
            <c:size val="8"/>
            <c:spPr>
              <a:solidFill>
                <a:schemeClr val="bg1"/>
              </a:solidFill>
              <a:ln w="9525">
                <a:solidFill>
                  <a:schemeClr val="accent1"/>
                </a:solidFill>
              </a:ln>
              <a:effectLst>
                <a:glow rad="50800">
                  <a:srgbClr val="FFFF00">
                    <a:alpha val="45000"/>
                  </a:srgbClr>
                </a:glow>
              </a:effectLst>
            </c:spPr>
          </c:marker>
          <c:dLbls>
            <c:dLbl>
              <c:idx val="1"/>
              <c:layout>
                <c:manualLayout>
                  <c:x val="-2.3182414698162741E-2"/>
                  <c:y val="3.99709238859403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DE1-4111-882E-6DC8A7276D5C}"/>
                </c:ext>
              </c:extLst>
            </c:dLbl>
            <c:dLbl>
              <c:idx val="3"/>
              <c:layout>
                <c:manualLayout>
                  <c:x val="-2.1935410247632091E-2"/>
                  <c:y val="5.456413636449294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DE1-4111-882E-6DC8A7276D5C}"/>
                </c:ext>
              </c:extLst>
            </c:dLbl>
            <c:dLbl>
              <c:idx val="5"/>
              <c:layout>
                <c:manualLayout>
                  <c:x val="-1.3481303967438853E-2"/>
                  <c:y val="3.997092388594036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DE1-4111-882E-6DC8A7276D5C}"/>
                </c:ext>
              </c:extLst>
            </c:dLbl>
            <c:dLbl>
              <c:idx val="6"/>
              <c:layout>
                <c:manualLayout>
                  <c:x val="-3.877724523564989E-2"/>
                  <c:y val="-4.46697084896645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DE1-4111-882E-6DC8A7276D5C}"/>
                </c:ext>
              </c:extLst>
            </c:dLbl>
            <c:dLbl>
              <c:idx val="7"/>
              <c:layout>
                <c:manualLayout>
                  <c:x val="-7.3762790520750564E-3"/>
                  <c:y val="-4.175106599395406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DE1-4111-882E-6DC8A7276D5C}"/>
                </c:ext>
              </c:extLst>
            </c:dLbl>
            <c:dLbl>
              <c:idx val="8"/>
              <c:layout>
                <c:manualLayout>
                  <c:x val="-4.7297729088211844E-2"/>
                  <c:y val="2.53777114073877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DE1-4111-882E-6DC8A7276D5C}"/>
                </c:ext>
              </c:extLst>
            </c:dLbl>
            <c:dLbl>
              <c:idx val="9"/>
              <c:layout>
                <c:manualLayout>
                  <c:x val="-2.1733139335843889E-2"/>
                  <c:y val="5.748277886020335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DE1-4111-882E-6DC8A7276D5C}"/>
                </c:ext>
              </c:extLst>
            </c:dLbl>
            <c:dLbl>
              <c:idx val="10"/>
              <c:layout>
                <c:manualLayout>
                  <c:x val="-3.2804975465023485E-2"/>
                  <c:y val="-3.883242349824358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DE1-4111-882E-6DC8A7276D5C}"/>
                </c:ext>
              </c:extLst>
            </c:dLbl>
            <c:dLbl>
              <c:idx val="12"/>
              <c:layout>
                <c:manualLayout>
                  <c:x val="-2.1935410247632091E-2"/>
                  <c:y val="3.705228139022985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DE1-4111-882E-6DC8A7276D5C}"/>
                </c:ext>
              </c:extLst>
            </c:dLbl>
            <c:dLbl>
              <c:idx val="15"/>
              <c:layout>
                <c:manualLayout>
                  <c:x val="-1.7104492373235955E-2"/>
                  <c:y val="6.623870634733500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5DE1-4111-882E-6DC8A7276D5C}"/>
                </c:ext>
              </c:extLst>
            </c:dLbl>
            <c:dLbl>
              <c:idx val="20"/>
              <c:layout>
                <c:manualLayout>
                  <c:x val="-2.3142759328996919E-2"/>
                  <c:y val="5.748277886020335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5DE1-4111-882E-6DC8A7276D5C}"/>
                </c:ext>
              </c:extLst>
            </c:dLbl>
            <c:dLbl>
              <c:idx val="22"/>
              <c:layout>
                <c:manualLayout>
                  <c:x val="-1.2167921944539719E-2"/>
                  <c:y val="3.997092388594036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5DE1-4111-882E-6DC8A7276D5C}"/>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75000"/>
                        <a:lumOff val="25000"/>
                      </a:schemeClr>
                    </a:solidFill>
                    <a:latin typeface="+mn-lt"/>
                    <a:ea typeface="+mn-ea"/>
                    <a:cs typeface="+mn-cs"/>
                  </a:defRPr>
                </a:pPr>
                <a:endParaRPr lang="es-GT"/>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A$2:$A$24</c:f>
              <c:numCache>
                <c:formatCode>General</c:formatCod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numCache>
            </c:numRef>
          </c:cat>
          <c:val>
            <c:numRef>
              <c:f>Hoja1!$B$2:$B$24</c:f>
              <c:numCache>
                <c:formatCode>General</c:formatCode>
                <c:ptCount val="23"/>
                <c:pt idx="0">
                  <c:v>12.045348515473675</c:v>
                </c:pt>
                <c:pt idx="1">
                  <c:v>12.418161413651418</c:v>
                </c:pt>
                <c:pt idx="2">
                  <c:v>21.131231365144188</c:v>
                </c:pt>
                <c:pt idx="3">
                  <c:v>5.1103978775439041</c:v>
                </c:pt>
                <c:pt idx="4">
                  <c:v>8.3490360895981386</c:v>
                </c:pt>
                <c:pt idx="5">
                  <c:v>6.0803028595638464</c:v>
                </c:pt>
                <c:pt idx="6">
                  <c:v>16.851400448732189</c:v>
                </c:pt>
                <c:pt idx="7">
                  <c:v>15.805859195776396</c:v>
                </c:pt>
                <c:pt idx="8">
                  <c:v>5.353806128160965</c:v>
                </c:pt>
                <c:pt idx="9">
                  <c:v>-4.8773882552908265</c:v>
                </c:pt>
                <c:pt idx="10">
                  <c:v>9.5737320425216552</c:v>
                </c:pt>
                <c:pt idx="11">
                  <c:v>15.875123796090019</c:v>
                </c:pt>
                <c:pt idx="12">
                  <c:v>6.2733429188613909</c:v>
                </c:pt>
                <c:pt idx="13">
                  <c:v>8.2104858147470381</c:v>
                </c:pt>
                <c:pt idx="14">
                  <c:v>5.9594854169263023</c:v>
                </c:pt>
                <c:pt idx="15">
                  <c:v>1.2909630908198189</c:v>
                </c:pt>
                <c:pt idx="16">
                  <c:v>8.8048669447153838</c:v>
                </c:pt>
                <c:pt idx="17">
                  <c:v>4.7581650280832166</c:v>
                </c:pt>
                <c:pt idx="18">
                  <c:v>3.7956311303071422</c:v>
                </c:pt>
                <c:pt idx="19">
                  <c:v>6.3878097653572219</c:v>
                </c:pt>
                <c:pt idx="20">
                  <c:v>-3.6971244964329686</c:v>
                </c:pt>
                <c:pt idx="21">
                  <c:v>17.400602189506522</c:v>
                </c:pt>
                <c:pt idx="22">
                  <c:v>5.0864896012625449</c:v>
                </c:pt>
              </c:numCache>
            </c:numRef>
          </c:val>
          <c:smooth val="1"/>
          <c:extLst>
            <c:ext xmlns:c16="http://schemas.microsoft.com/office/drawing/2014/chart" uri="{C3380CC4-5D6E-409C-BE32-E72D297353CC}">
              <c16:uniqueId val="{0000000C-5DE1-4111-882E-6DC8A7276D5C}"/>
            </c:ext>
          </c:extLst>
        </c:ser>
        <c:dLbls>
          <c:showLegendKey val="0"/>
          <c:showVal val="0"/>
          <c:showCatName val="0"/>
          <c:showSerName val="0"/>
          <c:showPercent val="0"/>
          <c:showBubbleSize val="0"/>
        </c:dLbls>
        <c:marker val="1"/>
        <c:smooth val="0"/>
        <c:axId val="325067512"/>
        <c:axId val="325068496"/>
      </c:lineChart>
      <c:catAx>
        <c:axId val="32506751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s-GT"/>
          </a:p>
        </c:txPr>
        <c:crossAx val="325068496"/>
        <c:crosses val="autoZero"/>
        <c:auto val="1"/>
        <c:lblAlgn val="ctr"/>
        <c:lblOffset val="100"/>
        <c:noMultiLvlLbl val="0"/>
      </c:catAx>
      <c:valAx>
        <c:axId val="3250684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s-GT"/>
          </a:p>
        </c:txPr>
        <c:crossAx val="3250675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GT"/>
    </a:p>
  </c:txPr>
  <c:externalData r:id="rId3">
    <c:autoUpdate val="0"/>
  </c:externalData>
  <c:userShapes r:id="rId4"/>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MX"/>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042212406376031E-2"/>
          <c:y val="3.0159410220781224E-2"/>
          <c:w val="0.89975453556110363"/>
          <c:h val="0.86294908908445267"/>
        </c:manualLayout>
      </c:layout>
      <c:barChart>
        <c:barDir val="col"/>
        <c:grouping val="stacked"/>
        <c:varyColors val="0"/>
        <c:ser>
          <c:idx val="0"/>
          <c:order val="0"/>
          <c:tx>
            <c:strRef>
              <c:f>Hoja1!$A$2</c:f>
              <c:strCache>
                <c:ptCount val="1"/>
                <c:pt idx="0">
                  <c:v>Tributarios</c:v>
                </c:pt>
              </c:strCache>
            </c:strRef>
          </c:tx>
          <c:spPr>
            <a:solidFill>
              <a:srgbClr val="0B3963"/>
            </a:solidFill>
            <a:ln>
              <a:noFill/>
            </a:ln>
            <a:effectLst/>
          </c:spPr>
          <c:invertIfNegative val="0"/>
          <c:dLbls>
            <c:dLbl>
              <c:idx val="0"/>
              <c:layout>
                <c:manualLayout>
                  <c:x val="7.8048780487804878E-3"/>
                  <c:y val="-3.4313725490196081E-2"/>
                </c:manualLayout>
              </c:layout>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1-60AA-4069-933C-E75BDFE99FF1}"/>
                </c:ext>
              </c:extLst>
            </c:dLbl>
            <c:dLbl>
              <c:idx val="1"/>
              <c:layout>
                <c:manualLayout>
                  <c:x val="0"/>
                  <c:y val="-2.4509803921568717E-2"/>
                </c:manualLayout>
              </c:layout>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2-60AA-4069-933C-E75BDFE99FF1}"/>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s-GT"/>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B$1:$D$1</c:f>
              <c:strCache>
                <c:ptCount val="3"/>
                <c:pt idx="0">
                  <c:v>Vigente 2021</c:v>
                </c:pt>
                <c:pt idx="1">
                  <c:v>Ejecutable 2021</c:v>
                </c:pt>
                <c:pt idx="2">
                  <c:v>Techo 2022</c:v>
                </c:pt>
              </c:strCache>
            </c:strRef>
          </c:cat>
          <c:val>
            <c:numRef>
              <c:f>Hoja1!$B$2:$D$2</c:f>
              <c:numCache>
                <c:formatCode>#,##0.0</c:formatCode>
                <c:ptCount val="3"/>
                <c:pt idx="0">
                  <c:v>64027</c:v>
                </c:pt>
                <c:pt idx="1">
                  <c:v>64027</c:v>
                </c:pt>
                <c:pt idx="2" formatCode="#,##0">
                  <c:v>74368</c:v>
                </c:pt>
              </c:numCache>
            </c:numRef>
          </c:val>
          <c:extLst>
            <c:ext xmlns:c16="http://schemas.microsoft.com/office/drawing/2014/chart" uri="{C3380CC4-5D6E-409C-BE32-E72D297353CC}">
              <c16:uniqueId val="{00000000-6404-4178-9FC3-6CA94EED3C9D}"/>
            </c:ext>
          </c:extLst>
        </c:ser>
        <c:ser>
          <c:idx val="1"/>
          <c:order val="1"/>
          <c:tx>
            <c:strRef>
              <c:f>Hoja1!$A$3</c:f>
              <c:strCache>
                <c:ptCount val="1"/>
                <c:pt idx="0">
                  <c:v>Emisión de Bonos</c:v>
                </c:pt>
              </c:strCache>
            </c:strRef>
          </c:tx>
          <c:spPr>
            <a:solidFill>
              <a:srgbClr val="0385B3"/>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s-GT"/>
                </a:p>
              </c:txPr>
              <c:showLegendKey val="0"/>
              <c:showVal val="1"/>
              <c:showCatName val="0"/>
              <c:showSerName val="1"/>
              <c:showPercent val="0"/>
              <c:showBubbleSize val="0"/>
              <c:extLst>
                <c:ext xmlns:c16="http://schemas.microsoft.com/office/drawing/2014/chart" uri="{C3380CC4-5D6E-409C-BE32-E72D297353CC}">
                  <c16:uniqueId val="{0000000B-6404-4178-9FC3-6CA94EED3C9D}"/>
                </c:ext>
              </c:extLst>
            </c:dLbl>
            <c:dLbl>
              <c:idx val="1"/>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s-GT"/>
                </a:p>
              </c:txPr>
              <c:showLegendKey val="0"/>
              <c:showVal val="1"/>
              <c:showCatName val="0"/>
              <c:showSerName val="1"/>
              <c:showPercent val="0"/>
              <c:showBubbleSize val="0"/>
              <c:extLst>
                <c:ext xmlns:c16="http://schemas.microsoft.com/office/drawing/2014/chart" uri="{C3380CC4-5D6E-409C-BE32-E72D297353CC}">
                  <c16:uniqueId val="{00000000-60AA-4069-933C-E75BDFE99FF1}"/>
                </c:ext>
              </c:extLst>
            </c:dLbl>
            <c:dLbl>
              <c:idx val="2"/>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s-GT"/>
                </a:p>
              </c:txPr>
              <c:showLegendKey val="0"/>
              <c:showVal val="1"/>
              <c:showCatName val="0"/>
              <c:showSerName val="1"/>
              <c:showPercent val="0"/>
              <c:showBubbleSize val="0"/>
              <c:extLst>
                <c:ext xmlns:c16="http://schemas.microsoft.com/office/drawing/2014/chart" uri="{C3380CC4-5D6E-409C-BE32-E72D297353CC}">
                  <c16:uniqueId val="{00000000-576A-4274-970F-556B4F9908EA}"/>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s-GT"/>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B$1:$D$1</c:f>
              <c:strCache>
                <c:ptCount val="3"/>
                <c:pt idx="0">
                  <c:v>Vigente 2021</c:v>
                </c:pt>
                <c:pt idx="1">
                  <c:v>Ejecutable 2021</c:v>
                </c:pt>
                <c:pt idx="2">
                  <c:v>Techo 2022</c:v>
                </c:pt>
              </c:strCache>
            </c:strRef>
          </c:cat>
          <c:val>
            <c:numRef>
              <c:f>Hoja1!$B$3:$D$3</c:f>
              <c:numCache>
                <c:formatCode>#,##0.0</c:formatCode>
                <c:ptCount val="3"/>
                <c:pt idx="0">
                  <c:v>30048</c:v>
                </c:pt>
                <c:pt idx="1">
                  <c:v>19048</c:v>
                </c:pt>
                <c:pt idx="2" formatCode="#,##0">
                  <c:v>14970</c:v>
                </c:pt>
              </c:numCache>
            </c:numRef>
          </c:val>
          <c:extLst>
            <c:ext xmlns:c16="http://schemas.microsoft.com/office/drawing/2014/chart" uri="{C3380CC4-5D6E-409C-BE32-E72D297353CC}">
              <c16:uniqueId val="{00000004-6404-4178-9FC3-6CA94EED3C9D}"/>
            </c:ext>
          </c:extLst>
        </c:ser>
        <c:ser>
          <c:idx val="2"/>
          <c:order val="2"/>
          <c:tx>
            <c:strRef>
              <c:f>Hoja1!$A$4</c:f>
              <c:strCache>
                <c:ptCount val="1"/>
                <c:pt idx="0">
                  <c:v>Otros ingresos</c:v>
                </c:pt>
              </c:strCache>
            </c:strRef>
          </c:tx>
          <c:spPr>
            <a:solidFill>
              <a:schemeClr val="accent3"/>
            </a:solidFill>
            <a:ln>
              <a:noFill/>
            </a:ln>
            <a:effectLst/>
          </c:spPr>
          <c:invertIfNegative val="0"/>
          <c:dLbls>
            <c:dLbl>
              <c:idx val="1"/>
              <c:tx>
                <c:rich>
                  <a:bodyPr/>
                  <a:lstStyle/>
                  <a:p>
                    <a:fld id="{9C7AA0F9-625B-41D8-9E68-6B97D65F4C8F}" type="SERIESNAME">
                      <a:rPr lang="en-US"/>
                      <a:pPr/>
                      <a:t>[NOMBRE DE LA SERIE]</a:t>
                    </a:fld>
                    <a:r>
                      <a:rPr lang="en-US" baseline="0"/>
                      <a:t>; 4,799</a:t>
                    </a:r>
                  </a:p>
                </c:rich>
              </c:tx>
              <c:showLegendKey val="0"/>
              <c:showVal val="1"/>
              <c:showCatName val="0"/>
              <c:showSerName val="1"/>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60AA-4069-933C-E75BDFE99FF1}"/>
                </c:ext>
              </c:extLst>
            </c:dLbl>
            <c:dLbl>
              <c:idx val="2"/>
              <c:layout>
                <c:manualLayout>
                  <c:x val="9.1211593660455656E-3"/>
                  <c:y val="9.6571538721517344E-3"/>
                </c:manualLayout>
              </c:layout>
              <c:showLegendKey val="0"/>
              <c:showVal val="1"/>
              <c:showCatName val="0"/>
              <c:showSerName val="1"/>
              <c:showPercent val="0"/>
              <c:showBubbleSize val="0"/>
              <c:extLst>
                <c:ext xmlns:c15="http://schemas.microsoft.com/office/drawing/2012/chart" uri="{CE6537A1-D6FC-4f65-9D91-7224C49458BB}">
                  <c15:layout>
                    <c:manualLayout>
                      <c:w val="0.37718589764109789"/>
                      <c:h val="0.13795891023917647"/>
                    </c:manualLayout>
                  </c15:layout>
                </c:ext>
                <c:ext xmlns:c16="http://schemas.microsoft.com/office/drawing/2014/chart" uri="{C3380CC4-5D6E-409C-BE32-E72D297353CC}">
                  <c16:uniqueId val="{00000001-576A-4274-970F-556B4F9908EA}"/>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s-GT"/>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B$1:$D$1</c:f>
              <c:strCache>
                <c:ptCount val="3"/>
                <c:pt idx="0">
                  <c:v>Vigente 2021</c:v>
                </c:pt>
                <c:pt idx="1">
                  <c:v>Ejecutable 2021</c:v>
                </c:pt>
                <c:pt idx="2">
                  <c:v>Techo 2022</c:v>
                </c:pt>
              </c:strCache>
            </c:strRef>
          </c:cat>
          <c:val>
            <c:numRef>
              <c:f>Hoja1!$B$4:$D$4</c:f>
              <c:numCache>
                <c:formatCode>#,##0.0</c:formatCode>
                <c:ptCount val="3"/>
                <c:pt idx="0">
                  <c:v>4520</c:v>
                </c:pt>
                <c:pt idx="1">
                  <c:v>4799</c:v>
                </c:pt>
                <c:pt idx="2" formatCode="#,##0">
                  <c:v>5262</c:v>
                </c:pt>
              </c:numCache>
            </c:numRef>
          </c:val>
          <c:extLst>
            <c:ext xmlns:c16="http://schemas.microsoft.com/office/drawing/2014/chart" uri="{C3380CC4-5D6E-409C-BE32-E72D297353CC}">
              <c16:uniqueId val="{00000005-6404-4178-9FC3-6CA94EED3C9D}"/>
            </c:ext>
          </c:extLst>
        </c:ser>
        <c:ser>
          <c:idx val="3"/>
          <c:order val="3"/>
          <c:tx>
            <c:strRef>
              <c:f>Hoja1!$A$5</c:f>
              <c:strCache>
                <c:ptCount val="1"/>
                <c:pt idx="0">
                  <c:v>Uso de fondos en BG</c:v>
                </c:pt>
              </c:strCache>
            </c:strRef>
          </c:tx>
          <c:spPr>
            <a:solidFill>
              <a:schemeClr val="accent5">
                <a:lumMod val="60000"/>
                <a:lumOff val="40000"/>
              </a:schemeClr>
            </a:solidFill>
            <a:ln>
              <a:noFill/>
            </a:ln>
            <a:effectLst/>
          </c:spPr>
          <c:invertIfNegative val="0"/>
          <c:dLbls>
            <c:dLbl>
              <c:idx val="2"/>
              <c:layout>
                <c:manualLayout>
                  <c:x val="-7.1567249215799241E-3"/>
                  <c:y val="-2.6224525243168134E-3"/>
                </c:manualLayout>
              </c:layout>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chemeClr val="tx1">
                          <a:lumMod val="75000"/>
                          <a:lumOff val="25000"/>
                        </a:schemeClr>
                      </a:solidFill>
                      <a:latin typeface="+mn-lt"/>
                      <a:ea typeface="+mn-ea"/>
                      <a:cs typeface="+mn-cs"/>
                    </a:defRPr>
                  </a:pPr>
                  <a:endParaRPr lang="es-GT"/>
                </a:p>
              </c:txPr>
              <c:showLegendKey val="0"/>
              <c:showVal val="1"/>
              <c:showCatName val="0"/>
              <c:showSerName val="1"/>
              <c:showPercent val="0"/>
              <c:showBubbleSize val="0"/>
              <c:extLst>
                <c:ext xmlns:c15="http://schemas.microsoft.com/office/drawing/2012/chart" uri="{CE6537A1-D6FC-4f65-9D91-7224C49458BB}">
                  <c15:layout>
                    <c:manualLayout>
                      <c:w val="0.27873882593944049"/>
                      <c:h val="7.7761695229272801E-2"/>
                    </c:manualLayout>
                  </c15:layout>
                </c:ext>
                <c:ext xmlns:c16="http://schemas.microsoft.com/office/drawing/2014/chart" uri="{C3380CC4-5D6E-409C-BE32-E72D297353CC}">
                  <c16:uniqueId val="{00000002-576A-4274-970F-556B4F9908EA}"/>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s-GT"/>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B$1:$D$1</c:f>
              <c:strCache>
                <c:ptCount val="3"/>
                <c:pt idx="0">
                  <c:v>Vigente 2021</c:v>
                </c:pt>
                <c:pt idx="1">
                  <c:v>Ejecutable 2021</c:v>
                </c:pt>
                <c:pt idx="2">
                  <c:v>Techo 2022</c:v>
                </c:pt>
              </c:strCache>
            </c:strRef>
          </c:cat>
          <c:val>
            <c:numRef>
              <c:f>Hoja1!$B$5:$D$5</c:f>
              <c:numCache>
                <c:formatCode>#,##0.0</c:formatCode>
                <c:ptCount val="3"/>
                <c:pt idx="0">
                  <c:v>3367</c:v>
                </c:pt>
                <c:pt idx="1">
                  <c:v>3374</c:v>
                </c:pt>
                <c:pt idx="2" formatCode="#,##0">
                  <c:v>3787.3</c:v>
                </c:pt>
              </c:numCache>
            </c:numRef>
          </c:val>
          <c:extLst>
            <c:ext xmlns:c16="http://schemas.microsoft.com/office/drawing/2014/chart" uri="{C3380CC4-5D6E-409C-BE32-E72D297353CC}">
              <c16:uniqueId val="{00000006-6404-4178-9FC3-6CA94EED3C9D}"/>
            </c:ext>
          </c:extLst>
        </c:ser>
        <c:ser>
          <c:idx val="4"/>
          <c:order val="4"/>
          <c:tx>
            <c:strRef>
              <c:f>Hoja1!$A$6</c:f>
              <c:strCache>
                <c:ptCount val="1"/>
                <c:pt idx="0">
                  <c:v>Préstamos</c:v>
                </c:pt>
              </c:strCache>
            </c:strRef>
          </c:tx>
          <c:spPr>
            <a:solidFill>
              <a:schemeClr val="accent5">
                <a:lumMod val="75000"/>
              </a:schemeClr>
            </a:solidFill>
            <a:ln>
              <a:noFill/>
            </a:ln>
            <a:effectLst/>
          </c:spPr>
          <c:invertIfNegative val="0"/>
          <c:dLbls>
            <c:dLbl>
              <c:idx val="0"/>
              <c:layout>
                <c:manualLayout>
                  <c:x val="0"/>
                  <c:y val="1.1783806127625576E-2"/>
                </c:manualLayout>
              </c:layout>
              <c:showLegendKey val="0"/>
              <c:showVal val="1"/>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9-6404-4178-9FC3-6CA94EED3C9D}"/>
                </c:ext>
              </c:extLst>
            </c:dLbl>
            <c:dLbl>
              <c:idx val="2"/>
              <c:layout>
                <c:manualLayout>
                  <c:x val="-1.3979279680807095E-3"/>
                  <c:y val="-7.426349471967319E-4"/>
                </c:manualLayout>
              </c:layout>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chemeClr val="bg1"/>
                      </a:solidFill>
                      <a:latin typeface="+mn-lt"/>
                      <a:ea typeface="+mn-ea"/>
                      <a:cs typeface="+mn-cs"/>
                    </a:defRPr>
                  </a:pPr>
                  <a:endParaRPr lang="es-GT"/>
                </a:p>
              </c:txPr>
              <c:showLegendKey val="0"/>
              <c:showVal val="1"/>
              <c:showCatName val="0"/>
              <c:showSerName val="1"/>
              <c:showPercent val="0"/>
              <c:showBubbleSize val="0"/>
              <c:extLst>
                <c:ext xmlns:c15="http://schemas.microsoft.com/office/drawing/2012/chart" uri="{CE6537A1-D6FC-4f65-9D91-7224C49458BB}">
                  <c15:layout>
                    <c:manualLayout>
                      <c:w val="0.37218844623050901"/>
                      <c:h val="9.5679170568506E-2"/>
                    </c:manualLayout>
                  </c15:layout>
                </c:ext>
                <c:ext xmlns:c16="http://schemas.microsoft.com/office/drawing/2014/chart" uri="{C3380CC4-5D6E-409C-BE32-E72D297353CC}">
                  <c16:uniqueId val="{00000003-576A-4274-970F-556B4F9908EA}"/>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s-GT"/>
              </a:p>
            </c:txPr>
            <c:showLegendKey val="0"/>
            <c:showVal val="1"/>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B$1:$D$1</c:f>
              <c:strCache>
                <c:ptCount val="3"/>
                <c:pt idx="0">
                  <c:v>Vigente 2021</c:v>
                </c:pt>
                <c:pt idx="1">
                  <c:v>Ejecutable 2021</c:v>
                </c:pt>
                <c:pt idx="2">
                  <c:v>Techo 2022</c:v>
                </c:pt>
              </c:strCache>
            </c:strRef>
          </c:cat>
          <c:val>
            <c:numRef>
              <c:f>Hoja1!$B$6:$D$6</c:f>
              <c:numCache>
                <c:formatCode>#,##0.0</c:formatCode>
                <c:ptCount val="3"/>
                <c:pt idx="0">
                  <c:v>5559</c:v>
                </c:pt>
                <c:pt idx="1">
                  <c:v>3100</c:v>
                </c:pt>
                <c:pt idx="2" formatCode="#,##0">
                  <c:v>2451</c:v>
                </c:pt>
              </c:numCache>
            </c:numRef>
          </c:val>
          <c:extLst>
            <c:ext xmlns:c16="http://schemas.microsoft.com/office/drawing/2014/chart" uri="{C3380CC4-5D6E-409C-BE32-E72D297353CC}">
              <c16:uniqueId val="{00000007-6404-4178-9FC3-6CA94EED3C9D}"/>
            </c:ext>
          </c:extLst>
        </c:ser>
        <c:dLbls>
          <c:showLegendKey val="0"/>
          <c:showVal val="0"/>
          <c:showCatName val="0"/>
          <c:showSerName val="0"/>
          <c:showPercent val="0"/>
          <c:showBubbleSize val="0"/>
        </c:dLbls>
        <c:gapWidth val="10"/>
        <c:overlap val="100"/>
        <c:axId val="152249680"/>
        <c:axId val="152250096"/>
      </c:barChart>
      <c:catAx>
        <c:axId val="1522496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endParaRPr lang="es-GT"/>
          </a:p>
        </c:txPr>
        <c:crossAx val="152250096"/>
        <c:crosses val="autoZero"/>
        <c:auto val="1"/>
        <c:lblAlgn val="ctr"/>
        <c:lblOffset val="100"/>
        <c:noMultiLvlLbl val="0"/>
      </c:catAx>
      <c:valAx>
        <c:axId val="152250096"/>
        <c:scaling>
          <c:orientation val="minMax"/>
          <c:max val="105000"/>
          <c:min val="5500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GT"/>
          </a:p>
        </c:txPr>
        <c:crossAx val="152249680"/>
        <c:crosses val="autoZero"/>
        <c:crossBetween val="between"/>
        <c:majorUnit val="100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GT"/>
    </a:p>
  </c:txPr>
  <c:externalData r:id="rId3">
    <c:autoUpdate val="0"/>
  </c:externalData>
  <c:userShapes r:id="rId4"/>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MX"/>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951496220922125E-2"/>
          <c:y val="0.10074630355066773"/>
          <c:w val="0.84652231296833913"/>
          <c:h val="0.83071486481024615"/>
        </c:manualLayout>
      </c:layout>
      <c:ofPieChart>
        <c:ofPieType val="bar"/>
        <c:varyColors val="1"/>
        <c:ser>
          <c:idx val="0"/>
          <c:order val="0"/>
          <c:tx>
            <c:strRef>
              <c:f>Sheet1!$B$1</c:f>
              <c:strCache>
                <c:ptCount val="1"/>
                <c:pt idx="0">
                  <c:v>Tipo de Gasto</c:v>
                </c:pt>
              </c:strCache>
            </c:strRef>
          </c:tx>
          <c:spPr>
            <a:effectLst/>
            <a:scene3d>
              <a:camera prst="orthographicFront"/>
              <a:lightRig rig="threePt" dir="t"/>
            </a:scene3d>
            <a:sp3d/>
          </c:spPr>
          <c:explosion val="1"/>
          <c:dPt>
            <c:idx val="0"/>
            <c:bubble3D val="0"/>
            <c:spPr>
              <a:solidFill>
                <a:schemeClr val="accent1">
                  <a:lumMod val="75000"/>
                </a:schemeClr>
              </a:solidFill>
              <a:ln w="19050">
                <a:solidFill>
                  <a:schemeClr val="lt1"/>
                </a:solidFill>
              </a:ln>
              <a:effectLst/>
              <a:scene3d>
                <a:camera prst="orthographicFront"/>
                <a:lightRig rig="threePt" dir="t"/>
              </a:scene3d>
              <a:sp3d/>
            </c:spPr>
            <c:extLst>
              <c:ext xmlns:c16="http://schemas.microsoft.com/office/drawing/2014/chart" uri="{C3380CC4-5D6E-409C-BE32-E72D297353CC}">
                <c16:uniqueId val="{00000001-55CC-46DD-B032-F481D1C67435}"/>
              </c:ext>
            </c:extLst>
          </c:dPt>
          <c:dPt>
            <c:idx val="1"/>
            <c:bubble3D val="0"/>
            <c:spPr>
              <a:solidFill>
                <a:srgbClr val="0385B3"/>
              </a:solidFill>
              <a:ln w="19050">
                <a:solidFill>
                  <a:schemeClr val="lt1"/>
                </a:solidFill>
              </a:ln>
              <a:effectLst/>
              <a:scene3d>
                <a:camera prst="orthographicFront"/>
                <a:lightRig rig="threePt" dir="t"/>
              </a:scene3d>
              <a:sp3d/>
            </c:spPr>
            <c:extLst>
              <c:ext xmlns:c16="http://schemas.microsoft.com/office/drawing/2014/chart" uri="{C3380CC4-5D6E-409C-BE32-E72D297353CC}">
                <c16:uniqueId val="{00000003-55CC-46DD-B032-F481D1C67435}"/>
              </c:ext>
            </c:extLst>
          </c:dPt>
          <c:dPt>
            <c:idx val="2"/>
            <c:bubble3D val="0"/>
            <c:spPr>
              <a:solidFill>
                <a:schemeClr val="accent1">
                  <a:lumMod val="60000"/>
                  <a:lumOff val="40000"/>
                </a:schemeClr>
              </a:solidFill>
              <a:ln w="19050">
                <a:solidFill>
                  <a:schemeClr val="lt1"/>
                </a:solidFill>
              </a:ln>
              <a:effectLst/>
              <a:scene3d>
                <a:camera prst="orthographicFront"/>
                <a:lightRig rig="threePt" dir="t"/>
              </a:scene3d>
              <a:sp3d/>
            </c:spPr>
            <c:extLst>
              <c:ext xmlns:c16="http://schemas.microsoft.com/office/drawing/2014/chart" uri="{C3380CC4-5D6E-409C-BE32-E72D297353CC}">
                <c16:uniqueId val="{00000005-55CC-46DD-B032-F481D1C67435}"/>
              </c:ext>
            </c:extLst>
          </c:dPt>
          <c:dPt>
            <c:idx val="3"/>
            <c:bubble3D val="0"/>
            <c:spPr>
              <a:solidFill>
                <a:schemeClr val="accent4"/>
              </a:solidFill>
              <a:ln w="19050">
                <a:solidFill>
                  <a:schemeClr val="lt1"/>
                </a:solidFill>
              </a:ln>
              <a:effectLst/>
              <a:scene3d>
                <a:camera prst="orthographicFront"/>
                <a:lightRig rig="threePt" dir="t"/>
              </a:scene3d>
              <a:sp3d/>
            </c:spPr>
            <c:extLst>
              <c:ext xmlns:c16="http://schemas.microsoft.com/office/drawing/2014/chart" uri="{C3380CC4-5D6E-409C-BE32-E72D297353CC}">
                <c16:uniqueId val="{00000007-55CC-46DD-B032-F481D1C67435}"/>
              </c:ext>
            </c:extLst>
          </c:dPt>
          <c:dPt>
            <c:idx val="4"/>
            <c:bubble3D val="0"/>
            <c:spPr>
              <a:solidFill>
                <a:srgbClr val="0385B3"/>
              </a:solidFill>
              <a:ln w="19050">
                <a:solidFill>
                  <a:schemeClr val="lt1"/>
                </a:solidFill>
              </a:ln>
              <a:effectLst/>
              <a:scene3d>
                <a:camera prst="orthographicFront"/>
                <a:lightRig rig="threePt" dir="t"/>
              </a:scene3d>
              <a:sp3d/>
            </c:spPr>
            <c:extLst>
              <c:ext xmlns:c16="http://schemas.microsoft.com/office/drawing/2014/chart" uri="{C3380CC4-5D6E-409C-BE32-E72D297353CC}">
                <c16:uniqueId val="{00000009-55CC-46DD-B032-F481D1C67435}"/>
              </c:ext>
            </c:extLst>
          </c:dPt>
          <c:dPt>
            <c:idx val="5"/>
            <c:bubble3D val="0"/>
            <c:spPr>
              <a:solidFill>
                <a:schemeClr val="accent5">
                  <a:lumMod val="40000"/>
                  <a:lumOff val="60000"/>
                </a:schemeClr>
              </a:solidFill>
              <a:ln w="19050">
                <a:solidFill>
                  <a:schemeClr val="lt1"/>
                </a:solidFill>
              </a:ln>
              <a:effectLst/>
              <a:scene3d>
                <a:camera prst="orthographicFront"/>
                <a:lightRig rig="threePt" dir="t"/>
              </a:scene3d>
              <a:sp3d/>
            </c:spPr>
            <c:extLst>
              <c:ext xmlns:c16="http://schemas.microsoft.com/office/drawing/2014/chart" uri="{C3380CC4-5D6E-409C-BE32-E72D297353CC}">
                <c16:uniqueId val="{0000000B-55CC-46DD-B032-F481D1C67435}"/>
              </c:ext>
            </c:extLst>
          </c:dPt>
          <c:dPt>
            <c:idx val="6"/>
            <c:bubble3D val="0"/>
            <c:spPr>
              <a:solidFill>
                <a:schemeClr val="accent5">
                  <a:lumMod val="75000"/>
                </a:schemeClr>
              </a:solidFill>
              <a:ln w="19050">
                <a:solidFill>
                  <a:schemeClr val="lt1"/>
                </a:solidFill>
              </a:ln>
              <a:effectLst/>
              <a:scene3d>
                <a:camera prst="orthographicFront"/>
                <a:lightRig rig="threePt" dir="t"/>
              </a:scene3d>
              <a:sp3d/>
            </c:spPr>
            <c:extLst>
              <c:ext xmlns:c16="http://schemas.microsoft.com/office/drawing/2014/chart" uri="{C3380CC4-5D6E-409C-BE32-E72D297353CC}">
                <c16:uniqueId val="{0000000D-55CC-46DD-B032-F481D1C67435}"/>
              </c:ext>
            </c:extLst>
          </c:dPt>
          <c:dPt>
            <c:idx val="7"/>
            <c:bubble3D val="0"/>
            <c:spPr>
              <a:solidFill>
                <a:schemeClr val="accent1">
                  <a:lumMod val="75000"/>
                </a:schemeClr>
              </a:solidFill>
              <a:ln w="19050">
                <a:solidFill>
                  <a:schemeClr val="lt1"/>
                </a:solidFill>
              </a:ln>
              <a:effectLst/>
              <a:scene3d>
                <a:camera prst="orthographicFront"/>
                <a:lightRig rig="threePt" dir="t"/>
              </a:scene3d>
              <a:sp3d/>
            </c:spPr>
            <c:extLst>
              <c:ext xmlns:c16="http://schemas.microsoft.com/office/drawing/2014/chart" uri="{C3380CC4-5D6E-409C-BE32-E72D297353CC}">
                <c16:uniqueId val="{0000000F-55CC-46DD-B032-F481D1C67435}"/>
              </c:ext>
            </c:extLst>
          </c:dPt>
          <c:dPt>
            <c:idx val="8"/>
            <c:bubble3D val="0"/>
            <c:spPr>
              <a:solidFill>
                <a:srgbClr val="0B3963"/>
              </a:solidFill>
              <a:ln w="19050">
                <a:solidFill>
                  <a:schemeClr val="lt1"/>
                </a:solidFill>
              </a:ln>
              <a:effectLst/>
              <a:scene3d>
                <a:camera prst="orthographicFront"/>
                <a:lightRig rig="threePt" dir="t"/>
              </a:scene3d>
              <a:sp3d/>
            </c:spPr>
            <c:extLst>
              <c:ext xmlns:c16="http://schemas.microsoft.com/office/drawing/2014/chart" uri="{C3380CC4-5D6E-409C-BE32-E72D297353CC}">
                <c16:uniqueId val="{00000011-55CC-46DD-B032-F481D1C67435}"/>
              </c:ext>
            </c:extLst>
          </c:dPt>
          <c:dPt>
            <c:idx val="9"/>
            <c:bubble3D val="0"/>
            <c:spPr>
              <a:solidFill>
                <a:srgbClr val="FFC000"/>
              </a:solidFill>
              <a:ln w="19050">
                <a:solidFill>
                  <a:schemeClr val="lt1"/>
                </a:solidFill>
              </a:ln>
              <a:effectLst/>
              <a:scene3d>
                <a:camera prst="orthographicFront"/>
                <a:lightRig rig="threePt" dir="t"/>
              </a:scene3d>
              <a:sp3d/>
            </c:spPr>
            <c:extLst>
              <c:ext xmlns:c16="http://schemas.microsoft.com/office/drawing/2014/chart" uri="{C3380CC4-5D6E-409C-BE32-E72D297353CC}">
                <c16:uniqueId val="{00000013-55CC-46DD-B032-F481D1C67435}"/>
              </c:ext>
            </c:extLst>
          </c:dPt>
          <c:dPt>
            <c:idx val="10"/>
            <c:bubble3D val="0"/>
            <c:spPr>
              <a:solidFill>
                <a:srgbClr val="0B3963"/>
              </a:solidFill>
              <a:ln w="19050">
                <a:solidFill>
                  <a:schemeClr val="lt1"/>
                </a:solidFill>
              </a:ln>
              <a:effectLst/>
              <a:scene3d>
                <a:camera prst="orthographicFront"/>
                <a:lightRig rig="threePt" dir="t"/>
              </a:scene3d>
              <a:sp3d/>
            </c:spPr>
            <c:extLst>
              <c:ext xmlns:c16="http://schemas.microsoft.com/office/drawing/2014/chart" uri="{C3380CC4-5D6E-409C-BE32-E72D297353CC}">
                <c16:uniqueId val="{00000015-55CC-46DD-B032-F481D1C67435}"/>
              </c:ext>
            </c:extLst>
          </c:dPt>
          <c:dLbls>
            <c:dLbl>
              <c:idx val="0"/>
              <c:layout>
                <c:manualLayout>
                  <c:x val="8.9792390544855327E-2"/>
                  <c:y val="-0.1684835939227417"/>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s-GT"/>
                </a:p>
              </c:txP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5CC-46DD-B032-F481D1C67435}"/>
                </c:ext>
              </c:extLst>
            </c:dLbl>
            <c:dLbl>
              <c:idx val="1"/>
              <c:layout>
                <c:manualLayout>
                  <c:x val="8.5890422049757692E-2"/>
                  <c:y val="-7.7511433890280618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s-GT"/>
                </a:p>
              </c:txP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5CC-46DD-B032-F481D1C67435}"/>
                </c:ext>
              </c:extLst>
            </c:dLbl>
            <c:dLbl>
              <c:idx val="2"/>
              <c:layout>
                <c:manualLayout>
                  <c:x val="0.12711899145667821"/>
                  <c:y val="0.22041988589488667"/>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5CC-46DD-B032-F481D1C67435}"/>
                </c:ext>
              </c:extLst>
            </c:dLbl>
            <c:dLbl>
              <c:idx val="4"/>
              <c:layout>
                <c:manualLayout>
                  <c:x val="-0.15823128167516326"/>
                  <c:y val="1.5097252458553808E-2"/>
                </c:manualLayout>
              </c:layout>
              <c:numFmt formatCode="#,##0.0" sourceLinked="0"/>
              <c:spPr>
                <a:noFill/>
                <a:ln>
                  <a:noFill/>
                </a:ln>
                <a:effectLst/>
              </c:spPr>
              <c:txPr>
                <a:bodyPr rot="0" spcFirstLastPara="1" vertOverflow="ellipsis" vert="horz" wrap="square" lIns="38100" tIns="19050" rIns="38100" bIns="19050" anchor="ctr" anchorCtr="1">
                  <a:noAutofit/>
                </a:bodyPr>
                <a:lstStyle/>
                <a:p>
                  <a:pPr>
                    <a:defRPr sz="2000" b="1" i="0" u="none" strike="noStrike" kern="1200" baseline="0">
                      <a:solidFill>
                        <a:schemeClr val="bg1"/>
                      </a:solidFill>
                      <a:latin typeface="+mn-lt"/>
                      <a:ea typeface="+mn-ea"/>
                      <a:cs typeface="+mn-cs"/>
                    </a:defRPr>
                  </a:pPr>
                  <a:endParaRPr lang="es-GT"/>
                </a:p>
              </c:txPr>
              <c:showLegendKey val="0"/>
              <c:showVal val="1"/>
              <c:showCatName val="1"/>
              <c:showSerName val="0"/>
              <c:showPercent val="0"/>
              <c:showBubbleSize val="0"/>
              <c:extLst>
                <c:ext xmlns:c15="http://schemas.microsoft.com/office/drawing/2012/chart" uri="{CE6537A1-D6FC-4f65-9D91-7224C49458BB}">
                  <c15:layout>
                    <c:manualLayout>
                      <c:w val="0.13409688237131095"/>
                      <c:h val="0.10550974426601596"/>
                    </c:manualLayout>
                  </c15:layout>
                </c:ext>
                <c:ext xmlns:c16="http://schemas.microsoft.com/office/drawing/2014/chart" uri="{C3380CC4-5D6E-409C-BE32-E72D297353CC}">
                  <c16:uniqueId val="{00000009-55CC-46DD-B032-F481D1C67435}"/>
                </c:ext>
              </c:extLst>
            </c:dLbl>
            <c:dLbl>
              <c:idx val="5"/>
              <c:layout>
                <c:manualLayout>
                  <c:x val="-0.16417166110016113"/>
                  <c:y val="2.0129669944738506E-3"/>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B-55CC-46DD-B032-F481D1C67435}"/>
                </c:ext>
              </c:extLst>
            </c:dLbl>
            <c:dLbl>
              <c:idx val="6"/>
              <c:layout>
                <c:manualLayout>
                  <c:x val="-0.16903196380739469"/>
                  <c:y val="0"/>
                </c:manualLayout>
              </c:layout>
              <c:numFmt formatCode="#,##0.0" sourceLinked="0"/>
              <c:spPr>
                <a:noFill/>
                <a:ln>
                  <a:noFill/>
                </a:ln>
                <a:effectLst/>
              </c:spPr>
              <c:txPr>
                <a:bodyPr rot="0" spcFirstLastPara="1" vertOverflow="ellipsis" vert="horz" wrap="square" lIns="38100" tIns="19050" rIns="38100" bIns="19050" anchor="ctr" anchorCtr="1">
                  <a:noAutofit/>
                </a:bodyPr>
                <a:lstStyle/>
                <a:p>
                  <a:pPr>
                    <a:defRPr sz="1600" b="1" i="0" u="none" strike="noStrike" kern="1200" baseline="0">
                      <a:solidFill>
                        <a:schemeClr val="bg1"/>
                      </a:solidFill>
                      <a:latin typeface="+mn-lt"/>
                      <a:ea typeface="+mn-ea"/>
                      <a:cs typeface="+mn-cs"/>
                    </a:defRPr>
                  </a:pPr>
                  <a:endParaRPr lang="es-GT"/>
                </a:p>
              </c:txPr>
              <c:showLegendKey val="0"/>
              <c:showVal val="1"/>
              <c:showCatName val="1"/>
              <c:showSerName val="0"/>
              <c:showPercent val="0"/>
              <c:showBubbleSize val="0"/>
              <c:extLst>
                <c:ext xmlns:c15="http://schemas.microsoft.com/office/drawing/2012/chart" uri="{CE6537A1-D6FC-4f65-9D91-7224C49458BB}">
                  <c15:layout>
                    <c:manualLayout>
                      <c:w val="0.15608724434499044"/>
                      <c:h val="0.11468887376081673"/>
                    </c:manualLayout>
                  </c15:layout>
                </c:ext>
                <c:ext xmlns:c16="http://schemas.microsoft.com/office/drawing/2014/chart" uri="{C3380CC4-5D6E-409C-BE32-E72D297353CC}">
                  <c16:uniqueId val="{0000000D-55CC-46DD-B032-F481D1C67435}"/>
                </c:ext>
              </c:extLst>
            </c:dLbl>
            <c:dLbl>
              <c:idx val="7"/>
              <c:layout>
                <c:manualLayout>
                  <c:x val="-0.16633181453568949"/>
                  <c:y val="0"/>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s-GT"/>
                </a:p>
              </c:txP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F-55CC-46DD-B032-F481D1C67435}"/>
                </c:ext>
              </c:extLst>
            </c:dLbl>
            <c:dLbl>
              <c:idx val="8"/>
              <c:layout>
                <c:manualLayout>
                  <c:x val="7.8755452261289431E-3"/>
                  <c:y val="-2.0129669944738655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s-GT"/>
                </a:p>
              </c:txP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1-55CC-46DD-B032-F481D1C67435}"/>
                </c:ext>
              </c:extLst>
            </c:dLbl>
            <c:dLbl>
              <c:idx val="9"/>
              <c:layout>
                <c:manualLayout>
                  <c:x val="2.9162071379633871E-2"/>
                  <c:y val="1.6103735955790805E-2"/>
                </c:manualLayout>
              </c:layout>
              <c:numFmt formatCode="#,##0.0" sourceLinked="0"/>
              <c:spPr>
                <a:noFill/>
                <a:ln>
                  <a:noFill/>
                </a:ln>
                <a:effectLst/>
              </c:spPr>
              <c:txPr>
                <a:bodyPr rot="0" spcFirstLastPara="1" vertOverflow="ellipsis" vert="horz" wrap="square" lIns="38100" tIns="19050" rIns="38100" bIns="19050" anchor="ctr" anchorCtr="1">
                  <a:noAutofit/>
                </a:bodyPr>
                <a:lstStyle/>
                <a:p>
                  <a:pPr>
                    <a:defRPr sz="1600" b="1" i="0" u="none" strike="noStrike" kern="1200" baseline="0">
                      <a:solidFill>
                        <a:schemeClr val="tx1"/>
                      </a:solidFill>
                      <a:latin typeface="+mn-lt"/>
                      <a:ea typeface="+mn-ea"/>
                      <a:cs typeface="+mn-cs"/>
                    </a:defRPr>
                  </a:pPr>
                  <a:endParaRPr lang="es-GT"/>
                </a:p>
              </c:txPr>
              <c:showLegendKey val="0"/>
              <c:showVal val="1"/>
              <c:showCatName val="1"/>
              <c:showSerName val="0"/>
              <c:showPercent val="0"/>
              <c:showBubbleSize val="0"/>
              <c:extLst>
                <c:ext xmlns:c15="http://schemas.microsoft.com/office/drawing/2012/chart" uri="{CE6537A1-D6FC-4f65-9D91-7224C49458BB}">
                  <c15:layout>
                    <c:manualLayout>
                      <c:w val="0.15000649746938877"/>
                      <c:h val="9.6803582764247484E-2"/>
                    </c:manualLayout>
                  </c15:layout>
                </c:ext>
                <c:ext xmlns:c16="http://schemas.microsoft.com/office/drawing/2014/chart" uri="{C3380CC4-5D6E-409C-BE32-E72D297353CC}">
                  <c16:uniqueId val="{00000013-55CC-46DD-B032-F481D1C67435}"/>
                </c:ext>
              </c:extLst>
            </c:dLbl>
            <c:dLbl>
              <c:idx val="10"/>
              <c:layout>
                <c:manualLayout>
                  <c:x val="-0.22050259456539414"/>
                  <c:y val="-2.3792635869329063E-3"/>
                </c:manualLayout>
              </c:layout>
              <c:tx>
                <c:rich>
                  <a:bodyPr rot="0" spcFirstLastPara="1" vertOverflow="ellipsis" vert="horz" wrap="square" lIns="38100" tIns="19050" rIns="38100" bIns="19050" anchor="ctr" anchorCtr="1">
                    <a:spAutoFit/>
                  </a:bodyPr>
                  <a:lstStyle/>
                  <a:p>
                    <a:pPr>
                      <a:defRPr sz="2400" b="1" i="0" u="none" strike="noStrike" kern="1200" baseline="0">
                        <a:solidFill>
                          <a:schemeClr val="bg1"/>
                        </a:solidFill>
                        <a:latin typeface="+mn-lt"/>
                        <a:ea typeface="+mn-ea"/>
                        <a:cs typeface="+mn-cs"/>
                      </a:defRPr>
                    </a:pPr>
                    <a:r>
                      <a:rPr lang="en-US" sz="2800" baseline="0" dirty="0">
                        <a:solidFill>
                          <a:schemeClr val="bg1"/>
                        </a:solidFill>
                      </a:rPr>
                      <a:t>Inversión en Capital Humano</a:t>
                    </a:r>
                  </a:p>
                  <a:p>
                    <a:pPr>
                      <a:defRPr sz="2400" b="1">
                        <a:solidFill>
                          <a:schemeClr val="bg1"/>
                        </a:solidFill>
                      </a:defRPr>
                    </a:pPr>
                    <a:r>
                      <a:rPr lang="en-US" sz="1800" baseline="0" dirty="0">
                        <a:solidFill>
                          <a:schemeClr val="bg1"/>
                        </a:solidFill>
                      </a:rPr>
                      <a:t>(funcionamiento); </a:t>
                    </a:r>
                    <a:fld id="{286971E2-BDFA-457D-B393-05C75F0D31D3}" type="VALUE">
                      <a:rPr lang="en-US" sz="2400" baseline="0">
                        <a:solidFill>
                          <a:schemeClr val="bg1"/>
                        </a:solidFill>
                      </a:rPr>
                      <a:pPr>
                        <a:defRPr sz="2400" b="1">
                          <a:solidFill>
                            <a:schemeClr val="bg1"/>
                          </a:solidFill>
                        </a:defRPr>
                      </a:pPr>
                      <a:t>[VALOR]</a:t>
                    </a:fld>
                    <a:endParaRPr lang="en-US" sz="1800" baseline="0" dirty="0">
                      <a:solidFill>
                        <a:schemeClr val="bg1"/>
                      </a:solidFill>
                    </a:endParaRPr>
                  </a:p>
                </c:rich>
              </c:tx>
              <c:numFmt formatCode="#,##0.0" sourceLinked="0"/>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bg1"/>
                      </a:solidFill>
                      <a:latin typeface="+mn-lt"/>
                      <a:ea typeface="+mn-ea"/>
                      <a:cs typeface="+mn-cs"/>
                    </a:defRPr>
                  </a:pPr>
                  <a:endParaRPr lang="es-GT"/>
                </a:p>
              </c:txPr>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5-55CC-46DD-B032-F481D1C67435}"/>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tx1"/>
                    </a:solidFill>
                    <a:latin typeface="+mn-lt"/>
                    <a:ea typeface="+mn-ea"/>
                    <a:cs typeface="+mn-cs"/>
                  </a:defRPr>
                </a:pPr>
                <a:endParaRPr lang="es-GT"/>
              </a:p>
            </c:txP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11</c:f>
              <c:strCache>
                <c:ptCount val="9"/>
                <c:pt idx="0">
                  <c:v>Deuda Pública</c:v>
                </c:pt>
                <c:pt idx="1">
                  <c:v>Inversión</c:v>
                </c:pt>
                <c:pt idx="2">
                  <c:v>Otros gastos de funcionamiento</c:v>
                </c:pt>
                <c:pt idx="3">
                  <c:v>Inversión en capital humano (gasto de funcionamiento)</c:v>
                </c:pt>
                <c:pt idx="4">
                  <c:v>Educación</c:v>
                </c:pt>
                <c:pt idx="5">
                  <c:v>Salud </c:v>
                </c:pt>
                <c:pt idx="6">
                  <c:v>Sector Justicia</c:v>
                </c:pt>
                <c:pt idx="7">
                  <c:v>Gobernación</c:v>
                </c:pt>
                <c:pt idx="8">
                  <c:v>Otras entidades</c:v>
                </c:pt>
              </c:strCache>
            </c:strRef>
          </c:cat>
          <c:val>
            <c:numRef>
              <c:f>Sheet1!$B$2:$B$11</c:f>
              <c:numCache>
                <c:formatCode>#,##0.00</c:formatCode>
                <c:ptCount val="10"/>
                <c:pt idx="0">
                  <c:v>15041.279119999999</c:v>
                </c:pt>
                <c:pt idx="1">
                  <c:v>16920.771409000001</c:v>
                </c:pt>
                <c:pt idx="2" formatCode="#,##0.0">
                  <c:v>23139.536858000007</c:v>
                </c:pt>
                <c:pt idx="4" formatCode="#,##0.0">
                  <c:v>19269.978838999999</c:v>
                </c:pt>
                <c:pt idx="5" formatCode="#,##0.0">
                  <c:v>11634.731345</c:v>
                </c:pt>
                <c:pt idx="6" formatCode="#,##0.0">
                  <c:v>6577.8440000000001</c:v>
                </c:pt>
                <c:pt idx="7" formatCode="#,##0.0">
                  <c:v>6081.2250389999999</c:v>
                </c:pt>
                <c:pt idx="8" formatCode="#,##0.0">
                  <c:v>2275.8000000000002</c:v>
                </c:pt>
              </c:numCache>
            </c:numRef>
          </c:val>
          <c:extLst>
            <c:ext xmlns:c16="http://schemas.microsoft.com/office/drawing/2014/chart" uri="{C3380CC4-5D6E-409C-BE32-E72D297353CC}">
              <c16:uniqueId val="{00000016-55CC-46DD-B032-F481D1C67435}"/>
            </c:ext>
          </c:extLst>
        </c:ser>
        <c:dLbls>
          <c:showLegendKey val="0"/>
          <c:showVal val="0"/>
          <c:showCatName val="0"/>
          <c:showSerName val="0"/>
          <c:showPercent val="0"/>
          <c:showBubbleSize val="0"/>
          <c:showLeaderLines val="1"/>
        </c:dLbls>
        <c:gapWidth val="100"/>
        <c:splitType val="pos"/>
        <c:splitPos val="6"/>
        <c:secondPieSize val="75"/>
        <c:serLines>
          <c:spPr>
            <a:ln w="9525" cap="flat" cmpd="sng" algn="ctr">
              <a:solidFill>
                <a:srgbClr val="0385B3"/>
              </a:solidFill>
              <a:round/>
            </a:ln>
            <a:effectLst/>
          </c:spPr>
        </c:serLines>
      </c:ofPieChart>
      <c:spPr>
        <a:noFill/>
        <a:ln>
          <a:noFill/>
        </a:ln>
        <a:effectLst/>
      </c:spPr>
    </c:plotArea>
    <c:plotVisOnly val="1"/>
    <c:dispBlanksAs val="gap"/>
    <c:showDLblsOverMax val="0"/>
  </c:chart>
  <c:spPr>
    <a:noFill/>
    <a:ln>
      <a:noFill/>
    </a:ln>
    <a:effectLst/>
  </c:spPr>
  <c:txPr>
    <a:bodyPr/>
    <a:lstStyle/>
    <a:p>
      <a:pPr>
        <a:defRPr/>
      </a:pPr>
      <a:endParaRPr lang="es-GT"/>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MX"/>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878058777501092E-3"/>
          <c:y val="7.7505671610609925E-3"/>
          <c:w val="0.99259267451119182"/>
          <c:h val="0.99224933073211008"/>
        </c:manualLayout>
      </c:layout>
      <c:bubbleChart>
        <c:varyColors val="1"/>
        <c:ser>
          <c:idx val="0"/>
          <c:order val="0"/>
          <c:tx>
            <c:strRef>
              <c:f>Hoja1!$B$1</c:f>
              <c:strCache>
                <c:ptCount val="1"/>
                <c:pt idx="0">
                  <c:v>Y</c:v>
                </c:pt>
              </c:strCache>
            </c:strRef>
          </c:tx>
          <c:spPr>
            <a:solidFill>
              <a:schemeClr val="accent1"/>
            </a:solidFill>
            <a:effectLst>
              <a:glow rad="101600">
                <a:schemeClr val="accent4">
                  <a:satMod val="175000"/>
                  <a:alpha val="40000"/>
                </a:schemeClr>
              </a:glow>
            </a:effectLst>
            <a:scene3d>
              <a:camera prst="orthographicFront"/>
              <a:lightRig rig="threePt" dir="t"/>
            </a:scene3d>
            <a:sp3d>
              <a:bevelT/>
              <a:bevelB/>
            </a:sp3d>
          </c:spPr>
          <c:invertIfNegative val="0"/>
          <c:dPt>
            <c:idx val="0"/>
            <c:invertIfNegative val="0"/>
            <c:bubble3D val="0"/>
            <c:spPr>
              <a:solidFill>
                <a:schemeClr val="accent1"/>
              </a:solidFill>
              <a:ln>
                <a:noFill/>
              </a:ln>
              <a:effectLst>
                <a:glow rad="101600">
                  <a:schemeClr val="accent4">
                    <a:satMod val="175000"/>
                    <a:alpha val="40000"/>
                  </a:schemeClr>
                </a:glow>
              </a:effectLst>
              <a:scene3d>
                <a:camera prst="orthographicFront"/>
                <a:lightRig rig="threePt" dir="t"/>
              </a:scene3d>
              <a:sp3d>
                <a:bevelT/>
                <a:bevelB/>
              </a:sp3d>
            </c:spPr>
            <c:extLst>
              <c:ext xmlns:c16="http://schemas.microsoft.com/office/drawing/2014/chart" uri="{C3380CC4-5D6E-409C-BE32-E72D297353CC}">
                <c16:uniqueId val="{00000001-78E7-4095-80FC-DC1338545B29}"/>
              </c:ext>
            </c:extLst>
          </c:dPt>
          <c:dPt>
            <c:idx val="1"/>
            <c:invertIfNegative val="0"/>
            <c:bubble3D val="0"/>
            <c:spPr>
              <a:solidFill>
                <a:schemeClr val="accent1"/>
              </a:solidFill>
              <a:ln>
                <a:noFill/>
              </a:ln>
              <a:effectLst>
                <a:glow rad="101600">
                  <a:schemeClr val="accent4">
                    <a:satMod val="175000"/>
                    <a:alpha val="40000"/>
                  </a:schemeClr>
                </a:glow>
              </a:effectLst>
              <a:scene3d>
                <a:camera prst="orthographicFront"/>
                <a:lightRig rig="threePt" dir="t"/>
              </a:scene3d>
              <a:sp3d>
                <a:bevelT/>
                <a:bevelB/>
              </a:sp3d>
            </c:spPr>
            <c:extLst>
              <c:ext xmlns:c16="http://schemas.microsoft.com/office/drawing/2014/chart" uri="{C3380CC4-5D6E-409C-BE32-E72D297353CC}">
                <c16:uniqueId val="{00000003-78E7-4095-80FC-DC1338545B29}"/>
              </c:ext>
            </c:extLst>
          </c:dPt>
          <c:dPt>
            <c:idx val="2"/>
            <c:invertIfNegative val="0"/>
            <c:bubble3D val="0"/>
            <c:spPr>
              <a:solidFill>
                <a:schemeClr val="accent1"/>
              </a:solidFill>
              <a:ln>
                <a:noFill/>
              </a:ln>
              <a:effectLst>
                <a:glow rad="101600">
                  <a:schemeClr val="accent4">
                    <a:satMod val="175000"/>
                    <a:alpha val="40000"/>
                  </a:schemeClr>
                </a:glow>
              </a:effectLst>
              <a:scene3d>
                <a:camera prst="orthographicFront"/>
                <a:lightRig rig="threePt" dir="t"/>
              </a:scene3d>
              <a:sp3d>
                <a:bevelT/>
                <a:bevelB/>
              </a:sp3d>
            </c:spPr>
            <c:extLst>
              <c:ext xmlns:c16="http://schemas.microsoft.com/office/drawing/2014/chart" uri="{C3380CC4-5D6E-409C-BE32-E72D297353CC}">
                <c16:uniqueId val="{00000005-78E7-4095-80FC-DC1338545B29}"/>
              </c:ext>
            </c:extLst>
          </c:dPt>
          <c:dPt>
            <c:idx val="3"/>
            <c:invertIfNegative val="0"/>
            <c:bubble3D val="0"/>
            <c:spPr>
              <a:solidFill>
                <a:schemeClr val="accent1"/>
              </a:solidFill>
              <a:ln>
                <a:noFill/>
              </a:ln>
              <a:effectLst>
                <a:glow rad="101600">
                  <a:schemeClr val="accent4">
                    <a:satMod val="175000"/>
                    <a:alpha val="40000"/>
                  </a:schemeClr>
                </a:glow>
              </a:effectLst>
              <a:scene3d>
                <a:camera prst="orthographicFront"/>
                <a:lightRig rig="threePt" dir="t"/>
              </a:scene3d>
              <a:sp3d>
                <a:bevelT/>
                <a:bevelB/>
              </a:sp3d>
            </c:spPr>
            <c:extLst>
              <c:ext xmlns:c16="http://schemas.microsoft.com/office/drawing/2014/chart" uri="{C3380CC4-5D6E-409C-BE32-E72D297353CC}">
                <c16:uniqueId val="{00000007-78E7-4095-80FC-DC1338545B29}"/>
              </c:ext>
            </c:extLst>
          </c:dPt>
          <c:dPt>
            <c:idx val="4"/>
            <c:invertIfNegative val="0"/>
            <c:bubble3D val="0"/>
            <c:spPr>
              <a:solidFill>
                <a:schemeClr val="accent1"/>
              </a:solidFill>
              <a:ln>
                <a:noFill/>
              </a:ln>
              <a:effectLst>
                <a:glow rad="101600">
                  <a:schemeClr val="accent4">
                    <a:satMod val="175000"/>
                    <a:alpha val="40000"/>
                  </a:schemeClr>
                </a:glow>
              </a:effectLst>
              <a:scene3d>
                <a:camera prst="orthographicFront"/>
                <a:lightRig rig="threePt" dir="t"/>
              </a:scene3d>
              <a:sp3d>
                <a:bevelT/>
                <a:bevelB/>
              </a:sp3d>
            </c:spPr>
            <c:extLst>
              <c:ext xmlns:c16="http://schemas.microsoft.com/office/drawing/2014/chart" uri="{C3380CC4-5D6E-409C-BE32-E72D297353CC}">
                <c16:uniqueId val="{00000009-78E7-4095-80FC-DC1338545B29}"/>
              </c:ext>
            </c:extLst>
          </c:dPt>
          <c:dPt>
            <c:idx val="5"/>
            <c:invertIfNegative val="0"/>
            <c:bubble3D val="0"/>
            <c:spPr>
              <a:solidFill>
                <a:schemeClr val="accent1"/>
              </a:solidFill>
              <a:ln>
                <a:noFill/>
              </a:ln>
              <a:effectLst>
                <a:glow rad="101600">
                  <a:schemeClr val="accent4">
                    <a:satMod val="175000"/>
                    <a:alpha val="40000"/>
                  </a:schemeClr>
                </a:glow>
              </a:effectLst>
              <a:scene3d>
                <a:camera prst="orthographicFront"/>
                <a:lightRig rig="threePt" dir="t"/>
              </a:scene3d>
              <a:sp3d>
                <a:bevelT/>
                <a:bevelB/>
              </a:sp3d>
            </c:spPr>
            <c:extLst>
              <c:ext xmlns:c16="http://schemas.microsoft.com/office/drawing/2014/chart" uri="{C3380CC4-5D6E-409C-BE32-E72D297353CC}">
                <c16:uniqueId val="{0000000B-78E7-4095-80FC-DC1338545B29}"/>
              </c:ext>
            </c:extLst>
          </c:dPt>
          <c:dPt>
            <c:idx val="6"/>
            <c:invertIfNegative val="0"/>
            <c:bubble3D val="0"/>
            <c:spPr>
              <a:solidFill>
                <a:schemeClr val="accent1"/>
              </a:solidFill>
              <a:ln>
                <a:noFill/>
              </a:ln>
              <a:effectLst>
                <a:glow rad="101600">
                  <a:schemeClr val="accent4">
                    <a:satMod val="175000"/>
                    <a:alpha val="40000"/>
                  </a:schemeClr>
                </a:glow>
              </a:effectLst>
              <a:scene3d>
                <a:camera prst="orthographicFront"/>
                <a:lightRig rig="threePt" dir="t"/>
              </a:scene3d>
              <a:sp3d>
                <a:bevelT/>
                <a:bevelB/>
              </a:sp3d>
            </c:spPr>
            <c:extLst>
              <c:ext xmlns:c16="http://schemas.microsoft.com/office/drawing/2014/chart" uri="{C3380CC4-5D6E-409C-BE32-E72D297353CC}">
                <c16:uniqueId val="{0000000D-78E7-4095-80FC-DC1338545B29}"/>
              </c:ext>
            </c:extLst>
          </c:dPt>
          <c:dPt>
            <c:idx val="7"/>
            <c:invertIfNegative val="0"/>
            <c:bubble3D val="0"/>
            <c:spPr>
              <a:solidFill>
                <a:schemeClr val="accent1"/>
              </a:solidFill>
              <a:ln>
                <a:noFill/>
              </a:ln>
              <a:effectLst>
                <a:glow rad="101600">
                  <a:schemeClr val="accent4">
                    <a:satMod val="175000"/>
                    <a:alpha val="40000"/>
                  </a:schemeClr>
                </a:glow>
              </a:effectLst>
              <a:scene3d>
                <a:camera prst="orthographicFront"/>
                <a:lightRig rig="threePt" dir="t"/>
              </a:scene3d>
              <a:sp3d>
                <a:bevelT/>
                <a:bevelB/>
              </a:sp3d>
            </c:spPr>
            <c:extLst>
              <c:ext xmlns:c16="http://schemas.microsoft.com/office/drawing/2014/chart" uri="{C3380CC4-5D6E-409C-BE32-E72D297353CC}">
                <c16:uniqueId val="{0000000F-78E7-4095-80FC-DC1338545B29}"/>
              </c:ext>
            </c:extLst>
          </c:dPt>
          <c:dPt>
            <c:idx val="8"/>
            <c:invertIfNegative val="0"/>
            <c:bubble3D val="0"/>
            <c:spPr>
              <a:solidFill>
                <a:srgbClr val="FF0000"/>
              </a:solidFill>
              <a:ln>
                <a:noFill/>
              </a:ln>
              <a:effectLst>
                <a:glow rad="101600">
                  <a:schemeClr val="accent4">
                    <a:satMod val="175000"/>
                    <a:alpha val="40000"/>
                  </a:schemeClr>
                </a:glow>
              </a:effectLst>
              <a:scene3d>
                <a:camera prst="orthographicFront"/>
                <a:lightRig rig="threePt" dir="t"/>
              </a:scene3d>
              <a:sp3d>
                <a:bevelT/>
                <a:bevelB/>
              </a:sp3d>
            </c:spPr>
            <c:extLst>
              <c:ext xmlns:c16="http://schemas.microsoft.com/office/drawing/2014/chart" uri="{C3380CC4-5D6E-409C-BE32-E72D297353CC}">
                <c16:uniqueId val="{00000011-78E7-4095-80FC-DC1338545B29}"/>
              </c:ext>
            </c:extLst>
          </c:dPt>
          <c:dPt>
            <c:idx val="9"/>
            <c:invertIfNegative val="0"/>
            <c:bubble3D val="0"/>
            <c:spPr>
              <a:solidFill>
                <a:schemeClr val="accent1"/>
              </a:solidFill>
              <a:ln>
                <a:noFill/>
              </a:ln>
              <a:effectLst>
                <a:glow rad="101600">
                  <a:schemeClr val="accent4">
                    <a:satMod val="175000"/>
                    <a:alpha val="40000"/>
                  </a:schemeClr>
                </a:glow>
              </a:effectLst>
              <a:scene3d>
                <a:camera prst="orthographicFront"/>
                <a:lightRig rig="threePt" dir="t"/>
              </a:scene3d>
              <a:sp3d>
                <a:bevelT/>
                <a:bevelB/>
              </a:sp3d>
            </c:spPr>
            <c:extLst>
              <c:ext xmlns:c16="http://schemas.microsoft.com/office/drawing/2014/chart" uri="{C3380CC4-5D6E-409C-BE32-E72D297353CC}">
                <c16:uniqueId val="{00000013-78E7-4095-80FC-DC1338545B29}"/>
              </c:ext>
            </c:extLst>
          </c:dPt>
          <c:dPt>
            <c:idx val="10"/>
            <c:invertIfNegative val="0"/>
            <c:bubble3D val="0"/>
            <c:spPr>
              <a:solidFill>
                <a:srgbClr val="0070C0"/>
              </a:solidFill>
              <a:ln>
                <a:noFill/>
              </a:ln>
              <a:effectLst>
                <a:glow rad="101600">
                  <a:schemeClr val="accent4">
                    <a:satMod val="175000"/>
                    <a:alpha val="40000"/>
                  </a:schemeClr>
                </a:glow>
              </a:effectLst>
              <a:scene3d>
                <a:camera prst="orthographicFront"/>
                <a:lightRig rig="threePt" dir="t"/>
              </a:scene3d>
              <a:sp3d>
                <a:bevelT/>
                <a:bevelB/>
              </a:sp3d>
            </c:spPr>
            <c:extLst>
              <c:ext xmlns:c16="http://schemas.microsoft.com/office/drawing/2014/chart" uri="{C3380CC4-5D6E-409C-BE32-E72D297353CC}">
                <c16:uniqueId val="{00000015-78E7-4095-80FC-DC1338545B29}"/>
              </c:ext>
            </c:extLst>
          </c:dPt>
          <c:dPt>
            <c:idx val="11"/>
            <c:invertIfNegative val="0"/>
            <c:bubble3D val="0"/>
            <c:spPr>
              <a:solidFill>
                <a:schemeClr val="accent1"/>
              </a:solidFill>
              <a:ln>
                <a:noFill/>
              </a:ln>
              <a:effectLst>
                <a:glow rad="101600">
                  <a:schemeClr val="accent4">
                    <a:satMod val="175000"/>
                    <a:alpha val="40000"/>
                  </a:schemeClr>
                </a:glow>
              </a:effectLst>
              <a:scene3d>
                <a:camera prst="orthographicFront"/>
                <a:lightRig rig="threePt" dir="t"/>
              </a:scene3d>
              <a:sp3d>
                <a:bevelT/>
                <a:bevelB/>
              </a:sp3d>
            </c:spPr>
            <c:extLst>
              <c:ext xmlns:c16="http://schemas.microsoft.com/office/drawing/2014/chart" uri="{C3380CC4-5D6E-409C-BE32-E72D297353CC}">
                <c16:uniqueId val="{00000017-78E7-4095-80FC-DC1338545B29}"/>
              </c:ext>
            </c:extLst>
          </c:dPt>
          <c:dPt>
            <c:idx val="12"/>
            <c:invertIfNegative val="0"/>
            <c:bubble3D val="0"/>
            <c:spPr>
              <a:solidFill>
                <a:schemeClr val="accent1"/>
              </a:solidFill>
              <a:ln>
                <a:noFill/>
              </a:ln>
              <a:effectLst>
                <a:glow rad="101600">
                  <a:schemeClr val="accent4">
                    <a:satMod val="175000"/>
                    <a:alpha val="40000"/>
                  </a:schemeClr>
                </a:glow>
              </a:effectLst>
              <a:scene3d>
                <a:camera prst="orthographicFront"/>
                <a:lightRig rig="threePt" dir="t"/>
              </a:scene3d>
              <a:sp3d>
                <a:bevelT/>
                <a:bevelB/>
              </a:sp3d>
            </c:spPr>
            <c:extLst>
              <c:ext xmlns:c16="http://schemas.microsoft.com/office/drawing/2014/chart" uri="{C3380CC4-5D6E-409C-BE32-E72D297353CC}">
                <c16:uniqueId val="{00000019-78E7-4095-80FC-DC1338545B29}"/>
              </c:ext>
            </c:extLst>
          </c:dPt>
          <c:dPt>
            <c:idx val="13"/>
            <c:invertIfNegative val="0"/>
            <c:bubble3D val="0"/>
            <c:spPr>
              <a:solidFill>
                <a:schemeClr val="accent1"/>
              </a:solidFill>
              <a:ln>
                <a:noFill/>
              </a:ln>
              <a:effectLst>
                <a:glow rad="101600">
                  <a:schemeClr val="accent4">
                    <a:satMod val="175000"/>
                    <a:alpha val="40000"/>
                  </a:schemeClr>
                </a:glow>
              </a:effectLst>
              <a:scene3d>
                <a:camera prst="orthographicFront"/>
                <a:lightRig rig="threePt" dir="t"/>
              </a:scene3d>
              <a:sp3d>
                <a:bevelT/>
                <a:bevelB/>
              </a:sp3d>
            </c:spPr>
            <c:extLst>
              <c:ext xmlns:c16="http://schemas.microsoft.com/office/drawing/2014/chart" uri="{C3380CC4-5D6E-409C-BE32-E72D297353CC}">
                <c16:uniqueId val="{0000001B-78E7-4095-80FC-DC1338545B29}"/>
              </c:ext>
            </c:extLst>
          </c:dPt>
          <c:dPt>
            <c:idx val="14"/>
            <c:invertIfNegative val="0"/>
            <c:bubble3D val="0"/>
            <c:spPr>
              <a:solidFill>
                <a:schemeClr val="accent1"/>
              </a:solidFill>
              <a:ln>
                <a:noFill/>
              </a:ln>
              <a:effectLst>
                <a:glow rad="101600">
                  <a:schemeClr val="accent4">
                    <a:satMod val="175000"/>
                    <a:alpha val="40000"/>
                  </a:schemeClr>
                </a:glow>
              </a:effectLst>
              <a:scene3d>
                <a:camera prst="orthographicFront"/>
                <a:lightRig rig="threePt" dir="t"/>
              </a:scene3d>
              <a:sp3d>
                <a:bevelT/>
                <a:bevelB/>
              </a:sp3d>
            </c:spPr>
            <c:extLst>
              <c:ext xmlns:c16="http://schemas.microsoft.com/office/drawing/2014/chart" uri="{C3380CC4-5D6E-409C-BE32-E72D297353CC}">
                <c16:uniqueId val="{0000001D-78E7-4095-80FC-DC1338545B29}"/>
              </c:ext>
            </c:extLst>
          </c:dPt>
          <c:dPt>
            <c:idx val="15"/>
            <c:invertIfNegative val="0"/>
            <c:bubble3D val="0"/>
            <c:spPr>
              <a:solidFill>
                <a:schemeClr val="accent1"/>
              </a:solidFill>
              <a:ln>
                <a:noFill/>
              </a:ln>
              <a:effectLst>
                <a:glow rad="101600">
                  <a:schemeClr val="accent4">
                    <a:satMod val="175000"/>
                    <a:alpha val="40000"/>
                  </a:schemeClr>
                </a:glow>
              </a:effectLst>
              <a:scene3d>
                <a:camera prst="orthographicFront"/>
                <a:lightRig rig="threePt" dir="t"/>
              </a:scene3d>
              <a:sp3d>
                <a:bevelT/>
                <a:bevelB/>
              </a:sp3d>
            </c:spPr>
            <c:extLst>
              <c:ext xmlns:c16="http://schemas.microsoft.com/office/drawing/2014/chart" uri="{C3380CC4-5D6E-409C-BE32-E72D297353CC}">
                <c16:uniqueId val="{0000001F-78E7-4095-80FC-DC1338545B29}"/>
              </c:ext>
            </c:extLst>
          </c:dPt>
          <c:dPt>
            <c:idx val="16"/>
            <c:invertIfNegative val="0"/>
            <c:bubble3D val="0"/>
            <c:spPr>
              <a:solidFill>
                <a:schemeClr val="accent1"/>
              </a:solidFill>
              <a:ln>
                <a:noFill/>
              </a:ln>
              <a:effectLst>
                <a:glow rad="101600">
                  <a:schemeClr val="accent4">
                    <a:satMod val="175000"/>
                    <a:alpha val="40000"/>
                  </a:schemeClr>
                </a:glow>
              </a:effectLst>
              <a:scene3d>
                <a:camera prst="orthographicFront"/>
                <a:lightRig rig="threePt" dir="t"/>
              </a:scene3d>
              <a:sp3d>
                <a:bevelT/>
                <a:bevelB/>
              </a:sp3d>
            </c:spPr>
            <c:extLst>
              <c:ext xmlns:c16="http://schemas.microsoft.com/office/drawing/2014/chart" uri="{C3380CC4-5D6E-409C-BE32-E72D297353CC}">
                <c16:uniqueId val="{00000021-78E7-4095-80FC-DC1338545B29}"/>
              </c:ext>
            </c:extLst>
          </c:dPt>
          <c:dPt>
            <c:idx val="17"/>
            <c:invertIfNegative val="0"/>
            <c:bubble3D val="0"/>
            <c:spPr>
              <a:solidFill>
                <a:schemeClr val="accent1"/>
              </a:solidFill>
              <a:ln>
                <a:noFill/>
              </a:ln>
              <a:effectLst>
                <a:glow rad="101600">
                  <a:schemeClr val="accent4">
                    <a:satMod val="175000"/>
                    <a:alpha val="40000"/>
                  </a:schemeClr>
                </a:glow>
              </a:effectLst>
              <a:scene3d>
                <a:camera prst="orthographicFront"/>
                <a:lightRig rig="threePt" dir="t"/>
              </a:scene3d>
              <a:sp3d>
                <a:bevelT/>
                <a:bevelB/>
              </a:sp3d>
            </c:spPr>
            <c:extLst>
              <c:ext xmlns:c16="http://schemas.microsoft.com/office/drawing/2014/chart" uri="{C3380CC4-5D6E-409C-BE32-E72D297353CC}">
                <c16:uniqueId val="{00000023-78E7-4095-80FC-DC1338545B29}"/>
              </c:ext>
            </c:extLst>
          </c:dPt>
          <c:dPt>
            <c:idx val="18"/>
            <c:invertIfNegative val="0"/>
            <c:bubble3D val="0"/>
            <c:spPr>
              <a:solidFill>
                <a:schemeClr val="accent1"/>
              </a:solidFill>
              <a:ln>
                <a:noFill/>
              </a:ln>
              <a:effectLst>
                <a:glow rad="101600">
                  <a:schemeClr val="accent4">
                    <a:satMod val="175000"/>
                    <a:alpha val="40000"/>
                  </a:schemeClr>
                </a:glow>
              </a:effectLst>
              <a:scene3d>
                <a:camera prst="orthographicFront"/>
                <a:lightRig rig="threePt" dir="t"/>
              </a:scene3d>
              <a:sp3d>
                <a:bevelT/>
                <a:bevelB/>
              </a:sp3d>
            </c:spPr>
            <c:extLst>
              <c:ext xmlns:c16="http://schemas.microsoft.com/office/drawing/2014/chart" uri="{C3380CC4-5D6E-409C-BE32-E72D297353CC}">
                <c16:uniqueId val="{00000025-78E7-4095-80FC-DC1338545B29}"/>
              </c:ext>
            </c:extLst>
          </c:dPt>
          <c:dLbls>
            <c:dLbl>
              <c:idx val="0"/>
              <c:layout>
                <c:manualLayout>
                  <c:x val="-0.13007760333717747"/>
                  <c:y val="7.0084203158953695E-2"/>
                </c:manualLayout>
              </c:layout>
              <c:tx>
                <c:rich>
                  <a:bodyPr/>
                  <a:lstStyle/>
                  <a:p>
                    <a:fld id="{3B267DE1-02C2-F341-8B48-ABD4C9A93E87}" type="CELLRANGE">
                      <a:rPr lang="en-US" baseline="0"/>
                      <a:pPr/>
                      <a:t>[CELLRANGE]</a:t>
                    </a:fld>
                    <a:r>
                      <a:rPr lang="en-US" baseline="0"/>
                      <a:t> </a:t>
                    </a:r>
                    <a:fld id="{EAA23436-F63D-5247-AC1A-BFE1B3CA5959}" type="BUBBLESIZE">
                      <a:rPr lang="en-US" baseline="0"/>
                      <a:pPr/>
                      <a:t>[TAMAÑO DE BURBUJA]</a:t>
                    </a:fld>
                    <a:endParaRPr lang="en-US" baseline="0"/>
                  </a:p>
                </c:rich>
              </c:tx>
              <c:dLblPos val="r"/>
              <c:showLegendKey val="0"/>
              <c:showVal val="0"/>
              <c:showCatName val="0"/>
              <c:showSerName val="0"/>
              <c:showPercent val="0"/>
              <c:showBubbleSize val="1"/>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1-78E7-4095-80FC-DC1338545B29}"/>
                </c:ext>
              </c:extLst>
            </c:dLbl>
            <c:dLbl>
              <c:idx val="1"/>
              <c:layout>
                <c:manualLayout>
                  <c:x val="-0.10205678611216211"/>
                  <c:y val="-4.5838627750772042E-2"/>
                </c:manualLayout>
              </c:layout>
              <c:tx>
                <c:rich>
                  <a:bodyPr/>
                  <a:lstStyle/>
                  <a:p>
                    <a:fld id="{254233AE-0D73-A248-9283-C7F9592ACE97}" type="CELLRANGE">
                      <a:rPr lang="en-US" baseline="0"/>
                      <a:pPr/>
                      <a:t>[CELLRANGE]</a:t>
                    </a:fld>
                    <a:r>
                      <a:rPr lang="en-US" baseline="0"/>
                      <a:t> </a:t>
                    </a:r>
                    <a:fld id="{D0B5D256-0484-6A48-914F-A63C847AB593}" type="BUBBLESIZE">
                      <a:rPr lang="en-US" baseline="0"/>
                      <a:pPr/>
                      <a:t>[TAMAÑO DE BURBUJA]</a:t>
                    </a:fld>
                    <a:endParaRPr lang="en-US" baseline="0"/>
                  </a:p>
                </c:rich>
              </c:tx>
              <c:dLblPos val="r"/>
              <c:showLegendKey val="0"/>
              <c:showVal val="0"/>
              <c:showCatName val="0"/>
              <c:showSerName val="0"/>
              <c:showPercent val="0"/>
              <c:showBubbleSize val="1"/>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3-78E7-4095-80FC-DC1338545B29}"/>
                </c:ext>
              </c:extLst>
            </c:dLbl>
            <c:dLbl>
              <c:idx val="2"/>
              <c:layout>
                <c:manualLayout>
                  <c:x val="-0.11355417010958531"/>
                  <c:y val="-6.1500088248575266E-2"/>
                </c:manualLayout>
              </c:layout>
              <c:tx>
                <c:rich>
                  <a:bodyPr/>
                  <a:lstStyle/>
                  <a:p>
                    <a:fld id="{FC36DBD3-940E-3442-BCF7-3765924091BB}" type="CELLRANGE">
                      <a:rPr lang="en-US" baseline="0"/>
                      <a:pPr/>
                      <a:t>[CELLRANGE]</a:t>
                    </a:fld>
                    <a:r>
                      <a:rPr lang="en-US" baseline="0"/>
                      <a:t> </a:t>
                    </a:r>
                    <a:fld id="{58C0AA4D-AACA-CB4A-8CB1-84C84CB55024}" type="BUBBLESIZE">
                      <a:rPr lang="en-US" baseline="0"/>
                      <a:pPr/>
                      <a:t>[TAMAÑO DE BURBUJA]</a:t>
                    </a:fld>
                    <a:endParaRPr lang="en-US" baseline="0"/>
                  </a:p>
                </c:rich>
              </c:tx>
              <c:dLblPos val="r"/>
              <c:showLegendKey val="0"/>
              <c:showVal val="0"/>
              <c:showCatName val="0"/>
              <c:showSerName val="0"/>
              <c:showPercent val="0"/>
              <c:showBubbleSize val="1"/>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5-78E7-4095-80FC-DC1338545B29}"/>
                </c:ext>
              </c:extLst>
            </c:dLbl>
            <c:dLbl>
              <c:idx val="3"/>
              <c:layout>
                <c:manualLayout>
                  <c:x val="-0.21154530067461005"/>
                  <c:y val="1.0718168238123552E-2"/>
                </c:manualLayout>
              </c:layout>
              <c:tx>
                <c:rich>
                  <a:bodyPr/>
                  <a:lstStyle/>
                  <a:p>
                    <a:fld id="{3A456CFB-BB64-5740-96D6-84EED1E4380F}" type="CELLRANGE">
                      <a:rPr lang="en-US" baseline="0"/>
                      <a:pPr/>
                      <a:t>[CELLRANGE]</a:t>
                    </a:fld>
                    <a:r>
                      <a:rPr lang="en-US" baseline="0"/>
                      <a:t> </a:t>
                    </a:r>
                    <a:fld id="{EF238523-E9BA-7147-98EB-063E58A7A153}" type="BUBBLESIZE">
                      <a:rPr lang="en-US" baseline="0"/>
                      <a:pPr/>
                      <a:t>[TAMAÑO DE BURBUJA]</a:t>
                    </a:fld>
                    <a:endParaRPr lang="en-US" baseline="0"/>
                  </a:p>
                </c:rich>
              </c:tx>
              <c:dLblPos val="r"/>
              <c:showLegendKey val="0"/>
              <c:showVal val="0"/>
              <c:showCatName val="0"/>
              <c:showSerName val="0"/>
              <c:showPercent val="0"/>
              <c:showBubbleSize val="1"/>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7-78E7-4095-80FC-DC1338545B29}"/>
                </c:ext>
              </c:extLst>
            </c:dLbl>
            <c:dLbl>
              <c:idx val="4"/>
              <c:layout>
                <c:manualLayout>
                  <c:x val="-6.5817992508431483E-2"/>
                  <c:y val="5.5925589055422782E-2"/>
                </c:manualLayout>
              </c:layout>
              <c:tx>
                <c:rich>
                  <a:bodyPr/>
                  <a:lstStyle/>
                  <a:p>
                    <a:fld id="{409CC23D-1B33-ED48-884A-252BA9876AEF}" type="CELLRANGE">
                      <a:rPr lang="en-US" baseline="0" dirty="0"/>
                      <a:pPr/>
                      <a:t>[CELLRANGE]</a:t>
                    </a:fld>
                    <a:r>
                      <a:rPr lang="en-US" baseline="0" dirty="0"/>
                      <a:t> </a:t>
                    </a:r>
                    <a:fld id="{0623B782-14EE-DE45-A4D2-183BA7C1D512}" type="BUBBLESIZE">
                      <a:rPr lang="en-US" baseline="0" dirty="0"/>
                      <a:pPr/>
                      <a:t>[TAMAÑO DE BURBUJA]</a:t>
                    </a:fld>
                    <a:endParaRPr lang="en-US" baseline="0" dirty="0"/>
                  </a:p>
                </c:rich>
              </c:tx>
              <c:dLblPos val="r"/>
              <c:showLegendKey val="0"/>
              <c:showVal val="0"/>
              <c:showCatName val="0"/>
              <c:showSerName val="0"/>
              <c:showPercent val="0"/>
              <c:showBubbleSize val="1"/>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9-78E7-4095-80FC-DC1338545B29}"/>
                </c:ext>
              </c:extLst>
            </c:dLbl>
            <c:dLbl>
              <c:idx val="5"/>
              <c:layout>
                <c:manualLayout>
                  <c:x val="-0.18518911616952713"/>
                  <c:y val="5.2218433979079541E-2"/>
                </c:manualLayout>
              </c:layout>
              <c:tx>
                <c:rich>
                  <a:bodyPr/>
                  <a:lstStyle/>
                  <a:p>
                    <a:fld id="{35D5C246-7C9E-C743-8777-A934257B9F3E}" type="CELLRANGE">
                      <a:rPr lang="en-US" baseline="0"/>
                      <a:pPr/>
                      <a:t>[CELLRANGE]</a:t>
                    </a:fld>
                    <a:r>
                      <a:rPr lang="en-US" baseline="0"/>
                      <a:t> </a:t>
                    </a:r>
                    <a:fld id="{488FAB27-0D1D-4149-845B-8B640C8EE90F}" type="BUBBLESIZE">
                      <a:rPr lang="en-US" baseline="0"/>
                      <a:pPr/>
                      <a:t>[TAMAÑO DE BURBUJA]</a:t>
                    </a:fld>
                    <a:endParaRPr lang="en-US" baseline="0"/>
                  </a:p>
                </c:rich>
              </c:tx>
              <c:dLblPos val="r"/>
              <c:showLegendKey val="0"/>
              <c:showVal val="0"/>
              <c:showCatName val="0"/>
              <c:showSerName val="0"/>
              <c:showPercent val="0"/>
              <c:showBubbleSize val="1"/>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B-78E7-4095-80FC-DC1338545B29}"/>
                </c:ext>
              </c:extLst>
            </c:dLbl>
            <c:dLbl>
              <c:idx val="6"/>
              <c:layout>
                <c:manualLayout>
                  <c:x val="-0.19949130526496389"/>
                  <c:y val="2.687956469127098E-2"/>
                </c:manualLayout>
              </c:layout>
              <c:tx>
                <c:rich>
                  <a:bodyPr/>
                  <a:lstStyle/>
                  <a:p>
                    <a:fld id="{F32C133C-9094-EE41-9947-9055CEDEEE04}" type="CELLRANGE">
                      <a:rPr lang="en-US" baseline="0"/>
                      <a:pPr/>
                      <a:t>[CELLRANGE]</a:t>
                    </a:fld>
                    <a:r>
                      <a:rPr lang="en-US" baseline="0"/>
                      <a:t> </a:t>
                    </a:r>
                    <a:fld id="{2BE36FFB-D659-A242-BAA5-D45B91FC614C}" type="BUBBLESIZE">
                      <a:rPr lang="en-US" baseline="0"/>
                      <a:pPr/>
                      <a:t>[TAMAÑO DE BURBUJA]</a:t>
                    </a:fld>
                    <a:endParaRPr lang="en-US" baseline="0"/>
                  </a:p>
                </c:rich>
              </c:tx>
              <c:dLblPos val="r"/>
              <c:showLegendKey val="0"/>
              <c:showVal val="0"/>
              <c:showCatName val="0"/>
              <c:showSerName val="0"/>
              <c:showPercent val="0"/>
              <c:showBubbleSize val="1"/>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D-78E7-4095-80FC-DC1338545B29}"/>
                </c:ext>
              </c:extLst>
            </c:dLbl>
            <c:dLbl>
              <c:idx val="7"/>
              <c:layout>
                <c:manualLayout>
                  <c:x val="-0.24339199287427266"/>
                  <c:y val="6.0201382484606165E-2"/>
                </c:manualLayout>
              </c:layout>
              <c:tx>
                <c:rich>
                  <a:bodyPr/>
                  <a:lstStyle/>
                  <a:p>
                    <a:fld id="{416B6E9D-D53F-7D40-A1CF-38531409CB70}" type="CELLRANGE">
                      <a:rPr lang="en-US" baseline="0"/>
                      <a:pPr/>
                      <a:t>[CELLRANGE]</a:t>
                    </a:fld>
                    <a:r>
                      <a:rPr lang="en-US" baseline="0"/>
                      <a:t> </a:t>
                    </a:r>
                    <a:fld id="{45443BE6-C650-CD4F-B13F-0C4EFA5BDE7A}" type="BUBBLESIZE">
                      <a:rPr lang="en-US" baseline="0"/>
                      <a:pPr/>
                      <a:t>[TAMAÑO DE BURBUJA]</a:t>
                    </a:fld>
                    <a:endParaRPr lang="en-US" baseline="0"/>
                  </a:p>
                </c:rich>
              </c:tx>
              <c:dLblPos val="r"/>
              <c:showLegendKey val="0"/>
              <c:showVal val="0"/>
              <c:showCatName val="0"/>
              <c:showSerName val="0"/>
              <c:showPercent val="0"/>
              <c:showBubbleSize val="1"/>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F-78E7-4095-80FC-DC1338545B29}"/>
                </c:ext>
              </c:extLst>
            </c:dLbl>
            <c:dLbl>
              <c:idx val="8"/>
              <c:layout>
                <c:manualLayout>
                  <c:x val="-0.20343680888777807"/>
                  <c:y val="1.8201569432730717E-2"/>
                </c:manualLayout>
              </c:layout>
              <c:tx>
                <c:rich>
                  <a:bodyPr/>
                  <a:lstStyle/>
                  <a:p>
                    <a:fld id="{EA031B86-B52E-E34E-9785-84193BDCC558}" type="CELLRANGE">
                      <a:rPr lang="en-US" sz="1300" baseline="0" dirty="0">
                        <a:ln>
                          <a:noFill/>
                        </a:ln>
                        <a:solidFill>
                          <a:schemeClr val="tx1"/>
                        </a:solidFill>
                      </a:rPr>
                      <a:pPr/>
                      <a:t>[CELLRANGE]</a:t>
                    </a:fld>
                    <a:r>
                      <a:rPr lang="en-US" sz="1300" baseline="0" dirty="0">
                        <a:ln>
                          <a:noFill/>
                        </a:ln>
                        <a:solidFill>
                          <a:schemeClr val="tx1"/>
                        </a:solidFill>
                      </a:rPr>
                      <a:t> </a:t>
                    </a:r>
                    <a:fld id="{92C67A44-3BD6-9C44-88B4-017B57950BC5}" type="BUBBLESIZE">
                      <a:rPr lang="en-US" sz="1300" baseline="0" dirty="0">
                        <a:ln>
                          <a:noFill/>
                        </a:ln>
                        <a:solidFill>
                          <a:schemeClr val="tx1"/>
                        </a:solidFill>
                      </a:rPr>
                      <a:pPr/>
                      <a:t>[TAMAÑO DE BURBUJA]</a:t>
                    </a:fld>
                    <a:endParaRPr lang="en-US" sz="1300" baseline="0" dirty="0">
                      <a:ln>
                        <a:noFill/>
                      </a:ln>
                      <a:solidFill>
                        <a:schemeClr val="tx1"/>
                      </a:solidFill>
                    </a:endParaRPr>
                  </a:p>
                </c:rich>
              </c:tx>
              <c:dLblPos val="r"/>
              <c:showLegendKey val="0"/>
              <c:showVal val="0"/>
              <c:showCatName val="0"/>
              <c:showSerName val="0"/>
              <c:showPercent val="0"/>
              <c:showBubbleSize val="1"/>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1-78E7-4095-80FC-DC1338545B29}"/>
                </c:ext>
              </c:extLst>
            </c:dLbl>
            <c:dLbl>
              <c:idx val="9"/>
              <c:layout>
                <c:manualLayout>
                  <c:x val="-4.0976136959552309E-2"/>
                  <c:y val="-4.3504367595454958E-2"/>
                </c:manualLayout>
              </c:layout>
              <c:tx>
                <c:rich>
                  <a:bodyPr/>
                  <a:lstStyle/>
                  <a:p>
                    <a:fld id="{12F25624-765B-F64D-B425-C0265EB7616C}" type="CELLRANGE">
                      <a:rPr lang="en-US" baseline="0"/>
                      <a:pPr/>
                      <a:t>[CELLRANGE]</a:t>
                    </a:fld>
                    <a:r>
                      <a:rPr lang="en-US" baseline="0"/>
                      <a:t> </a:t>
                    </a:r>
                    <a:fld id="{F0607BE7-3CA3-9346-B273-035AAB05502D}" type="BUBBLESIZE">
                      <a:rPr lang="en-US" baseline="0"/>
                      <a:pPr/>
                      <a:t>[TAMAÑO DE BURBUJA]</a:t>
                    </a:fld>
                    <a:endParaRPr lang="en-US" baseline="0"/>
                  </a:p>
                </c:rich>
              </c:tx>
              <c:dLblPos val="r"/>
              <c:showLegendKey val="0"/>
              <c:showVal val="0"/>
              <c:showCatName val="0"/>
              <c:showSerName val="0"/>
              <c:showPercent val="0"/>
              <c:showBubbleSize val="1"/>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3-78E7-4095-80FC-DC1338545B29}"/>
                </c:ext>
              </c:extLst>
            </c:dLbl>
            <c:dLbl>
              <c:idx val="10"/>
              <c:layout>
                <c:manualLayout>
                  <c:x val="-0.1086501881071112"/>
                  <c:y val="-5.1664214095878243E-2"/>
                </c:manualLayout>
              </c:layout>
              <c:tx>
                <c:rich>
                  <a:bodyPr/>
                  <a:lstStyle/>
                  <a:p>
                    <a:fld id="{30B5E527-AF93-D945-B5C4-B11DE36EC07F}" type="CELLRANGE">
                      <a:rPr lang="en-US" baseline="0"/>
                      <a:pPr/>
                      <a:t>[CELLRANGE]</a:t>
                    </a:fld>
                    <a:r>
                      <a:rPr lang="en-US" baseline="0"/>
                      <a:t> </a:t>
                    </a:r>
                    <a:fld id="{0A6A0747-4AD9-C546-BB64-4087BE7103BF}" type="BUBBLESIZE">
                      <a:rPr lang="en-US" baseline="0"/>
                      <a:pPr/>
                      <a:t>[TAMAÑO DE BURBUJA]</a:t>
                    </a:fld>
                    <a:endParaRPr lang="en-US" baseline="0"/>
                  </a:p>
                </c:rich>
              </c:tx>
              <c:dLblPos val="r"/>
              <c:showLegendKey val="0"/>
              <c:showVal val="0"/>
              <c:showCatName val="0"/>
              <c:showSerName val="0"/>
              <c:showPercent val="0"/>
              <c:showBubbleSize val="1"/>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5-78E7-4095-80FC-DC1338545B29}"/>
                </c:ext>
              </c:extLst>
            </c:dLbl>
            <c:dLbl>
              <c:idx val="11"/>
              <c:layout>
                <c:manualLayout>
                  <c:x val="1.1640785889997997E-3"/>
                  <c:y val="-1.6613443489102136E-2"/>
                </c:manualLayout>
              </c:layout>
              <c:tx>
                <c:rich>
                  <a:bodyPr/>
                  <a:lstStyle/>
                  <a:p>
                    <a:fld id="{B7C1EA56-1CF6-C243-B20F-67A0E46F0E61}" type="CELLRANGE">
                      <a:rPr lang="en-US" baseline="0"/>
                      <a:pPr/>
                      <a:t>[CELLRANGE]</a:t>
                    </a:fld>
                    <a:r>
                      <a:rPr lang="en-US" baseline="0"/>
                      <a:t> </a:t>
                    </a:r>
                    <a:fld id="{84D1F473-3F41-3C42-92D4-06BAEE097F5A}" type="BUBBLESIZE">
                      <a:rPr lang="en-US" baseline="0"/>
                      <a:pPr/>
                      <a:t>[TAMAÑO DE BURBUJA]</a:t>
                    </a:fld>
                    <a:endParaRPr lang="en-US" baseline="0"/>
                  </a:p>
                </c:rich>
              </c:tx>
              <c:dLblPos val="r"/>
              <c:showLegendKey val="0"/>
              <c:showVal val="0"/>
              <c:showCatName val="0"/>
              <c:showSerName val="0"/>
              <c:showPercent val="0"/>
              <c:showBubbleSize val="1"/>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7-78E7-4095-80FC-DC1338545B29}"/>
                </c:ext>
              </c:extLst>
            </c:dLbl>
            <c:dLbl>
              <c:idx val="12"/>
              <c:layout>
                <c:manualLayout>
                  <c:x val="-0.20359468456530258"/>
                  <c:y val="7.9501460494818543E-2"/>
                </c:manualLayout>
              </c:layout>
              <c:tx>
                <c:rich>
                  <a:bodyPr/>
                  <a:lstStyle/>
                  <a:p>
                    <a:fld id="{808A1E6F-85B7-2C47-B631-AEB7E4156915}" type="CELLRANGE">
                      <a:rPr lang="en-US" baseline="0" dirty="0"/>
                      <a:pPr/>
                      <a:t>[CELLRANGE]</a:t>
                    </a:fld>
                    <a:r>
                      <a:rPr lang="en-US" baseline="0" dirty="0"/>
                      <a:t> </a:t>
                    </a:r>
                    <a:fld id="{2B6A0103-7A7F-FC47-8E8C-126ED1DC4BC0}" type="BUBBLESIZE">
                      <a:rPr lang="en-US" baseline="0" dirty="0"/>
                      <a:pPr/>
                      <a:t>[TAMAÑO DE BURBUJA]</a:t>
                    </a:fld>
                    <a:endParaRPr lang="en-US" baseline="0" dirty="0"/>
                  </a:p>
                </c:rich>
              </c:tx>
              <c:dLblPos val="r"/>
              <c:showLegendKey val="0"/>
              <c:showVal val="0"/>
              <c:showCatName val="0"/>
              <c:showSerName val="0"/>
              <c:showPercent val="0"/>
              <c:showBubbleSize val="1"/>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9-78E7-4095-80FC-DC1338545B29}"/>
                </c:ext>
              </c:extLst>
            </c:dLbl>
            <c:dLbl>
              <c:idx val="13"/>
              <c:layout>
                <c:manualLayout>
                  <c:x val="-7.0082154079389766E-2"/>
                  <c:y val="-2.8138497543174948E-2"/>
                </c:manualLayout>
              </c:layout>
              <c:tx>
                <c:rich>
                  <a:bodyPr/>
                  <a:lstStyle/>
                  <a:p>
                    <a:fld id="{72389EE2-B310-6D48-9D70-ECD5860B01DA}" type="CELLRANGE">
                      <a:rPr lang="en-US" baseline="0"/>
                      <a:pPr/>
                      <a:t>[CELLRANGE]</a:t>
                    </a:fld>
                    <a:r>
                      <a:rPr lang="en-US" baseline="0"/>
                      <a:t> </a:t>
                    </a:r>
                    <a:fld id="{1ADFCBC1-5CFD-7244-841B-D3751AEE2BF5}" type="BUBBLESIZE">
                      <a:rPr lang="en-US" baseline="0"/>
                      <a:pPr/>
                      <a:t>[TAMAÑO DE BURBUJA]</a:t>
                    </a:fld>
                    <a:endParaRPr lang="en-US" baseline="0"/>
                  </a:p>
                </c:rich>
              </c:tx>
              <c:dLblPos val="r"/>
              <c:showLegendKey val="0"/>
              <c:showVal val="0"/>
              <c:showCatName val="0"/>
              <c:showSerName val="0"/>
              <c:showPercent val="0"/>
              <c:showBubbleSize val="1"/>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B-78E7-4095-80FC-DC1338545B29}"/>
                </c:ext>
              </c:extLst>
            </c:dLbl>
            <c:dLbl>
              <c:idx val="14"/>
              <c:layout>
                <c:manualLayout>
                  <c:x val="-0.1871174492021988"/>
                  <c:y val="3.7830750693572675E-2"/>
                </c:manualLayout>
              </c:layout>
              <c:tx>
                <c:rich>
                  <a:bodyPr/>
                  <a:lstStyle/>
                  <a:p>
                    <a:fld id="{24F206CE-FA6E-E948-A531-848FE780CD77}" type="CELLRANGE">
                      <a:rPr lang="en-US" baseline="0"/>
                      <a:pPr/>
                      <a:t>[CELLRANGE]</a:t>
                    </a:fld>
                    <a:r>
                      <a:rPr lang="en-US" baseline="0"/>
                      <a:t> </a:t>
                    </a:r>
                    <a:fld id="{6FD7566D-37C7-9E4D-969E-1DDE52709140}" type="BUBBLESIZE">
                      <a:rPr lang="en-US" baseline="0"/>
                      <a:pPr/>
                      <a:t>[TAMAÑO DE BURBUJA]</a:t>
                    </a:fld>
                    <a:endParaRPr lang="en-US" baseline="0"/>
                  </a:p>
                </c:rich>
              </c:tx>
              <c:dLblPos val="r"/>
              <c:showLegendKey val="0"/>
              <c:showVal val="0"/>
              <c:showCatName val="0"/>
              <c:showSerName val="0"/>
              <c:showPercent val="0"/>
              <c:showBubbleSize val="1"/>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D-78E7-4095-80FC-DC1338545B29}"/>
                </c:ext>
              </c:extLst>
            </c:dLbl>
            <c:dLbl>
              <c:idx val="15"/>
              <c:layout>
                <c:manualLayout>
                  <c:x val="-4.5283037529932641E-3"/>
                  <c:y val="3.1099089174198239E-2"/>
                </c:manualLayout>
              </c:layout>
              <c:tx>
                <c:rich>
                  <a:bodyPr/>
                  <a:lstStyle/>
                  <a:p>
                    <a:fld id="{4FB250BF-D468-0041-87F2-E6D2856ED0F2}" type="CELLRANGE">
                      <a:rPr lang="en-US" baseline="0"/>
                      <a:pPr/>
                      <a:t>[CELLRANGE]</a:t>
                    </a:fld>
                    <a:r>
                      <a:rPr lang="en-US" baseline="0"/>
                      <a:t> </a:t>
                    </a:r>
                    <a:fld id="{F656C80B-457F-0A41-91CA-4F98ECFB0D61}" type="BUBBLESIZE">
                      <a:rPr lang="en-US" baseline="0"/>
                      <a:pPr/>
                      <a:t>[TAMAÑO DE BURBUJA]</a:t>
                    </a:fld>
                    <a:endParaRPr lang="en-US" baseline="0"/>
                  </a:p>
                </c:rich>
              </c:tx>
              <c:dLblPos val="r"/>
              <c:showLegendKey val="0"/>
              <c:showVal val="0"/>
              <c:showCatName val="0"/>
              <c:showSerName val="0"/>
              <c:showPercent val="0"/>
              <c:showBubbleSize val="1"/>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F-78E7-4095-80FC-DC1338545B29}"/>
                </c:ext>
              </c:extLst>
            </c:dLbl>
            <c:dLbl>
              <c:idx val="16"/>
              <c:tx>
                <c:rich>
                  <a:bodyPr/>
                  <a:lstStyle/>
                  <a:p>
                    <a:fld id="{52BBDCAC-2F78-42DA-8EE4-B2D01125C8F1}" type="CELLRANGE">
                      <a:rPr lang="es-GT"/>
                      <a:pPr/>
                      <a:t>[CELLRANGE]</a:t>
                    </a:fld>
                    <a:r>
                      <a:rPr lang="es-GT" baseline="0"/>
                      <a:t> </a:t>
                    </a:r>
                    <a:fld id="{5A0469F4-94A5-4749-ABE2-C3ED5A12431C}" type="BUBBLESIZE">
                      <a:rPr lang="es-GT" baseline="0"/>
                      <a:pPr/>
                      <a:t>[TAMAÑO DE BURBUJA]</a:t>
                    </a:fld>
                    <a:endParaRPr lang="es-GT" baseline="0"/>
                  </a:p>
                </c:rich>
              </c:tx>
              <c:dLblPos val="b"/>
              <c:showLegendKey val="0"/>
              <c:showVal val="0"/>
              <c:showCatName val="0"/>
              <c:showSerName val="0"/>
              <c:showPercent val="0"/>
              <c:showBubbleSize val="1"/>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1-78E7-4095-80FC-DC1338545B29}"/>
                </c:ext>
              </c:extLst>
            </c:dLbl>
            <c:dLbl>
              <c:idx val="17"/>
              <c:layout>
                <c:manualLayout>
                  <c:x val="-7.716205248358728E-3"/>
                  <c:y val="-3.0880868831837622E-2"/>
                </c:manualLayout>
              </c:layout>
              <c:tx>
                <c:rich>
                  <a:bodyPr/>
                  <a:lstStyle/>
                  <a:p>
                    <a:fld id="{E3856FDE-0BDA-6E41-8E42-B04915E7ED83}" type="CELLRANGE">
                      <a:rPr lang="en-US" baseline="0"/>
                      <a:pPr/>
                      <a:t>[CELLRANGE]</a:t>
                    </a:fld>
                    <a:r>
                      <a:rPr lang="en-US" baseline="0"/>
                      <a:t> </a:t>
                    </a:r>
                    <a:fld id="{77AF2D8E-C2DB-424E-AC8E-B6D5FF379FC6}" type="BUBBLESIZE">
                      <a:rPr lang="en-US" baseline="0"/>
                      <a:pPr/>
                      <a:t>[TAMAÑO DE BURBUJA]</a:t>
                    </a:fld>
                    <a:endParaRPr lang="en-US" baseline="0"/>
                  </a:p>
                </c:rich>
              </c:tx>
              <c:dLblPos val="r"/>
              <c:showLegendKey val="0"/>
              <c:showVal val="0"/>
              <c:showCatName val="0"/>
              <c:showSerName val="0"/>
              <c:showPercent val="0"/>
              <c:showBubbleSize val="1"/>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3-78E7-4095-80FC-DC1338545B29}"/>
                </c:ext>
              </c:extLst>
            </c:dLbl>
            <c:dLbl>
              <c:idx val="18"/>
              <c:tx>
                <c:rich>
                  <a:bodyPr/>
                  <a:lstStyle/>
                  <a:p>
                    <a:fld id="{356EBF52-CEFC-44C7-BD0B-F2E968B87B2F}" type="CELLRANGE">
                      <a:rPr lang="es-GT"/>
                      <a:pPr/>
                      <a:t>[CELLRANGE]</a:t>
                    </a:fld>
                    <a:r>
                      <a:rPr lang="es-GT" baseline="0"/>
                      <a:t> </a:t>
                    </a:r>
                    <a:fld id="{77F942DF-3744-4DF3-929D-E320BDD39EAF}" type="BUBBLESIZE">
                      <a:rPr lang="es-GT" baseline="0"/>
                      <a:pPr/>
                      <a:t>[TAMAÑO DE BURBUJA]</a:t>
                    </a:fld>
                    <a:endParaRPr lang="es-GT" baseline="0"/>
                  </a:p>
                </c:rich>
              </c:tx>
              <c:dLblPos val="b"/>
              <c:showLegendKey val="0"/>
              <c:showVal val="0"/>
              <c:showCatName val="0"/>
              <c:showSerName val="0"/>
              <c:showPercent val="0"/>
              <c:showBubbleSize val="1"/>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5-78E7-4095-80FC-DC1338545B29}"/>
                </c:ext>
              </c:extLst>
            </c:dLbl>
            <c:spPr>
              <a:noFill/>
              <a:ln>
                <a:noFill/>
              </a:ln>
              <a:effectLst>
                <a:softEdge rad="0"/>
              </a:effectLst>
            </c:spPr>
            <c:txPr>
              <a:bodyPr rot="0" spcFirstLastPara="1" vertOverflow="ellipsis" vert="horz" wrap="square" lIns="38100" tIns="19050" rIns="38100" bIns="19050" anchor="ctr" anchorCtr="1">
                <a:spAutoFit/>
              </a:bodyPr>
              <a:lstStyle/>
              <a:p>
                <a:pPr>
                  <a:defRPr sz="1300" b="1" i="0" u="none" strike="noStrike" kern="1200" baseline="0">
                    <a:ln>
                      <a:noFill/>
                    </a:ln>
                    <a:solidFill>
                      <a:schemeClr val="tx1"/>
                    </a:solidFill>
                    <a:latin typeface="+mn-lt"/>
                    <a:ea typeface="+mn-ea"/>
                    <a:cs typeface="+mn-cs"/>
                  </a:defRPr>
                </a:pPr>
                <a:endParaRPr lang="es-GT"/>
              </a:p>
            </c:txPr>
            <c:dLblPos val="b"/>
            <c:showLegendKey val="0"/>
            <c:showVal val="0"/>
            <c:showCatName val="0"/>
            <c:showSerName val="0"/>
            <c:showPercent val="0"/>
            <c:showBubbleSize val="1"/>
            <c:separator> </c:separator>
            <c:showLeaderLines val="0"/>
            <c:extLst>
              <c:ext xmlns:c15="http://schemas.microsoft.com/office/drawing/2012/chart" uri="{CE6537A1-D6FC-4f65-9D91-7224C49458BB}">
                <c15:showDataLabelsRange val="1"/>
                <c15:showLeaderLines val="1"/>
                <c15:leaderLines>
                  <c:spPr>
                    <a:ln w="9525" cap="flat" cmpd="sng" algn="ctr">
                      <a:solidFill>
                        <a:srgbClr val="C00000">
                          <a:alpha val="56000"/>
                        </a:srgbClr>
                      </a:solidFill>
                      <a:prstDash val="sysDash"/>
                      <a:round/>
                    </a:ln>
                    <a:effectLst/>
                  </c:spPr>
                </c15:leaderLines>
              </c:ext>
            </c:extLst>
          </c:dLbls>
          <c:xVal>
            <c:numRef>
              <c:f>Hoja1!$A$2:$A$20</c:f>
              <c:numCache>
                <c:formatCode>General</c:formatCode>
                <c:ptCount val="19"/>
                <c:pt idx="0">
                  <c:v>11</c:v>
                </c:pt>
                <c:pt idx="1">
                  <c:v>11</c:v>
                </c:pt>
                <c:pt idx="2">
                  <c:v>14</c:v>
                </c:pt>
                <c:pt idx="3">
                  <c:v>10</c:v>
                </c:pt>
                <c:pt idx="4">
                  <c:v>9</c:v>
                </c:pt>
                <c:pt idx="5">
                  <c:v>7</c:v>
                </c:pt>
                <c:pt idx="6">
                  <c:v>8.1</c:v>
                </c:pt>
                <c:pt idx="7">
                  <c:v>6</c:v>
                </c:pt>
                <c:pt idx="8">
                  <c:v>5.5</c:v>
                </c:pt>
                <c:pt idx="9">
                  <c:v>6.5</c:v>
                </c:pt>
                <c:pt idx="10">
                  <c:v>3.2</c:v>
                </c:pt>
                <c:pt idx="11">
                  <c:v>6.84</c:v>
                </c:pt>
                <c:pt idx="12">
                  <c:v>8</c:v>
                </c:pt>
                <c:pt idx="13">
                  <c:v>12.2</c:v>
                </c:pt>
                <c:pt idx="14">
                  <c:v>8.6</c:v>
                </c:pt>
                <c:pt idx="15">
                  <c:v>12.8</c:v>
                </c:pt>
                <c:pt idx="16">
                  <c:v>10.9</c:v>
                </c:pt>
                <c:pt idx="17">
                  <c:v>10.199999999999999</c:v>
                </c:pt>
                <c:pt idx="18">
                  <c:v>7.8</c:v>
                </c:pt>
              </c:numCache>
            </c:numRef>
          </c:xVal>
          <c:yVal>
            <c:numRef>
              <c:f>Hoja1!$B$2:$B$20</c:f>
              <c:numCache>
                <c:formatCode>General</c:formatCode>
                <c:ptCount val="19"/>
                <c:pt idx="0">
                  <c:v>6</c:v>
                </c:pt>
                <c:pt idx="1">
                  <c:v>9</c:v>
                </c:pt>
                <c:pt idx="2">
                  <c:v>10.5</c:v>
                </c:pt>
                <c:pt idx="3">
                  <c:v>7.5</c:v>
                </c:pt>
                <c:pt idx="4">
                  <c:v>14</c:v>
                </c:pt>
                <c:pt idx="5">
                  <c:v>15.4</c:v>
                </c:pt>
                <c:pt idx="6">
                  <c:v>12.8</c:v>
                </c:pt>
                <c:pt idx="7">
                  <c:v>16.3</c:v>
                </c:pt>
                <c:pt idx="8">
                  <c:v>16.5</c:v>
                </c:pt>
                <c:pt idx="9">
                  <c:v>16.5</c:v>
                </c:pt>
                <c:pt idx="10">
                  <c:v>18</c:v>
                </c:pt>
                <c:pt idx="11">
                  <c:v>16.100000000000001</c:v>
                </c:pt>
                <c:pt idx="12">
                  <c:v>15.2</c:v>
                </c:pt>
                <c:pt idx="13">
                  <c:v>7.8</c:v>
                </c:pt>
                <c:pt idx="14">
                  <c:v>11</c:v>
                </c:pt>
                <c:pt idx="15">
                  <c:v>5.59</c:v>
                </c:pt>
                <c:pt idx="16">
                  <c:v>14.6</c:v>
                </c:pt>
                <c:pt idx="17">
                  <c:v>17.5</c:v>
                </c:pt>
                <c:pt idx="18">
                  <c:v>18</c:v>
                </c:pt>
              </c:numCache>
            </c:numRef>
          </c:yVal>
          <c:bubbleSize>
            <c:numRef>
              <c:f>Hoja1!$F$2:$F$20</c:f>
              <c:numCache>
                <c:formatCode>_-* #,##0.0_-;\-* #,##0.0_-;_-* "-"??_-;_-@_-</c:formatCode>
                <c:ptCount val="19"/>
                <c:pt idx="0">
                  <c:v>0</c:v>
                </c:pt>
                <c:pt idx="1">
                  <c:v>70.7</c:v>
                </c:pt>
                <c:pt idx="2">
                  <c:v>98.8</c:v>
                </c:pt>
                <c:pt idx="3">
                  <c:v>36.799999999999997</c:v>
                </c:pt>
                <c:pt idx="4">
                  <c:v>64.3</c:v>
                </c:pt>
                <c:pt idx="5">
                  <c:v>75</c:v>
                </c:pt>
                <c:pt idx="6">
                  <c:v>64.099999999999994</c:v>
                </c:pt>
                <c:pt idx="7">
                  <c:v>93.3</c:v>
                </c:pt>
                <c:pt idx="8">
                  <c:v>31.7</c:v>
                </c:pt>
                <c:pt idx="9">
                  <c:v>55.8</c:v>
                </c:pt>
                <c:pt idx="10">
                  <c:v>60.5</c:v>
                </c:pt>
                <c:pt idx="11">
                  <c:v>47.8</c:v>
                </c:pt>
                <c:pt idx="12">
                  <c:v>61.1</c:v>
                </c:pt>
                <c:pt idx="13">
                  <c:v>36.5</c:v>
                </c:pt>
                <c:pt idx="14">
                  <c:v>36.200000000000003</c:v>
                </c:pt>
                <c:pt idx="15">
                  <c:v>67.900000000000006</c:v>
                </c:pt>
                <c:pt idx="17">
                  <c:v>65.400000000000006</c:v>
                </c:pt>
              </c:numCache>
            </c:numRef>
          </c:bubbleSize>
          <c:bubble3D val="0"/>
          <c:extLst>
            <c:ext xmlns:c15="http://schemas.microsoft.com/office/drawing/2012/chart" uri="{02D57815-91ED-43cb-92C2-25804820EDAC}">
              <c15:datalabelsRange>
                <c15:f>Hoja1!$D$2:$D$20</c15:f>
                <c15:dlblRangeCache>
                  <c:ptCount val="19"/>
                  <c:pt idx="0">
                    <c:v>ARG</c:v>
                  </c:pt>
                  <c:pt idx="1">
                    <c:v>BOL</c:v>
                  </c:pt>
                  <c:pt idx="2">
                    <c:v>BRA</c:v>
                  </c:pt>
                  <c:pt idx="3">
                    <c:v>CHL</c:v>
                  </c:pt>
                  <c:pt idx="4">
                    <c:v>COL</c:v>
                  </c:pt>
                  <c:pt idx="5">
                    <c:v>CRI</c:v>
                  </c:pt>
                  <c:pt idx="6">
                    <c:v>ECU</c:v>
                  </c:pt>
                  <c:pt idx="7">
                    <c:v>SLV</c:v>
                  </c:pt>
                  <c:pt idx="8">
                    <c:v>GTM</c:v>
                  </c:pt>
                  <c:pt idx="9">
                    <c:v>HND</c:v>
                  </c:pt>
                  <c:pt idx="10">
                    <c:v>MEX</c:v>
                  </c:pt>
                  <c:pt idx="11">
                    <c:v>NIC</c:v>
                  </c:pt>
                  <c:pt idx="12">
                    <c:v>PAN</c:v>
                  </c:pt>
                  <c:pt idx="13">
                    <c:v>PRY</c:v>
                  </c:pt>
                  <c:pt idx="14">
                    <c:v>PER</c:v>
                  </c:pt>
                  <c:pt idx="15">
                    <c:v>URY</c:v>
                  </c:pt>
                  <c:pt idx="16">
                    <c:v>Ven</c:v>
                  </c:pt>
                  <c:pt idx="17">
                    <c:v>DOM</c:v>
                  </c:pt>
                  <c:pt idx="18">
                    <c:v>Cub</c:v>
                  </c:pt>
                </c15:dlblRangeCache>
              </c15:datalabelsRange>
            </c:ext>
            <c:ext xmlns:c16="http://schemas.microsoft.com/office/drawing/2014/chart" uri="{C3380CC4-5D6E-409C-BE32-E72D297353CC}">
              <c16:uniqueId val="{00000026-78E7-4095-80FC-DC1338545B29}"/>
            </c:ext>
          </c:extLst>
        </c:ser>
        <c:dLbls>
          <c:showLegendKey val="0"/>
          <c:showVal val="0"/>
          <c:showCatName val="0"/>
          <c:showSerName val="0"/>
          <c:showPercent val="0"/>
          <c:showBubbleSize val="0"/>
        </c:dLbls>
        <c:bubbleScale val="30"/>
        <c:showNegBubbles val="1"/>
        <c:sizeRepresents val="w"/>
        <c:axId val="389542264"/>
        <c:axId val="389540952"/>
      </c:bubbleChart>
      <c:valAx>
        <c:axId val="389542264"/>
        <c:scaling>
          <c:orientation val="minMax"/>
          <c:max val="18"/>
          <c:min val="0"/>
        </c:scaling>
        <c:delete val="1"/>
        <c:axPos val="b"/>
        <c:numFmt formatCode="General" sourceLinked="1"/>
        <c:majorTickMark val="none"/>
        <c:minorTickMark val="none"/>
        <c:tickLblPos val="nextTo"/>
        <c:crossAx val="389540952"/>
        <c:crosses val="autoZero"/>
        <c:crossBetween val="midCat"/>
      </c:valAx>
      <c:valAx>
        <c:axId val="389540952"/>
        <c:scaling>
          <c:orientation val="minMax"/>
          <c:max val="20"/>
          <c:min val="0"/>
        </c:scaling>
        <c:delete val="1"/>
        <c:axPos val="l"/>
        <c:numFmt formatCode="General" sourceLinked="1"/>
        <c:majorTickMark val="none"/>
        <c:minorTickMark val="none"/>
        <c:tickLblPos val="nextTo"/>
        <c:crossAx val="389542264"/>
        <c:crosses val="autoZero"/>
        <c:crossBetween val="midCat"/>
      </c:valAx>
      <c:spPr>
        <a:blipFill>
          <a:blip xmlns:r="http://schemas.openxmlformats.org/officeDocument/2006/relationships" r:embed="rId3">
            <a:alphaModFix amt="35000"/>
          </a:blip>
          <a:stretch>
            <a:fillRect/>
          </a:stretch>
        </a:blipFill>
        <a:ln>
          <a:noFill/>
        </a:ln>
        <a:effectLst>
          <a:glow>
            <a:schemeClr val="accent1">
              <a:alpha val="32000"/>
            </a:schemeClr>
          </a:glow>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GT"/>
    </a:p>
  </c:txPr>
  <c:externalData r:id="rId4">
    <c:autoUpdate val="0"/>
  </c:externalData>
  <c:userShapes r:id="rId5"/>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MX"/>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089819755164183E-2"/>
          <c:y val="3.423130808571561E-2"/>
          <c:w val="0.94176787143253482"/>
          <c:h val="0.87418337915692435"/>
        </c:manualLayout>
      </c:layout>
      <c:lineChart>
        <c:grouping val="standard"/>
        <c:varyColors val="0"/>
        <c:ser>
          <c:idx val="0"/>
          <c:order val="0"/>
          <c:tx>
            <c:strRef>
              <c:f>Hoja1!$B$1</c:f>
              <c:strCache>
                <c:ptCount val="1"/>
                <c:pt idx="0">
                  <c:v>Bajo</c:v>
                </c:pt>
              </c:strCache>
            </c:strRef>
          </c:tx>
          <c:spPr>
            <a:ln w="82550" cap="rnd">
              <a:solidFill>
                <a:schemeClr val="accent1"/>
              </a:solidFill>
              <a:round/>
              <a:headEnd type="none"/>
              <a:tailEnd type="triangle"/>
            </a:ln>
            <a:effectLst>
              <a:outerShdw blurRad="50800" dist="38100" dir="18900000" algn="bl" rotWithShape="0">
                <a:prstClr val="black">
                  <a:alpha val="40000"/>
                </a:prstClr>
              </a:outerShdw>
            </a:effectLst>
          </c:spPr>
          <c:marker>
            <c:symbol val="none"/>
          </c:marker>
          <c:dLbls>
            <c:dLbl>
              <c:idx val="1"/>
              <c:layout>
                <c:manualLayout>
                  <c:x val="-3.3534108201069203E-2"/>
                  <c:y val="-4.9781387799926413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4.3271112278609747E-2"/>
                      <c:h val="7.3471442205508539E-2"/>
                    </c:manualLayout>
                  </c15:layout>
                </c:ext>
                <c:ext xmlns:c16="http://schemas.microsoft.com/office/drawing/2014/chart" uri="{C3380CC4-5D6E-409C-BE32-E72D297353CC}">
                  <c16:uniqueId val="{00000001-9949-4E18-954D-E4F0FF1D1F72}"/>
                </c:ext>
              </c:extLst>
            </c:dLbl>
            <c:numFmt formatCode="#,##0.0" sourceLinked="0"/>
            <c:spPr>
              <a:noFill/>
              <a:ln>
                <a:noFill/>
              </a:ln>
              <a:effectLst/>
            </c:spPr>
            <c:txPr>
              <a:bodyPr rot="0" spcFirstLastPara="1" vertOverflow="ellipsis" vert="horz" wrap="square" anchor="ctr" anchorCtr="1"/>
              <a:lstStyle/>
              <a:p>
                <a:pPr>
                  <a:defRPr sz="1800" b="1" i="0" u="none" strike="noStrike" kern="1200" baseline="0">
                    <a:solidFill>
                      <a:schemeClr val="accent1">
                        <a:lumMod val="75000"/>
                      </a:schemeClr>
                    </a:solidFill>
                    <a:latin typeface="+mn-lt"/>
                    <a:ea typeface="+mn-ea"/>
                    <a:cs typeface="+mn-cs"/>
                  </a:defRPr>
                </a:pPr>
                <a:endParaRPr lang="es-GT"/>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9</c:f>
              <c:strCache>
                <c:ptCount val="8"/>
                <c:pt idx="0">
                  <c:v>2019</c:v>
                </c:pt>
                <c:pt idx="1">
                  <c:v>2020</c:v>
                </c:pt>
                <c:pt idx="2">
                  <c:v>2021</c:v>
                </c:pt>
                <c:pt idx="3">
                  <c:v>2022</c:v>
                </c:pt>
                <c:pt idx="4">
                  <c:v>2023</c:v>
                </c:pt>
                <c:pt idx="5">
                  <c:v>2024</c:v>
                </c:pt>
                <c:pt idx="6">
                  <c:v>2025</c:v>
                </c:pt>
                <c:pt idx="7">
                  <c:v>2026</c:v>
                </c:pt>
              </c:strCache>
            </c:strRef>
          </c:cat>
          <c:val>
            <c:numRef>
              <c:f>Hoja1!$B$2:$B$9</c:f>
              <c:numCache>
                <c:formatCode>#,##0.0</c:formatCode>
                <c:ptCount val="8"/>
                <c:pt idx="0">
                  <c:v>10.558968120993011</c:v>
                </c:pt>
                <c:pt idx="1">
                  <c:v>10.059378165950255</c:v>
                </c:pt>
                <c:pt idx="2">
                  <c:v>11</c:v>
                </c:pt>
                <c:pt idx="3">
                  <c:v>10.7</c:v>
                </c:pt>
                <c:pt idx="4">
                  <c:v>10.8</c:v>
                </c:pt>
                <c:pt idx="5">
                  <c:v>10.8</c:v>
                </c:pt>
                <c:pt idx="6">
                  <c:v>10.9</c:v>
                </c:pt>
                <c:pt idx="7">
                  <c:v>11</c:v>
                </c:pt>
              </c:numCache>
            </c:numRef>
          </c:val>
          <c:smooth val="1"/>
          <c:extLst>
            <c:ext xmlns:c16="http://schemas.microsoft.com/office/drawing/2014/chart" uri="{C3380CC4-5D6E-409C-BE32-E72D297353CC}">
              <c16:uniqueId val="{00000000-F0B6-4972-8ADB-FDC7A3F9644C}"/>
            </c:ext>
          </c:extLst>
        </c:ser>
        <c:dLbls>
          <c:showLegendKey val="0"/>
          <c:showVal val="0"/>
          <c:showCatName val="0"/>
          <c:showSerName val="0"/>
          <c:showPercent val="0"/>
          <c:showBubbleSize val="0"/>
        </c:dLbls>
        <c:smooth val="0"/>
        <c:axId val="365667560"/>
        <c:axId val="365664280"/>
      </c:lineChart>
      <c:catAx>
        <c:axId val="365667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endParaRPr lang="es-GT"/>
          </a:p>
        </c:txPr>
        <c:crossAx val="365664280"/>
        <c:crosses val="autoZero"/>
        <c:auto val="1"/>
        <c:lblAlgn val="ctr"/>
        <c:lblOffset val="100"/>
        <c:noMultiLvlLbl val="0"/>
      </c:catAx>
      <c:valAx>
        <c:axId val="365664280"/>
        <c:scaling>
          <c:orientation val="minMax"/>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s-GT"/>
          </a:p>
        </c:txPr>
        <c:crossAx val="3656675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pPr>
      <a:endParaRPr lang="es-GT"/>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MX"/>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002146358362366E-2"/>
          <c:y val="3.0593053888558153E-2"/>
          <c:w val="0.85085413076688776"/>
          <c:h val="0.77530567310728549"/>
        </c:manualLayout>
      </c:layout>
      <c:barChart>
        <c:barDir val="col"/>
        <c:grouping val="clustered"/>
        <c:varyColors val="0"/>
        <c:ser>
          <c:idx val="0"/>
          <c:order val="0"/>
          <c:tx>
            <c:strRef>
              <c:f>Hoja1!$B$1</c:f>
              <c:strCache>
                <c:ptCount val="1"/>
                <c:pt idx="0">
                  <c:v>Reca Total</c:v>
                </c:pt>
              </c:strCache>
            </c:strRef>
          </c:tx>
          <c:spPr>
            <a:solidFill>
              <a:srgbClr val="0385B3"/>
            </a:solidFill>
            <a:ln>
              <a:noFill/>
            </a:ln>
            <a:effectLst/>
            <a:scene3d>
              <a:camera prst="orthographicFront"/>
              <a:lightRig rig="threePt" dir="t"/>
            </a:scene3d>
            <a:sp3d/>
          </c:spPr>
          <c:invertIfNegative val="0"/>
          <c:dLbls>
            <c:dLbl>
              <c:idx val="6"/>
              <c:layout>
                <c:manualLayout>
                  <c:x val="-6.038647342995169E-3"/>
                  <c:y val="5.551700208188707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F07-4E7F-9E92-86DE267670EC}"/>
                </c:ext>
              </c:extLst>
            </c:dLbl>
            <c:dLbl>
              <c:idx val="18"/>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F07-4E7F-9E92-86DE267670EC}"/>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070C0"/>
                    </a:solidFill>
                    <a:latin typeface="+mn-lt"/>
                    <a:ea typeface="+mn-ea"/>
                    <a:cs typeface="+mn-cs"/>
                  </a:defRPr>
                </a:pPr>
                <a:endParaRPr lang="es-GT"/>
              </a:p>
            </c:txPr>
            <c:showLegendKey val="0"/>
            <c:showVal val="0"/>
            <c:showCatName val="0"/>
            <c:showSerName val="0"/>
            <c:showPercent val="0"/>
            <c:showBubbleSize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Hoja1!$A$2:$A$20</c:f>
              <c:numCache>
                <c:formatCode>mmm\-yy</c:formatCode>
                <c:ptCount val="19"/>
                <c:pt idx="0">
                  <c:v>43831</c:v>
                </c:pt>
                <c:pt idx="1">
                  <c:v>43862</c:v>
                </c:pt>
                <c:pt idx="2">
                  <c:v>43891</c:v>
                </c:pt>
                <c:pt idx="3">
                  <c:v>43922</c:v>
                </c:pt>
                <c:pt idx="4">
                  <c:v>43952</c:v>
                </c:pt>
                <c:pt idx="5">
                  <c:v>43983</c:v>
                </c:pt>
                <c:pt idx="6">
                  <c:v>44013</c:v>
                </c:pt>
                <c:pt idx="7">
                  <c:v>44044</c:v>
                </c:pt>
                <c:pt idx="8">
                  <c:v>44075</c:v>
                </c:pt>
                <c:pt idx="9">
                  <c:v>44105</c:v>
                </c:pt>
                <c:pt idx="10">
                  <c:v>44136</c:v>
                </c:pt>
                <c:pt idx="11">
                  <c:v>44166</c:v>
                </c:pt>
                <c:pt idx="12">
                  <c:v>44197</c:v>
                </c:pt>
                <c:pt idx="13">
                  <c:v>44228</c:v>
                </c:pt>
                <c:pt idx="14">
                  <c:v>44256</c:v>
                </c:pt>
                <c:pt idx="15">
                  <c:v>44287</c:v>
                </c:pt>
                <c:pt idx="16">
                  <c:v>44317</c:v>
                </c:pt>
                <c:pt idx="17">
                  <c:v>44348</c:v>
                </c:pt>
                <c:pt idx="18">
                  <c:v>44378</c:v>
                </c:pt>
              </c:numCache>
            </c:numRef>
          </c:cat>
          <c:val>
            <c:numRef>
              <c:f>Hoja1!$B$2:$B$20</c:f>
              <c:numCache>
                <c:formatCode>General</c:formatCode>
                <c:ptCount val="19"/>
                <c:pt idx="0">
                  <c:v>6587.389086000002</c:v>
                </c:pt>
                <c:pt idx="1">
                  <c:v>10848.432067560003</c:v>
                </c:pt>
                <c:pt idx="2">
                  <c:v>14502.179227000004</c:v>
                </c:pt>
                <c:pt idx="3">
                  <c:v>21455.235803800002</c:v>
                </c:pt>
                <c:pt idx="4">
                  <c:v>24933.103979180003</c:v>
                </c:pt>
                <c:pt idx="5">
                  <c:v>28465.063321300004</c:v>
                </c:pt>
                <c:pt idx="6">
                  <c:v>34619.377309039999</c:v>
                </c:pt>
                <c:pt idx="7">
                  <c:v>38553.656081690002</c:v>
                </c:pt>
                <c:pt idx="8">
                  <c:v>42809.268732460005</c:v>
                </c:pt>
                <c:pt idx="9">
                  <c:v>50402.02680154</c:v>
                </c:pt>
                <c:pt idx="10">
                  <c:v>55133.073812210001</c:v>
                </c:pt>
                <c:pt idx="11">
                  <c:v>60279.39609758</c:v>
                </c:pt>
                <c:pt idx="12">
                  <c:v>6893.669096820001</c:v>
                </c:pt>
                <c:pt idx="13">
                  <c:v>11624.583736160002</c:v>
                </c:pt>
                <c:pt idx="14">
                  <c:v>17879.829767710002</c:v>
                </c:pt>
                <c:pt idx="15">
                  <c:v>25654.842707700001</c:v>
                </c:pt>
                <c:pt idx="16">
                  <c:v>30913.261819669999</c:v>
                </c:pt>
                <c:pt idx="17">
                  <c:v>36019.283114489997</c:v>
                </c:pt>
                <c:pt idx="18">
                  <c:v>44926.277111029995</c:v>
                </c:pt>
              </c:numCache>
            </c:numRef>
          </c:val>
          <c:extLst>
            <c:ext xmlns:c16="http://schemas.microsoft.com/office/drawing/2014/chart" uri="{C3380CC4-5D6E-409C-BE32-E72D297353CC}">
              <c16:uniqueId val="{00000002-DF07-4E7F-9E92-86DE267670EC}"/>
            </c:ext>
          </c:extLst>
        </c:ser>
        <c:dLbls>
          <c:showLegendKey val="0"/>
          <c:showVal val="0"/>
          <c:showCatName val="0"/>
          <c:showSerName val="0"/>
          <c:showPercent val="0"/>
          <c:showBubbleSize val="0"/>
        </c:dLbls>
        <c:gapWidth val="20"/>
        <c:axId val="630783488"/>
        <c:axId val="630782504"/>
      </c:barChart>
      <c:lineChart>
        <c:grouping val="standard"/>
        <c:varyColors val="0"/>
        <c:ser>
          <c:idx val="1"/>
          <c:order val="1"/>
          <c:tx>
            <c:strRef>
              <c:f>Hoja1!$C$1</c:f>
              <c:strCache>
                <c:ptCount val="1"/>
                <c:pt idx="0">
                  <c:v>Var Acumulada</c:v>
                </c:pt>
              </c:strCache>
            </c:strRef>
          </c:tx>
          <c:spPr>
            <a:ln w="28575" cap="rnd">
              <a:solidFill>
                <a:srgbClr val="0B3963"/>
              </a:solidFill>
              <a:round/>
            </a:ln>
            <a:effectLst/>
          </c:spPr>
          <c:marker>
            <c:symbol val="circle"/>
            <c:size val="8"/>
            <c:spPr>
              <a:solidFill>
                <a:schemeClr val="bg1"/>
              </a:solidFill>
              <a:ln>
                <a:solidFill>
                  <a:srgbClr val="0B3963"/>
                </a:solidFill>
              </a:ln>
              <a:effectLst/>
            </c:spPr>
          </c:marker>
          <c:dLbls>
            <c:dLbl>
              <c:idx val="6"/>
              <c:layout>
                <c:manualLayout>
                  <c:x val="-2.5362318840579712E-2"/>
                  <c:y val="0.18875780707841777"/>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FF0000"/>
                      </a:solidFill>
                      <a:latin typeface="+mn-lt"/>
                      <a:ea typeface="+mn-ea"/>
                      <a:cs typeface="+mn-cs"/>
                    </a:defRPr>
                  </a:pPr>
                  <a:endParaRPr lang="es-GT"/>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F07-4E7F-9E92-86DE267670EC}"/>
                </c:ext>
              </c:extLst>
            </c:dLbl>
            <c:dLbl>
              <c:idx val="18"/>
              <c:layout>
                <c:manualLayout>
                  <c:x val="-6.1594202898550728E-2"/>
                  <c:y val="-3.6086051353226928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FF0000"/>
                      </a:solidFill>
                      <a:latin typeface="+mn-lt"/>
                      <a:ea typeface="+mn-ea"/>
                      <a:cs typeface="+mn-cs"/>
                    </a:defRPr>
                  </a:pPr>
                  <a:endParaRPr lang="es-GT"/>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F07-4E7F-9E92-86DE267670EC}"/>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FF0000"/>
                    </a:solidFill>
                    <a:latin typeface="+mn-lt"/>
                    <a:ea typeface="+mn-ea"/>
                    <a:cs typeface="+mn-cs"/>
                  </a:defRPr>
                </a:pPr>
                <a:endParaRPr lang="es-GT"/>
              </a:p>
            </c:txPr>
            <c:showLegendKey val="0"/>
            <c:showVal val="0"/>
            <c:showCatName val="0"/>
            <c:showSerName val="0"/>
            <c:showPercent val="0"/>
            <c:showBubbleSize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Hoja1!$A$2:$A$20</c:f>
              <c:numCache>
                <c:formatCode>mmm\-yy</c:formatCode>
                <c:ptCount val="19"/>
                <c:pt idx="0">
                  <c:v>43831</c:v>
                </c:pt>
                <c:pt idx="1">
                  <c:v>43862</c:v>
                </c:pt>
                <c:pt idx="2">
                  <c:v>43891</c:v>
                </c:pt>
                <c:pt idx="3">
                  <c:v>43922</c:v>
                </c:pt>
                <c:pt idx="4">
                  <c:v>43952</c:v>
                </c:pt>
                <c:pt idx="5">
                  <c:v>43983</c:v>
                </c:pt>
                <c:pt idx="6">
                  <c:v>44013</c:v>
                </c:pt>
                <c:pt idx="7">
                  <c:v>44044</c:v>
                </c:pt>
                <c:pt idx="8">
                  <c:v>44075</c:v>
                </c:pt>
                <c:pt idx="9">
                  <c:v>44105</c:v>
                </c:pt>
                <c:pt idx="10">
                  <c:v>44136</c:v>
                </c:pt>
                <c:pt idx="11">
                  <c:v>44166</c:v>
                </c:pt>
                <c:pt idx="12">
                  <c:v>44197</c:v>
                </c:pt>
                <c:pt idx="13">
                  <c:v>44228</c:v>
                </c:pt>
                <c:pt idx="14">
                  <c:v>44256</c:v>
                </c:pt>
                <c:pt idx="15">
                  <c:v>44287</c:v>
                </c:pt>
                <c:pt idx="16">
                  <c:v>44317</c:v>
                </c:pt>
                <c:pt idx="17">
                  <c:v>44348</c:v>
                </c:pt>
                <c:pt idx="18">
                  <c:v>44378</c:v>
                </c:pt>
              </c:numCache>
            </c:numRef>
          </c:cat>
          <c:val>
            <c:numRef>
              <c:f>Hoja1!$C$2:$C$20</c:f>
              <c:numCache>
                <c:formatCode>General</c:formatCode>
                <c:ptCount val="19"/>
                <c:pt idx="0">
                  <c:v>9.9930227400694793</c:v>
                </c:pt>
                <c:pt idx="1">
                  <c:v>9.4955364780330278</c:v>
                </c:pt>
                <c:pt idx="2">
                  <c:v>-3.312863779283215</c:v>
                </c:pt>
                <c:pt idx="3">
                  <c:v>1.0677030515781283</c:v>
                </c:pt>
                <c:pt idx="4">
                  <c:v>-3.4557963525804203</c:v>
                </c:pt>
                <c:pt idx="5">
                  <c:v>-5.3220955811382193</c:v>
                </c:pt>
                <c:pt idx="6">
                  <c:v>-6.6850729747290227</c:v>
                </c:pt>
                <c:pt idx="7">
                  <c:v>-7.2573203198649683</c:v>
                </c:pt>
                <c:pt idx="8">
                  <c:v>-6.6011401647065533</c:v>
                </c:pt>
                <c:pt idx="9">
                  <c:v>-4.8401549131182993</c:v>
                </c:pt>
                <c:pt idx="10">
                  <c:v>-4.2858087798717692</c:v>
                </c:pt>
                <c:pt idx="11">
                  <c:v>-3.6971244964329686</c:v>
                </c:pt>
                <c:pt idx="12">
                  <c:v>4.6494902126083204</c:v>
                </c:pt>
                <c:pt idx="13">
                  <c:v>7.1545054968903843</c:v>
                </c:pt>
                <c:pt idx="14">
                  <c:v>23.290641274254309</c:v>
                </c:pt>
                <c:pt idx="15">
                  <c:v>19.573809126610463</c:v>
                </c:pt>
                <c:pt idx="16">
                  <c:v>23.98481089832871</c:v>
                </c:pt>
                <c:pt idx="17">
                  <c:v>26.53856662084879</c:v>
                </c:pt>
                <c:pt idx="18">
                  <c:v>29.772054274640581</c:v>
                </c:pt>
              </c:numCache>
            </c:numRef>
          </c:val>
          <c:smooth val="1"/>
          <c:extLst>
            <c:ext xmlns:c16="http://schemas.microsoft.com/office/drawing/2014/chart" uri="{C3380CC4-5D6E-409C-BE32-E72D297353CC}">
              <c16:uniqueId val="{00000005-DF07-4E7F-9E92-86DE267670EC}"/>
            </c:ext>
          </c:extLst>
        </c:ser>
        <c:dLbls>
          <c:showLegendKey val="0"/>
          <c:showVal val="0"/>
          <c:showCatName val="0"/>
          <c:showSerName val="0"/>
          <c:showPercent val="0"/>
          <c:showBubbleSize val="0"/>
        </c:dLbls>
        <c:marker val="1"/>
        <c:smooth val="0"/>
        <c:axId val="641065480"/>
        <c:axId val="641062528"/>
      </c:lineChart>
      <c:dateAx>
        <c:axId val="630783488"/>
        <c:scaling>
          <c:orientation val="minMax"/>
        </c:scaling>
        <c:delete val="0"/>
        <c:axPos val="b"/>
        <c:numFmt formatCode="mmm\-yy" sourceLinked="1"/>
        <c:majorTickMark val="none"/>
        <c:minorTickMark val="none"/>
        <c:tickLblPos val="low"/>
        <c:spPr>
          <a:noFill/>
          <a:ln w="19050" cap="flat" cmpd="sng" algn="ctr">
            <a:solidFill>
              <a:schemeClr val="tx1">
                <a:lumMod val="25000"/>
                <a:lumOff val="75000"/>
              </a:schemeClr>
            </a:solidFill>
            <a:round/>
          </a:ln>
          <a:effectLst/>
        </c:spPr>
        <c:txPr>
          <a:bodyPr rot="-5400000" spcFirstLastPara="1" vertOverflow="ellipsis"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s-GT"/>
          </a:p>
        </c:txPr>
        <c:crossAx val="630782504"/>
        <c:crosses val="autoZero"/>
        <c:auto val="1"/>
        <c:lblOffset val="100"/>
        <c:baseTimeUnit val="months"/>
      </c:dateAx>
      <c:valAx>
        <c:axId val="630782504"/>
        <c:scaling>
          <c:orientation val="minMax"/>
        </c:scaling>
        <c:delete val="0"/>
        <c:axPos val="l"/>
        <c:title>
          <c:tx>
            <c:rich>
              <a:bodyPr rot="-54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r>
                  <a:rPr lang="es-GT"/>
                  <a:t>En millones de quetzales</a:t>
                </a:r>
              </a:p>
            </c:rich>
          </c:tx>
          <c:overlay val="0"/>
          <c:spPr>
            <a:noFill/>
            <a:ln>
              <a:noFill/>
            </a:ln>
            <a:effectLst/>
          </c:spPr>
          <c:txPr>
            <a:bodyPr rot="-54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s-GT"/>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GT"/>
          </a:p>
        </c:txPr>
        <c:crossAx val="630783488"/>
        <c:crosses val="autoZero"/>
        <c:crossBetween val="between"/>
      </c:valAx>
      <c:valAx>
        <c:axId val="641062528"/>
        <c:scaling>
          <c:orientation val="minMax"/>
        </c:scaling>
        <c:delete val="0"/>
        <c:axPos val="r"/>
        <c:title>
          <c:tx>
            <c:rich>
              <a:bodyPr rot="-54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r>
                  <a:rPr lang="es-GT"/>
                  <a:t>Porcentajes</a:t>
                </a:r>
              </a:p>
            </c:rich>
          </c:tx>
          <c:overlay val="0"/>
          <c:spPr>
            <a:noFill/>
            <a:ln>
              <a:noFill/>
            </a:ln>
            <a:effectLst/>
          </c:spPr>
          <c:txPr>
            <a:bodyPr rot="-54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s-GT"/>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GT"/>
          </a:p>
        </c:txPr>
        <c:crossAx val="641065480"/>
        <c:crosses val="max"/>
        <c:crossBetween val="between"/>
      </c:valAx>
      <c:dateAx>
        <c:axId val="641065480"/>
        <c:scaling>
          <c:orientation val="minMax"/>
        </c:scaling>
        <c:delete val="1"/>
        <c:axPos val="b"/>
        <c:numFmt formatCode="mmm\-yy" sourceLinked="1"/>
        <c:majorTickMark val="out"/>
        <c:minorTickMark val="none"/>
        <c:tickLblPos val="nextTo"/>
        <c:crossAx val="641062528"/>
        <c:crosses val="autoZero"/>
        <c:auto val="1"/>
        <c:lblOffset val="100"/>
        <c:baseTimeUnit val="months"/>
      </c:dateAx>
      <c:spPr>
        <a:noFill/>
        <a:ln>
          <a:noFill/>
        </a:ln>
        <a:effectLst/>
      </c:spPr>
    </c:plotArea>
    <c:legend>
      <c:legendPos val="b"/>
      <c:layout>
        <c:manualLayout>
          <c:xMode val="edge"/>
          <c:yMode val="edge"/>
          <c:x val="0.4786036556610454"/>
          <c:y val="1.9691027097471978E-2"/>
          <c:w val="0.3386546771226191"/>
          <c:h val="5.0877880909205343E-2"/>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s-G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GT"/>
    </a:p>
  </c:txPr>
  <c:externalData r:id="rId3">
    <c:autoUpdate val="0"/>
  </c:externalData>
  <c:userShapes r:id="rId4"/>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MX"/>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s-GT" sz="2400" b="1" dirty="0">
                <a:solidFill>
                  <a:srgbClr val="0B3963"/>
                </a:solidFill>
              </a:rPr>
              <a:t>Techos Presupuestarios 2021</a:t>
            </a:r>
            <a:r>
              <a:rPr lang="es-GT" sz="2400" b="1" baseline="0" dirty="0">
                <a:solidFill>
                  <a:srgbClr val="0B3963"/>
                </a:solidFill>
              </a:rPr>
              <a:t> – 2026</a:t>
            </a:r>
          </a:p>
          <a:p>
            <a:pPr>
              <a:defRPr/>
            </a:pPr>
            <a:r>
              <a:rPr lang="es-GT" sz="1400" baseline="0" dirty="0"/>
              <a:t>Millardos de Quetzales y Porcentaje de Crecimiento</a:t>
            </a:r>
            <a:endParaRPr lang="es-GT" sz="1400" dirty="0"/>
          </a:p>
        </c:rich>
      </c:tx>
      <c:layout>
        <c:manualLayout>
          <c:xMode val="edge"/>
          <c:yMode val="edge"/>
          <c:x val="0.24600453778799514"/>
          <c:y val="2.1806288727625376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s-GT"/>
        </a:p>
      </c:txPr>
    </c:title>
    <c:autoTitleDeleted val="0"/>
    <c:plotArea>
      <c:layout>
        <c:manualLayout>
          <c:layoutTarget val="inner"/>
          <c:xMode val="edge"/>
          <c:yMode val="edge"/>
          <c:x val="7.8083443573029682E-2"/>
          <c:y val="0.14299482418293383"/>
          <c:w val="0.85855688631167526"/>
          <c:h val="0.70976602367304442"/>
        </c:manualLayout>
      </c:layout>
      <c:barChart>
        <c:barDir val="col"/>
        <c:grouping val="clustered"/>
        <c:varyColors val="0"/>
        <c:ser>
          <c:idx val="0"/>
          <c:order val="0"/>
          <c:tx>
            <c:strRef>
              <c:f>Hoja1!$B$1</c:f>
              <c:strCache>
                <c:ptCount val="1"/>
                <c:pt idx="0">
                  <c:v>Nivel</c:v>
                </c:pt>
              </c:strCache>
            </c:strRef>
          </c:tx>
          <c:spPr>
            <a:solidFill>
              <a:schemeClr val="accent1"/>
            </a:solidFill>
            <a:ln>
              <a:noFill/>
            </a:ln>
            <a:effectLst/>
          </c:spPr>
          <c:invertIfNegative val="0"/>
          <c:dPt>
            <c:idx val="0"/>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01-5D37-4CDC-9AC7-FE8A418A30BB}"/>
              </c:ext>
            </c:extLst>
          </c:dPt>
          <c:dLbls>
            <c:dLbl>
              <c:idx val="2"/>
              <c:numFmt formatCode="#,##0.0" sourceLinked="0"/>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s-GT"/>
                </a:p>
              </c:txPr>
              <c:dLblPos val="inEnd"/>
              <c:showLegendKey val="0"/>
              <c:showVal val="1"/>
              <c:showCatName val="0"/>
              <c:showSerName val="0"/>
              <c:showPercent val="0"/>
              <c:showBubbleSize val="0"/>
              <c:extLst>
                <c:ext xmlns:c16="http://schemas.microsoft.com/office/drawing/2014/chart" uri="{C3380CC4-5D6E-409C-BE32-E72D297353CC}">
                  <c16:uniqueId val="{00000004-3001-4C6D-A29D-C9AFB6F3B012}"/>
                </c:ext>
              </c:extLst>
            </c:dLbl>
            <c:dLbl>
              <c:idx val="4"/>
              <c:layout>
                <c:manualLayout>
                  <c:x val="-8.9012687954148296E-17"/>
                  <c:y val="0.10679638489507569"/>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001-4C6D-A29D-C9AFB6F3B012}"/>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s-GT"/>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7</c:f>
              <c:strCache>
                <c:ptCount val="6"/>
                <c:pt idx="0">
                  <c:v>2021*</c:v>
                </c:pt>
                <c:pt idx="1">
                  <c:v>2022</c:v>
                </c:pt>
                <c:pt idx="2">
                  <c:v>2023</c:v>
                </c:pt>
                <c:pt idx="3">
                  <c:v>2024</c:v>
                </c:pt>
                <c:pt idx="4">
                  <c:v>2025</c:v>
                </c:pt>
                <c:pt idx="5">
                  <c:v>2026</c:v>
                </c:pt>
              </c:strCache>
            </c:strRef>
          </c:cat>
          <c:val>
            <c:numRef>
              <c:f>Hoja1!$B$2:$B$7</c:f>
              <c:numCache>
                <c:formatCode>General</c:formatCode>
                <c:ptCount val="6"/>
                <c:pt idx="0">
                  <c:v>94.4</c:v>
                </c:pt>
                <c:pt idx="1">
                  <c:v>100.9</c:v>
                </c:pt>
                <c:pt idx="2">
                  <c:v>106.9</c:v>
                </c:pt>
                <c:pt idx="3">
                  <c:v>112.7</c:v>
                </c:pt>
                <c:pt idx="4">
                  <c:v>117.9</c:v>
                </c:pt>
                <c:pt idx="5">
                  <c:v>127.3</c:v>
                </c:pt>
              </c:numCache>
            </c:numRef>
          </c:val>
          <c:extLst>
            <c:ext xmlns:c16="http://schemas.microsoft.com/office/drawing/2014/chart" uri="{C3380CC4-5D6E-409C-BE32-E72D297353CC}">
              <c16:uniqueId val="{00000000-73AA-4548-A75B-1E67D12864FF}"/>
            </c:ext>
          </c:extLst>
        </c:ser>
        <c:dLbls>
          <c:showLegendKey val="0"/>
          <c:showVal val="0"/>
          <c:showCatName val="0"/>
          <c:showSerName val="0"/>
          <c:showPercent val="0"/>
          <c:showBubbleSize val="0"/>
        </c:dLbls>
        <c:gapWidth val="80"/>
        <c:overlap val="-27"/>
        <c:axId val="96827216"/>
        <c:axId val="96830544"/>
      </c:barChart>
      <c:lineChart>
        <c:grouping val="standard"/>
        <c:varyColors val="0"/>
        <c:ser>
          <c:idx val="1"/>
          <c:order val="1"/>
          <c:tx>
            <c:strRef>
              <c:f>Hoja1!$C$1</c:f>
              <c:strCache>
                <c:ptCount val="1"/>
                <c:pt idx="0">
                  <c:v>Crecimiento Gasto</c:v>
                </c:pt>
              </c:strCache>
            </c:strRef>
          </c:tx>
          <c:spPr>
            <a:ln w="38100" cap="rnd">
              <a:solidFill>
                <a:srgbClr val="0B3963"/>
              </a:solidFill>
              <a:prstDash val="dashDot"/>
              <a:round/>
            </a:ln>
            <a:effectLst/>
          </c:spPr>
          <c:marker>
            <c:symbol val="triangle"/>
            <c:size val="11"/>
            <c:spPr>
              <a:solidFill>
                <a:schemeClr val="accent2"/>
              </a:solidFill>
              <a:ln w="9525">
                <a:solidFill>
                  <a:schemeClr val="accent2"/>
                </a:solidFill>
                <a:prstDash val="dashDot"/>
              </a:ln>
              <a:effectLst/>
            </c:spPr>
          </c:marker>
          <c:dPt>
            <c:idx val="1"/>
            <c:marker>
              <c:symbol val="triangle"/>
              <c:size val="11"/>
              <c:spPr>
                <a:solidFill>
                  <a:srgbClr val="0B3963"/>
                </a:solidFill>
                <a:ln w="9525">
                  <a:solidFill>
                    <a:srgbClr val="0B3963"/>
                  </a:solidFill>
                  <a:prstDash val="dashDot"/>
                </a:ln>
                <a:effectLst/>
              </c:spPr>
            </c:marker>
            <c:bubble3D val="0"/>
            <c:extLst>
              <c:ext xmlns:c16="http://schemas.microsoft.com/office/drawing/2014/chart" uri="{C3380CC4-5D6E-409C-BE32-E72D297353CC}">
                <c16:uniqueId val="{00000005-73AA-4548-A75B-1E67D12864FF}"/>
              </c:ext>
            </c:extLst>
          </c:dPt>
          <c:dPt>
            <c:idx val="2"/>
            <c:marker>
              <c:symbol val="triangle"/>
              <c:size val="11"/>
              <c:spPr>
                <a:solidFill>
                  <a:srgbClr val="0B3963"/>
                </a:solidFill>
                <a:ln w="9525">
                  <a:solidFill>
                    <a:srgbClr val="0B3963"/>
                  </a:solidFill>
                  <a:prstDash val="dashDot"/>
                </a:ln>
                <a:effectLst/>
              </c:spPr>
            </c:marker>
            <c:bubble3D val="0"/>
            <c:extLst>
              <c:ext xmlns:c16="http://schemas.microsoft.com/office/drawing/2014/chart" uri="{C3380CC4-5D6E-409C-BE32-E72D297353CC}">
                <c16:uniqueId val="{00000005-0BB3-CC41-B1AA-7EEE38ADD1FA}"/>
              </c:ext>
            </c:extLst>
          </c:dPt>
          <c:dPt>
            <c:idx val="3"/>
            <c:marker>
              <c:symbol val="triangle"/>
              <c:size val="11"/>
              <c:spPr>
                <a:solidFill>
                  <a:srgbClr val="0B3963"/>
                </a:solidFill>
                <a:ln w="9525">
                  <a:solidFill>
                    <a:srgbClr val="0B3963"/>
                  </a:solidFill>
                  <a:prstDash val="dashDot"/>
                </a:ln>
                <a:effectLst/>
              </c:spPr>
            </c:marker>
            <c:bubble3D val="0"/>
            <c:extLst>
              <c:ext xmlns:c16="http://schemas.microsoft.com/office/drawing/2014/chart" uri="{C3380CC4-5D6E-409C-BE32-E72D297353CC}">
                <c16:uniqueId val="{00000004-0BB3-CC41-B1AA-7EEE38ADD1FA}"/>
              </c:ext>
            </c:extLst>
          </c:dPt>
          <c:dPt>
            <c:idx val="4"/>
            <c:marker>
              <c:symbol val="triangle"/>
              <c:size val="11"/>
              <c:spPr>
                <a:solidFill>
                  <a:srgbClr val="0B3963"/>
                </a:solidFill>
                <a:ln w="9525">
                  <a:solidFill>
                    <a:srgbClr val="0B3963"/>
                  </a:solidFill>
                  <a:prstDash val="dashDot"/>
                </a:ln>
                <a:effectLst/>
              </c:spPr>
            </c:marker>
            <c:bubble3D val="0"/>
            <c:extLst>
              <c:ext xmlns:c16="http://schemas.microsoft.com/office/drawing/2014/chart" uri="{C3380CC4-5D6E-409C-BE32-E72D297353CC}">
                <c16:uniqueId val="{00000002-0BB3-CC41-B1AA-7EEE38ADD1FA}"/>
              </c:ext>
            </c:extLst>
          </c:dPt>
          <c:dPt>
            <c:idx val="5"/>
            <c:marker>
              <c:symbol val="triangle"/>
              <c:size val="11"/>
              <c:spPr>
                <a:solidFill>
                  <a:srgbClr val="0B3963"/>
                </a:solidFill>
                <a:ln w="9525">
                  <a:solidFill>
                    <a:srgbClr val="0B3963"/>
                  </a:solidFill>
                  <a:prstDash val="dashDot"/>
                </a:ln>
                <a:effectLst/>
              </c:spPr>
            </c:marker>
            <c:bubble3D val="0"/>
            <c:extLst>
              <c:ext xmlns:c16="http://schemas.microsoft.com/office/drawing/2014/chart" uri="{C3380CC4-5D6E-409C-BE32-E72D297353CC}">
                <c16:uniqueId val="{00000003-0BB3-CC41-B1AA-7EEE38ADD1FA}"/>
              </c:ext>
            </c:extLst>
          </c:dPt>
          <c:dLbls>
            <c:dLbl>
              <c:idx val="1"/>
              <c:layout>
                <c:manualLayout>
                  <c:x val="-5.0400199660834935E-2"/>
                  <c:y val="-2.401404668400180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3AA-4548-A75B-1E67D12864FF}"/>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FFFF00"/>
                    </a:solidFill>
                    <a:latin typeface="+mn-lt"/>
                    <a:ea typeface="+mn-ea"/>
                    <a:cs typeface="+mn-cs"/>
                  </a:defRPr>
                </a:pPr>
                <a:endParaRPr lang="es-GT"/>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7</c:f>
              <c:strCache>
                <c:ptCount val="6"/>
                <c:pt idx="0">
                  <c:v>2021*</c:v>
                </c:pt>
                <c:pt idx="1">
                  <c:v>2022</c:v>
                </c:pt>
                <c:pt idx="2">
                  <c:v>2023</c:v>
                </c:pt>
                <c:pt idx="3">
                  <c:v>2024</c:v>
                </c:pt>
                <c:pt idx="4">
                  <c:v>2025</c:v>
                </c:pt>
                <c:pt idx="5">
                  <c:v>2026</c:v>
                </c:pt>
              </c:strCache>
            </c:strRef>
          </c:cat>
          <c:val>
            <c:numRef>
              <c:f>Hoja1!$C$2:$C$7</c:f>
              <c:numCache>
                <c:formatCode>General</c:formatCode>
                <c:ptCount val="6"/>
                <c:pt idx="1">
                  <c:v>7</c:v>
                </c:pt>
                <c:pt idx="2">
                  <c:v>6.3</c:v>
                </c:pt>
                <c:pt idx="3">
                  <c:v>5.2</c:v>
                </c:pt>
                <c:pt idx="4">
                  <c:v>4.5</c:v>
                </c:pt>
                <c:pt idx="5">
                  <c:v>5.3</c:v>
                </c:pt>
              </c:numCache>
            </c:numRef>
          </c:val>
          <c:smooth val="0"/>
          <c:extLst>
            <c:ext xmlns:c16="http://schemas.microsoft.com/office/drawing/2014/chart" uri="{C3380CC4-5D6E-409C-BE32-E72D297353CC}">
              <c16:uniqueId val="{00000001-73AA-4548-A75B-1E67D12864FF}"/>
            </c:ext>
          </c:extLst>
        </c:ser>
        <c:ser>
          <c:idx val="2"/>
          <c:order val="2"/>
          <c:tx>
            <c:strRef>
              <c:f>Hoja1!$D$1</c:f>
              <c:strCache>
                <c:ptCount val="1"/>
                <c:pt idx="0">
                  <c:v>Crecimiento Ingreso</c:v>
                </c:pt>
              </c:strCache>
            </c:strRef>
          </c:tx>
          <c:spPr>
            <a:ln w="47625" cap="rnd">
              <a:solidFill>
                <a:schemeClr val="accent6"/>
              </a:solidFill>
              <a:prstDash val="sysDot"/>
              <a:round/>
            </a:ln>
            <a:effectLst/>
          </c:spPr>
          <c:marker>
            <c:symbol val="square"/>
            <c:size val="9"/>
            <c:spPr>
              <a:solidFill>
                <a:schemeClr val="accent3"/>
              </a:solidFill>
              <a:ln w="9525">
                <a:solidFill>
                  <a:schemeClr val="accent3"/>
                </a:solidFill>
                <a:prstDash val="sysDot"/>
              </a:ln>
              <a:effectLst/>
            </c:spPr>
          </c:marker>
          <c:dLbls>
            <c:dLbl>
              <c:idx val="4"/>
              <c:layout>
                <c:manualLayout>
                  <c:x val="-3.1252894180309271E-2"/>
                  <c:y val="-5.400318818243381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001-4C6D-A29D-C9AFB6F3B012}"/>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accent6"/>
                    </a:solidFill>
                    <a:latin typeface="+mn-lt"/>
                    <a:ea typeface="+mn-ea"/>
                    <a:cs typeface="+mn-cs"/>
                  </a:defRPr>
                </a:pPr>
                <a:endParaRPr lang="es-GT"/>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7</c:f>
              <c:strCache>
                <c:ptCount val="6"/>
                <c:pt idx="0">
                  <c:v>2021*</c:v>
                </c:pt>
                <c:pt idx="1">
                  <c:v>2022</c:v>
                </c:pt>
                <c:pt idx="2">
                  <c:v>2023</c:v>
                </c:pt>
                <c:pt idx="3">
                  <c:v>2024</c:v>
                </c:pt>
                <c:pt idx="4">
                  <c:v>2025</c:v>
                </c:pt>
                <c:pt idx="5">
                  <c:v>2026</c:v>
                </c:pt>
              </c:strCache>
            </c:strRef>
          </c:cat>
          <c:val>
            <c:numRef>
              <c:f>Hoja1!$D$2:$D$7</c:f>
              <c:numCache>
                <c:formatCode>General</c:formatCode>
                <c:ptCount val="6"/>
                <c:pt idx="1">
                  <c:v>15.1</c:v>
                </c:pt>
                <c:pt idx="2">
                  <c:v>8</c:v>
                </c:pt>
                <c:pt idx="3">
                  <c:v>7</c:v>
                </c:pt>
                <c:pt idx="4">
                  <c:v>6.9</c:v>
                </c:pt>
                <c:pt idx="5">
                  <c:v>7</c:v>
                </c:pt>
              </c:numCache>
            </c:numRef>
          </c:val>
          <c:smooth val="0"/>
          <c:extLst>
            <c:ext xmlns:c16="http://schemas.microsoft.com/office/drawing/2014/chart" uri="{C3380CC4-5D6E-409C-BE32-E72D297353CC}">
              <c16:uniqueId val="{00000003-755D-4017-B706-5266C503B6B7}"/>
            </c:ext>
          </c:extLst>
        </c:ser>
        <c:dLbls>
          <c:showLegendKey val="0"/>
          <c:showVal val="0"/>
          <c:showCatName val="0"/>
          <c:showSerName val="0"/>
          <c:showPercent val="0"/>
          <c:showBubbleSize val="0"/>
        </c:dLbls>
        <c:marker val="1"/>
        <c:smooth val="0"/>
        <c:axId val="202090640"/>
        <c:axId val="202089392"/>
      </c:lineChart>
      <c:catAx>
        <c:axId val="96827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s-GT"/>
          </a:p>
        </c:txPr>
        <c:crossAx val="96830544"/>
        <c:crosses val="autoZero"/>
        <c:auto val="1"/>
        <c:lblAlgn val="ctr"/>
        <c:lblOffset val="100"/>
        <c:noMultiLvlLbl val="0"/>
      </c:catAx>
      <c:valAx>
        <c:axId val="9683054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r>
                  <a:rPr lang="es-GT" sz="1600" b="1" dirty="0"/>
                  <a:t>Millardos</a:t>
                </a:r>
                <a:r>
                  <a:rPr lang="es-GT" sz="1600" b="1" baseline="0" dirty="0"/>
                  <a:t> de Quetzales</a:t>
                </a:r>
                <a:endParaRPr lang="es-GT" sz="1600" b="1" dirty="0"/>
              </a:p>
            </c:rich>
          </c:tx>
          <c:layout>
            <c:manualLayout>
              <c:xMode val="edge"/>
              <c:yMode val="edge"/>
              <c:x val="0"/>
              <c:y val="0.37056800059340578"/>
            </c:manualLayout>
          </c:layout>
          <c:overlay val="0"/>
          <c:spPr>
            <a:noFill/>
            <a:ln>
              <a:noFill/>
            </a:ln>
            <a:effectLst/>
          </c:spPr>
          <c:txPr>
            <a:bodyPr rot="-54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s-GT"/>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s-GT"/>
          </a:p>
        </c:txPr>
        <c:crossAx val="96827216"/>
        <c:crosses val="autoZero"/>
        <c:crossBetween val="between"/>
      </c:valAx>
      <c:valAx>
        <c:axId val="202089392"/>
        <c:scaling>
          <c:orientation val="minMax"/>
        </c:scaling>
        <c:delete val="0"/>
        <c:axPos val="r"/>
        <c:title>
          <c:tx>
            <c:rich>
              <a:bodyPr rot="5400000" spcFirstLastPara="1" vertOverflow="ellipsis" wrap="square" anchor="ctr" anchorCtr="1"/>
              <a:lstStyle/>
              <a:p>
                <a:pPr>
                  <a:defRPr sz="1600" b="1" i="0" u="none" strike="noStrike" kern="1200" baseline="0">
                    <a:solidFill>
                      <a:schemeClr val="tx1">
                        <a:lumMod val="65000"/>
                        <a:lumOff val="35000"/>
                      </a:schemeClr>
                    </a:solidFill>
                    <a:latin typeface="+mn-lt"/>
                    <a:ea typeface="+mn-ea"/>
                    <a:cs typeface="+mn-cs"/>
                  </a:defRPr>
                </a:pPr>
                <a:r>
                  <a:rPr lang="es-GT" sz="1600" b="1" dirty="0"/>
                  <a:t>Porcentajes de crecimiento</a:t>
                </a:r>
              </a:p>
            </c:rich>
          </c:tx>
          <c:layout>
            <c:manualLayout>
              <c:xMode val="edge"/>
              <c:yMode val="edge"/>
              <c:x val="0.96470691128517616"/>
              <c:y val="0.30939054341958316"/>
            </c:manualLayout>
          </c:layout>
          <c:overlay val="0"/>
          <c:spPr>
            <a:noFill/>
            <a:ln>
              <a:noFill/>
            </a:ln>
            <a:effectLst/>
          </c:spPr>
          <c:txPr>
            <a:bodyPr rot="5400000" spcFirstLastPara="1" vertOverflow="ellipsis"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s-GT"/>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GT"/>
          </a:p>
        </c:txPr>
        <c:crossAx val="202090640"/>
        <c:crosses val="max"/>
        <c:crossBetween val="between"/>
      </c:valAx>
      <c:catAx>
        <c:axId val="202090640"/>
        <c:scaling>
          <c:orientation val="minMax"/>
        </c:scaling>
        <c:delete val="1"/>
        <c:axPos val="b"/>
        <c:numFmt formatCode="General" sourceLinked="1"/>
        <c:majorTickMark val="out"/>
        <c:minorTickMark val="none"/>
        <c:tickLblPos val="nextTo"/>
        <c:crossAx val="20208939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s-G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GT"/>
    </a:p>
  </c:txPr>
  <c:externalData r:id="rId3">
    <c:autoUpdate val="0"/>
  </c:externalData>
  <c:userShapes r:id="rId4"/>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MX"/>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Déficit</c:v>
                </c:pt>
              </c:strCache>
            </c:strRef>
          </c:tx>
          <c:spPr>
            <a:solidFill>
              <a:schemeClr val="accent1"/>
            </a:solidFill>
            <a:ln>
              <a:solidFill>
                <a:schemeClr val="tx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s-GT"/>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2021*</c:v>
                </c:pt>
                <c:pt idx="1">
                  <c:v>2022</c:v>
                </c:pt>
                <c:pt idx="2">
                  <c:v>2023</c:v>
                </c:pt>
                <c:pt idx="3">
                  <c:v>2024</c:v>
                </c:pt>
                <c:pt idx="4">
                  <c:v>2025</c:v>
                </c:pt>
                <c:pt idx="5">
                  <c:v>2026</c:v>
                </c:pt>
              </c:strCache>
            </c:strRef>
          </c:cat>
          <c:val>
            <c:numRef>
              <c:f>Sheet1!$B$2:$B$7</c:f>
              <c:numCache>
                <c:formatCode>0.0</c:formatCode>
                <c:ptCount val="6"/>
                <c:pt idx="0">
                  <c:v>2.2864746961853899</c:v>
                </c:pt>
                <c:pt idx="1">
                  <c:v>2.6154646940147699</c:v>
                </c:pt>
                <c:pt idx="2">
                  <c:v>2.41485268020454</c:v>
                </c:pt>
                <c:pt idx="3">
                  <c:v>2.2007001877905901</c:v>
                </c:pt>
                <c:pt idx="4">
                  <c:v>1.89821200478501</c:v>
                </c:pt>
                <c:pt idx="5">
                  <c:v>1.6873464608222599</c:v>
                </c:pt>
              </c:numCache>
            </c:numRef>
          </c:val>
          <c:extLst>
            <c:ext xmlns:c16="http://schemas.microsoft.com/office/drawing/2014/chart" uri="{C3380CC4-5D6E-409C-BE32-E72D297353CC}">
              <c16:uniqueId val="{00000000-BCD7-4BC2-B67E-D6D2D64845C5}"/>
            </c:ext>
          </c:extLst>
        </c:ser>
        <c:ser>
          <c:idx val="1"/>
          <c:order val="1"/>
          <c:tx>
            <c:strRef>
              <c:f>Sheet1!$C$1</c:f>
              <c:strCache>
                <c:ptCount val="1"/>
                <c:pt idx="0">
                  <c:v>Columna1</c:v>
                </c:pt>
              </c:strCache>
            </c:strRef>
          </c:tx>
          <c:spPr>
            <a:solidFill>
              <a:schemeClr val="accent5">
                <a:lumMod val="20000"/>
                <a:lumOff val="80000"/>
                <a:alpha val="19000"/>
              </a:schemeClr>
            </a:solidFill>
            <a:ln>
              <a:solidFill>
                <a:schemeClr val="tx1">
                  <a:lumMod val="50000"/>
                  <a:lumOff val="50000"/>
                </a:schemeClr>
              </a:solidFill>
              <a:prstDash val="dash"/>
            </a:ln>
            <a:effectLst>
              <a:outerShdw blurRad="50800" dist="38100" dir="18900000" algn="bl" rotWithShape="0">
                <a:prstClr val="black">
                  <a:alpha val="40000"/>
                </a:prstClr>
              </a:outerShdw>
            </a:effectLst>
          </c:spPr>
          <c:invertIfNegative val="0"/>
          <c:cat>
            <c:strRef>
              <c:f>Sheet1!$A$2:$A$7</c:f>
              <c:strCache>
                <c:ptCount val="6"/>
                <c:pt idx="0">
                  <c:v>2021*</c:v>
                </c:pt>
                <c:pt idx="1">
                  <c:v>2022</c:v>
                </c:pt>
                <c:pt idx="2">
                  <c:v>2023</c:v>
                </c:pt>
                <c:pt idx="3">
                  <c:v>2024</c:v>
                </c:pt>
                <c:pt idx="4">
                  <c:v>2025</c:v>
                </c:pt>
                <c:pt idx="5">
                  <c:v>2026</c:v>
                </c:pt>
              </c:strCache>
            </c:strRef>
          </c:cat>
          <c:val>
            <c:numRef>
              <c:f>Sheet1!$C$2:$C$7</c:f>
              <c:numCache>
                <c:formatCode>General</c:formatCode>
                <c:ptCount val="6"/>
                <c:pt idx="0">
                  <c:v>1.1000000000000001</c:v>
                </c:pt>
              </c:numCache>
            </c:numRef>
          </c:val>
          <c:extLst>
            <c:ext xmlns:c16="http://schemas.microsoft.com/office/drawing/2014/chart" uri="{C3380CC4-5D6E-409C-BE32-E72D297353CC}">
              <c16:uniqueId val="{00000001-BBF9-4801-BCF6-F761B9428310}"/>
            </c:ext>
          </c:extLst>
        </c:ser>
        <c:ser>
          <c:idx val="2"/>
          <c:order val="2"/>
          <c:tx>
            <c:strRef>
              <c:f>Sheet1!$D$1</c:f>
              <c:strCache>
                <c:ptCount val="1"/>
                <c:pt idx="0">
                  <c:v>Columna2</c:v>
                </c:pt>
              </c:strCache>
            </c:strRef>
          </c:tx>
          <c:spPr>
            <a:solidFill>
              <a:schemeClr val="accent4">
                <a:lumMod val="40000"/>
                <a:lumOff val="60000"/>
              </a:schemeClr>
            </a:solidFill>
            <a:ln>
              <a:solidFill>
                <a:schemeClr val="tx1">
                  <a:lumMod val="50000"/>
                  <a:lumOff val="50000"/>
                  <a:alpha val="12000"/>
                </a:schemeClr>
              </a:solidFill>
            </a:ln>
            <a:effectLst>
              <a:outerShdw blurRad="50800" dist="38100" dir="18900000" algn="bl" rotWithShape="0">
                <a:prstClr val="black">
                  <a:alpha val="40000"/>
                </a:prstClr>
              </a:outerShdw>
            </a:effectLst>
          </c:spPr>
          <c:invertIfNegative val="0"/>
          <c:dPt>
            <c:idx val="0"/>
            <c:invertIfNegative val="0"/>
            <c:bubble3D val="0"/>
            <c:spPr>
              <a:solidFill>
                <a:schemeClr val="accent4">
                  <a:lumMod val="40000"/>
                  <a:lumOff val="60000"/>
                  <a:alpha val="26000"/>
                </a:schemeClr>
              </a:solidFill>
              <a:ln>
                <a:solidFill>
                  <a:schemeClr val="tx1">
                    <a:lumMod val="50000"/>
                    <a:lumOff val="50000"/>
                  </a:schemeClr>
                </a:solidFill>
                <a:prstDash val="dash"/>
              </a:ln>
              <a:effectLst>
                <a:outerShdw blurRad="50800" dist="38100" dir="18900000" algn="bl" rotWithShape="0">
                  <a:prstClr val="black">
                    <a:alpha val="40000"/>
                  </a:prstClr>
                </a:outerShdw>
              </a:effectLst>
            </c:spPr>
            <c:extLst>
              <c:ext xmlns:c16="http://schemas.microsoft.com/office/drawing/2014/chart" uri="{C3380CC4-5D6E-409C-BE32-E72D297353CC}">
                <c16:uniqueId val="{00000003-BBF9-4801-BCF6-F761B9428310}"/>
              </c:ext>
            </c:extLst>
          </c:dPt>
          <c:cat>
            <c:strRef>
              <c:f>Sheet1!$A$2:$A$7</c:f>
              <c:strCache>
                <c:ptCount val="6"/>
                <c:pt idx="0">
                  <c:v>2021*</c:v>
                </c:pt>
                <c:pt idx="1">
                  <c:v>2022</c:v>
                </c:pt>
                <c:pt idx="2">
                  <c:v>2023</c:v>
                </c:pt>
                <c:pt idx="3">
                  <c:v>2024</c:v>
                </c:pt>
                <c:pt idx="4">
                  <c:v>2025</c:v>
                </c:pt>
                <c:pt idx="5">
                  <c:v>2026</c:v>
                </c:pt>
              </c:strCache>
            </c:strRef>
          </c:cat>
          <c:val>
            <c:numRef>
              <c:f>Sheet1!$D$2:$D$7</c:f>
              <c:numCache>
                <c:formatCode>General</c:formatCode>
                <c:ptCount val="6"/>
                <c:pt idx="0">
                  <c:v>2</c:v>
                </c:pt>
              </c:numCache>
            </c:numRef>
          </c:val>
          <c:extLst>
            <c:ext xmlns:c16="http://schemas.microsoft.com/office/drawing/2014/chart" uri="{C3380CC4-5D6E-409C-BE32-E72D297353CC}">
              <c16:uniqueId val="{00000002-BBF9-4801-BCF6-F761B9428310}"/>
            </c:ext>
          </c:extLst>
        </c:ser>
        <c:dLbls>
          <c:showLegendKey val="0"/>
          <c:showVal val="0"/>
          <c:showCatName val="0"/>
          <c:showSerName val="0"/>
          <c:showPercent val="0"/>
          <c:showBubbleSize val="0"/>
        </c:dLbls>
        <c:gapWidth val="80"/>
        <c:overlap val="100"/>
        <c:axId val="560960272"/>
        <c:axId val="560968472"/>
      </c:barChart>
      <c:catAx>
        <c:axId val="560960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s-GT"/>
          </a:p>
        </c:txPr>
        <c:crossAx val="560968472"/>
        <c:crosses val="autoZero"/>
        <c:auto val="1"/>
        <c:lblAlgn val="ctr"/>
        <c:lblOffset val="100"/>
        <c:noMultiLvlLbl val="0"/>
      </c:catAx>
      <c:valAx>
        <c:axId val="560968472"/>
        <c:scaling>
          <c:orientation val="minMax"/>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s-GT"/>
          </a:p>
        </c:txPr>
        <c:crossAx val="5609602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GT"/>
    </a:p>
  </c:txPr>
  <c:externalData r:id="rId3">
    <c:autoUpdate val="0"/>
  </c:externalData>
  <c:userShapes r:id="rId4"/>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MX"/>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mn-lt"/>
                <a:ea typeface="+mn-ea"/>
                <a:cs typeface="+mn-cs"/>
              </a:defRPr>
            </a:pPr>
            <a:r>
              <a:rPr lang="es-GT" b="1" dirty="0">
                <a:solidFill>
                  <a:srgbClr val="0B3963"/>
                </a:solidFill>
              </a:rPr>
              <a:t>Ratio Deuda/PIB para Guatemala</a:t>
            </a:r>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mn-lt"/>
              <a:ea typeface="+mn-ea"/>
              <a:cs typeface="+mn-cs"/>
            </a:defRPr>
          </a:pPr>
          <a:endParaRPr lang="es-GT"/>
        </a:p>
      </c:txPr>
    </c:title>
    <c:autoTitleDeleted val="0"/>
    <c:plotArea>
      <c:layout>
        <c:manualLayout>
          <c:layoutTarget val="inner"/>
          <c:xMode val="edge"/>
          <c:yMode val="edge"/>
          <c:x val="1.906475102483508E-2"/>
          <c:y val="0.14873224429508455"/>
          <c:w val="0.96263699253270729"/>
          <c:h val="0.67236433881636715"/>
        </c:manualLayout>
      </c:layout>
      <c:barChart>
        <c:barDir val="col"/>
        <c:grouping val="clustered"/>
        <c:varyColors val="0"/>
        <c:ser>
          <c:idx val="0"/>
          <c:order val="0"/>
          <c:tx>
            <c:strRef>
              <c:f>Hoja1!$B$1</c:f>
              <c:strCache>
                <c:ptCount val="1"/>
                <c:pt idx="0">
                  <c:v>Serie 1</c:v>
                </c:pt>
              </c:strCache>
            </c:strRef>
          </c:tx>
          <c:spPr>
            <a:solidFill>
              <a:srgbClr val="002060"/>
            </a:solidFill>
            <a:ln>
              <a:noFill/>
            </a:ln>
            <a:effectLst/>
          </c:spPr>
          <c:invertIfNegative val="0"/>
          <c:dPt>
            <c:idx val="3"/>
            <c:invertIfNegative val="0"/>
            <c:bubble3D val="0"/>
            <c:spPr>
              <a:solidFill>
                <a:srgbClr val="002060"/>
              </a:solidFill>
              <a:ln>
                <a:noFill/>
              </a:ln>
              <a:effectLst/>
            </c:spPr>
            <c:extLst>
              <c:ext xmlns:c16="http://schemas.microsoft.com/office/drawing/2014/chart" uri="{C3380CC4-5D6E-409C-BE32-E72D297353CC}">
                <c16:uniqueId val="{00000001-4084-456F-B02C-F07F79D9AACD}"/>
              </c:ext>
            </c:extLst>
          </c:dPt>
          <c:dPt>
            <c:idx val="11"/>
            <c:invertIfNegative val="0"/>
            <c:bubble3D val="0"/>
            <c:spPr>
              <a:solidFill>
                <a:schemeClr val="accent2"/>
              </a:solidFill>
              <a:ln>
                <a:noFill/>
              </a:ln>
              <a:effectLst/>
            </c:spPr>
            <c:extLst>
              <c:ext xmlns:c16="http://schemas.microsoft.com/office/drawing/2014/chart" uri="{C3380CC4-5D6E-409C-BE32-E72D297353CC}">
                <c16:uniqueId val="{00000003-4084-456F-B02C-F07F79D9AACD}"/>
              </c:ext>
            </c:extLst>
          </c:dPt>
          <c:dPt>
            <c:idx val="12"/>
            <c:invertIfNegative val="0"/>
            <c:bubble3D val="0"/>
            <c:spPr>
              <a:solidFill>
                <a:schemeClr val="accent2"/>
              </a:solidFill>
              <a:ln>
                <a:noFill/>
              </a:ln>
              <a:effectLst/>
            </c:spPr>
            <c:extLst>
              <c:ext xmlns:c16="http://schemas.microsoft.com/office/drawing/2014/chart" uri="{C3380CC4-5D6E-409C-BE32-E72D297353CC}">
                <c16:uniqueId val="{00000005-4084-456F-B02C-F07F79D9AACD}"/>
              </c:ext>
            </c:extLst>
          </c:dPt>
          <c:dPt>
            <c:idx val="13"/>
            <c:invertIfNegative val="0"/>
            <c:bubble3D val="0"/>
            <c:spPr>
              <a:solidFill>
                <a:schemeClr val="accent2"/>
              </a:solidFill>
              <a:ln>
                <a:noFill/>
              </a:ln>
              <a:effectLst/>
            </c:spPr>
            <c:extLst>
              <c:ext xmlns:c16="http://schemas.microsoft.com/office/drawing/2014/chart" uri="{C3380CC4-5D6E-409C-BE32-E72D297353CC}">
                <c16:uniqueId val="{00000008-4084-456F-B02C-F07F79D9AACD}"/>
              </c:ext>
            </c:extLst>
          </c:dPt>
          <c:dPt>
            <c:idx val="14"/>
            <c:invertIfNegative val="0"/>
            <c:bubble3D val="0"/>
            <c:spPr>
              <a:solidFill>
                <a:schemeClr val="accent2"/>
              </a:solidFill>
              <a:ln>
                <a:noFill/>
              </a:ln>
              <a:effectLst/>
            </c:spPr>
            <c:extLst>
              <c:ext xmlns:c16="http://schemas.microsoft.com/office/drawing/2014/chart" uri="{C3380CC4-5D6E-409C-BE32-E72D297353CC}">
                <c16:uniqueId val="{00000009-4084-456F-B02C-F07F79D9AACD}"/>
              </c:ext>
            </c:extLst>
          </c:dPt>
          <c:dPt>
            <c:idx val="15"/>
            <c:invertIfNegative val="0"/>
            <c:bubble3D val="0"/>
            <c:spPr>
              <a:solidFill>
                <a:schemeClr val="accent2"/>
              </a:solidFill>
              <a:ln>
                <a:noFill/>
              </a:ln>
              <a:effectLst/>
            </c:spPr>
            <c:extLst>
              <c:ext xmlns:c16="http://schemas.microsoft.com/office/drawing/2014/chart" uri="{C3380CC4-5D6E-409C-BE32-E72D297353CC}">
                <c16:uniqueId val="{0000000A-4084-456F-B02C-F07F79D9AACD}"/>
              </c:ext>
            </c:extLst>
          </c:dPt>
          <c:dPt>
            <c:idx val="16"/>
            <c:invertIfNegative val="0"/>
            <c:bubble3D val="0"/>
            <c:spPr>
              <a:solidFill>
                <a:schemeClr val="accent2"/>
              </a:solidFill>
              <a:ln>
                <a:noFill/>
              </a:ln>
              <a:effectLst/>
            </c:spPr>
            <c:extLst>
              <c:ext xmlns:c16="http://schemas.microsoft.com/office/drawing/2014/chart" uri="{C3380CC4-5D6E-409C-BE32-E72D297353CC}">
                <c16:uniqueId val="{0000000B-4084-456F-B02C-F07F79D9AACD}"/>
              </c:ext>
            </c:extLst>
          </c:dPt>
          <c:dLbls>
            <c:dLbl>
              <c:idx val="11"/>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accent2"/>
                      </a:solidFill>
                      <a:latin typeface="+mn-lt"/>
                      <a:ea typeface="+mn-ea"/>
                      <a:cs typeface="+mn-cs"/>
                    </a:defRPr>
                  </a:pPr>
                  <a:endParaRPr lang="es-GT"/>
                </a:p>
              </c:txPr>
              <c:showLegendKey val="0"/>
              <c:showVal val="1"/>
              <c:showCatName val="0"/>
              <c:showSerName val="0"/>
              <c:showPercent val="0"/>
              <c:showBubbleSize val="0"/>
              <c:extLst>
                <c:ext xmlns:c16="http://schemas.microsoft.com/office/drawing/2014/chart" uri="{C3380CC4-5D6E-409C-BE32-E72D297353CC}">
                  <c16:uniqueId val="{00000003-4084-456F-B02C-F07F79D9AACD}"/>
                </c:ext>
              </c:extLst>
            </c:dLbl>
            <c:dLbl>
              <c:idx val="12"/>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accent2"/>
                      </a:solidFill>
                      <a:latin typeface="+mn-lt"/>
                      <a:ea typeface="+mn-ea"/>
                      <a:cs typeface="+mn-cs"/>
                    </a:defRPr>
                  </a:pPr>
                  <a:endParaRPr lang="es-GT"/>
                </a:p>
              </c:txPr>
              <c:showLegendKey val="0"/>
              <c:showVal val="1"/>
              <c:showCatName val="0"/>
              <c:showSerName val="0"/>
              <c:showPercent val="0"/>
              <c:showBubbleSize val="0"/>
              <c:extLst>
                <c:ext xmlns:c16="http://schemas.microsoft.com/office/drawing/2014/chart" uri="{C3380CC4-5D6E-409C-BE32-E72D297353CC}">
                  <c16:uniqueId val="{00000005-4084-456F-B02C-F07F79D9AACD}"/>
                </c:ext>
              </c:extLst>
            </c:dLbl>
            <c:dLbl>
              <c:idx val="13"/>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accent2"/>
                      </a:solidFill>
                      <a:latin typeface="+mn-lt"/>
                      <a:ea typeface="+mn-ea"/>
                      <a:cs typeface="+mn-cs"/>
                    </a:defRPr>
                  </a:pPr>
                  <a:endParaRPr lang="es-GT"/>
                </a:p>
              </c:txPr>
              <c:showLegendKey val="0"/>
              <c:showVal val="1"/>
              <c:showCatName val="0"/>
              <c:showSerName val="0"/>
              <c:showPercent val="0"/>
              <c:showBubbleSize val="0"/>
              <c:extLst>
                <c:ext xmlns:c16="http://schemas.microsoft.com/office/drawing/2014/chart" uri="{C3380CC4-5D6E-409C-BE32-E72D297353CC}">
                  <c16:uniqueId val="{00000008-4084-456F-B02C-F07F79D9AACD}"/>
                </c:ext>
              </c:extLst>
            </c:dLbl>
            <c:dLbl>
              <c:idx val="14"/>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accent2"/>
                      </a:solidFill>
                      <a:latin typeface="+mn-lt"/>
                      <a:ea typeface="+mn-ea"/>
                      <a:cs typeface="+mn-cs"/>
                    </a:defRPr>
                  </a:pPr>
                  <a:endParaRPr lang="es-GT"/>
                </a:p>
              </c:txPr>
              <c:showLegendKey val="0"/>
              <c:showVal val="1"/>
              <c:showCatName val="0"/>
              <c:showSerName val="0"/>
              <c:showPercent val="0"/>
              <c:showBubbleSize val="0"/>
              <c:extLst>
                <c:ext xmlns:c16="http://schemas.microsoft.com/office/drawing/2014/chart" uri="{C3380CC4-5D6E-409C-BE32-E72D297353CC}">
                  <c16:uniqueId val="{00000009-4084-456F-B02C-F07F79D9AACD}"/>
                </c:ext>
              </c:extLst>
            </c:dLbl>
            <c:dLbl>
              <c:idx val="15"/>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accent2"/>
                      </a:solidFill>
                      <a:latin typeface="+mn-lt"/>
                      <a:ea typeface="+mn-ea"/>
                      <a:cs typeface="+mn-cs"/>
                    </a:defRPr>
                  </a:pPr>
                  <a:endParaRPr lang="es-GT"/>
                </a:p>
              </c:txPr>
              <c:showLegendKey val="0"/>
              <c:showVal val="1"/>
              <c:showCatName val="0"/>
              <c:showSerName val="0"/>
              <c:showPercent val="0"/>
              <c:showBubbleSize val="0"/>
              <c:extLst>
                <c:ext xmlns:c16="http://schemas.microsoft.com/office/drawing/2014/chart" uri="{C3380CC4-5D6E-409C-BE32-E72D297353CC}">
                  <c16:uniqueId val="{0000000A-4084-456F-B02C-F07F79D9AACD}"/>
                </c:ext>
              </c:extLst>
            </c:dLbl>
            <c:dLbl>
              <c:idx val="16"/>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accent2"/>
                      </a:solidFill>
                      <a:latin typeface="+mn-lt"/>
                      <a:ea typeface="+mn-ea"/>
                      <a:cs typeface="+mn-cs"/>
                    </a:defRPr>
                  </a:pPr>
                  <a:endParaRPr lang="es-GT"/>
                </a:p>
              </c:txPr>
              <c:showLegendKey val="0"/>
              <c:showVal val="1"/>
              <c:showCatName val="0"/>
              <c:showSerName val="0"/>
              <c:showPercent val="0"/>
              <c:showBubbleSize val="0"/>
              <c:extLst>
                <c:ext xmlns:c16="http://schemas.microsoft.com/office/drawing/2014/chart" uri="{C3380CC4-5D6E-409C-BE32-E72D297353CC}">
                  <c16:uniqueId val="{0000000B-4084-456F-B02C-F07F79D9AACD}"/>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rgbClr val="002060"/>
                    </a:solidFill>
                    <a:latin typeface="+mn-lt"/>
                    <a:ea typeface="+mn-ea"/>
                    <a:cs typeface="+mn-cs"/>
                  </a:defRPr>
                </a:pPr>
                <a:endParaRPr lang="es-G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A$2:$A$18</c:f>
              <c:numCache>
                <c:formatCode>General</c:formatCode>
                <c:ptCount val="17"/>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numCache>
            </c:numRef>
          </c:cat>
          <c:val>
            <c:numRef>
              <c:f>Hoja1!$B$2:$B$18</c:f>
              <c:numCache>
                <c:formatCode>_-* #,##0.0_-;\-* #,##0.0_-;_-* "-"??_-;_-@_-</c:formatCode>
                <c:ptCount val="17"/>
                <c:pt idx="0">
                  <c:v>24.329706990632481</c:v>
                </c:pt>
                <c:pt idx="1">
                  <c:v>24.044074717406659</c:v>
                </c:pt>
                <c:pt idx="2">
                  <c:v>24.802739033208397</c:v>
                </c:pt>
                <c:pt idx="3">
                  <c:v>25.179668985181486</c:v>
                </c:pt>
                <c:pt idx="4">
                  <c:v>24.792654378676911</c:v>
                </c:pt>
                <c:pt idx="5">
                  <c:v>24.920165339281247</c:v>
                </c:pt>
                <c:pt idx="6">
                  <c:v>25.035000908125348</c:v>
                </c:pt>
                <c:pt idx="7">
                  <c:v>25.156271017985887</c:v>
                </c:pt>
                <c:pt idx="8">
                  <c:v>26.526545500818148</c:v>
                </c:pt>
                <c:pt idx="9">
                  <c:v>26.539456130715767</c:v>
                </c:pt>
                <c:pt idx="10">
                  <c:v>31.571482495894877</c:v>
                </c:pt>
                <c:pt idx="11">
                  <c:v>31.90229027537395</c:v>
                </c:pt>
                <c:pt idx="12">
                  <c:v>31.655395299999999</c:v>
                </c:pt>
                <c:pt idx="13">
                  <c:v>31.878451599999998</c:v>
                </c:pt>
                <c:pt idx="14">
                  <c:v>32.182602299999999</c:v>
                </c:pt>
                <c:pt idx="15">
                  <c:v>32.166924700000003</c:v>
                </c:pt>
                <c:pt idx="16">
                  <c:v>31.895631399999999</c:v>
                </c:pt>
              </c:numCache>
            </c:numRef>
          </c:val>
          <c:extLst>
            <c:ext xmlns:c16="http://schemas.microsoft.com/office/drawing/2014/chart" uri="{C3380CC4-5D6E-409C-BE32-E72D297353CC}">
              <c16:uniqueId val="{00000006-4084-456F-B02C-F07F79D9AACD}"/>
            </c:ext>
          </c:extLst>
        </c:ser>
        <c:dLbls>
          <c:showLegendKey val="0"/>
          <c:showVal val="0"/>
          <c:showCatName val="0"/>
          <c:showSerName val="0"/>
          <c:showPercent val="0"/>
          <c:showBubbleSize val="0"/>
        </c:dLbls>
        <c:gapWidth val="100"/>
        <c:overlap val="-27"/>
        <c:axId val="100911648"/>
        <c:axId val="100915808"/>
      </c:barChart>
      <c:catAx>
        <c:axId val="1009116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GT"/>
          </a:p>
        </c:txPr>
        <c:crossAx val="100915808"/>
        <c:crosses val="autoZero"/>
        <c:auto val="1"/>
        <c:lblAlgn val="ctr"/>
        <c:lblOffset val="100"/>
        <c:noMultiLvlLbl val="0"/>
      </c:catAx>
      <c:valAx>
        <c:axId val="100915808"/>
        <c:scaling>
          <c:orientation val="minMax"/>
          <c:min val="10"/>
        </c:scaling>
        <c:delete val="1"/>
        <c:axPos val="l"/>
        <c:numFmt formatCode="_-* #,##0.0_-;\-* #,##0.0_-;_-* &quot;-&quot;??_-;_-@_-" sourceLinked="1"/>
        <c:majorTickMark val="out"/>
        <c:minorTickMark val="none"/>
        <c:tickLblPos val="nextTo"/>
        <c:crossAx val="1009116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GT"/>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MX"/>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spc="0" baseline="0">
                <a:solidFill>
                  <a:schemeClr val="tx1">
                    <a:lumMod val="65000"/>
                    <a:lumOff val="35000"/>
                  </a:schemeClr>
                </a:solidFill>
                <a:latin typeface="+mn-lt"/>
                <a:ea typeface="+mn-ea"/>
                <a:cs typeface="+mn-cs"/>
              </a:defRPr>
            </a:pPr>
            <a:r>
              <a:rPr lang="es-GT" sz="1800" b="1" dirty="0">
                <a:solidFill>
                  <a:srgbClr val="0385B3"/>
                </a:solidFill>
              </a:rPr>
              <a:t>Variación de recaudación acumulada a julio</a:t>
            </a:r>
          </a:p>
        </c:rich>
      </c:tx>
      <c:layout>
        <c:manualLayout>
          <c:xMode val="edge"/>
          <c:yMode val="edge"/>
          <c:x val="7.8961511285450592E-2"/>
          <c:y val="0"/>
        </c:manualLayout>
      </c:layout>
      <c:overlay val="1"/>
      <c:spPr>
        <a:noFill/>
        <a:ln>
          <a:noFill/>
        </a:ln>
        <a:effectLst/>
      </c:spPr>
      <c:txPr>
        <a:bodyPr rot="0" spcFirstLastPara="1" vertOverflow="ellipsis" vert="horz" wrap="square" anchor="ctr" anchorCtr="1"/>
        <a:lstStyle/>
        <a:p>
          <a:pPr>
            <a:defRPr sz="1800" b="1" i="0" u="none" strike="noStrike" kern="1200" spc="0" baseline="0">
              <a:solidFill>
                <a:schemeClr val="tx1">
                  <a:lumMod val="65000"/>
                  <a:lumOff val="35000"/>
                </a:schemeClr>
              </a:solidFill>
              <a:latin typeface="+mn-lt"/>
              <a:ea typeface="+mn-ea"/>
              <a:cs typeface="+mn-cs"/>
            </a:defRPr>
          </a:pPr>
          <a:endParaRPr lang="es-GT"/>
        </a:p>
      </c:txPr>
    </c:title>
    <c:autoTitleDeleted val="0"/>
    <c:plotArea>
      <c:layout>
        <c:manualLayout>
          <c:layoutTarget val="inner"/>
          <c:xMode val="edge"/>
          <c:yMode val="edge"/>
          <c:x val="0.11681028870717081"/>
          <c:y val="0.1283949183216597"/>
          <c:w val="0.71179482378804737"/>
          <c:h val="0.75557757578028162"/>
        </c:manualLayout>
      </c:layout>
      <c:radarChart>
        <c:radarStyle val="marker"/>
        <c:varyColors val="0"/>
        <c:ser>
          <c:idx val="0"/>
          <c:order val="0"/>
          <c:tx>
            <c:strRef>
              <c:f>Hoja1!$B$1</c:f>
              <c:strCache>
                <c:ptCount val="1"/>
                <c:pt idx="0">
                  <c:v>2021-2020</c:v>
                </c:pt>
              </c:strCache>
            </c:strRef>
          </c:tx>
          <c:spPr>
            <a:ln w="28575" cap="rnd">
              <a:solidFill>
                <a:schemeClr val="accent1"/>
              </a:solidFill>
              <a:round/>
            </a:ln>
            <a:effectLst>
              <a:glow rad="38100">
                <a:schemeClr val="bg1">
                  <a:lumMod val="75000"/>
                </a:schemeClr>
              </a:glow>
            </a:effectLst>
          </c:spPr>
          <c:marker>
            <c:symbol val="circle"/>
            <c:size val="5"/>
            <c:spPr>
              <a:solidFill>
                <a:schemeClr val="bg1"/>
              </a:solidFill>
              <a:ln w="9525">
                <a:solidFill>
                  <a:schemeClr val="accent1"/>
                </a:solidFill>
              </a:ln>
              <a:effectLst>
                <a:glow rad="38100">
                  <a:schemeClr val="bg1">
                    <a:lumMod val="75000"/>
                  </a:schemeClr>
                </a:glow>
              </a:effectLst>
            </c:spPr>
          </c:marker>
          <c:dLbls>
            <c:dLbl>
              <c:idx val="0"/>
              <c:layout>
                <c:manualLayout>
                  <c:x val="0.11088836009113709"/>
                  <c:y val="1.878541987762480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C49-48A2-9421-74095975B37F}"/>
                </c:ext>
              </c:extLst>
            </c:dLbl>
            <c:dLbl>
              <c:idx val="1"/>
              <c:layout>
                <c:manualLayout>
                  <c:x val="5.5129933761035421E-2"/>
                  <c:y val="-7.633173330533881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C49-48A2-9421-74095975B37F}"/>
                </c:ext>
              </c:extLst>
            </c:dLbl>
            <c:dLbl>
              <c:idx val="2"/>
              <c:layout>
                <c:manualLayout>
                  <c:x val="0.28044357608874543"/>
                  <c:y val="4.071025776284711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C49-48A2-9421-74095975B37F}"/>
                </c:ext>
              </c:extLst>
            </c:dLbl>
            <c:dLbl>
              <c:idx val="3"/>
              <c:layout>
                <c:manualLayout>
                  <c:x val="7.9099470178876918E-2"/>
                  <c:y val="0.282427413229751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C49-48A2-9421-74095975B37F}"/>
                </c:ext>
              </c:extLst>
            </c:dLbl>
            <c:dLbl>
              <c:idx val="4"/>
              <c:layout>
                <c:manualLayout>
                  <c:x val="1.0985910614667131E-17"/>
                  <c:y val="4.579903998320292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C49-48A2-9421-74095975B37F}"/>
                </c:ext>
              </c:extLst>
            </c:dLbl>
            <c:dLbl>
              <c:idx val="5"/>
              <c:layout>
                <c:manualLayout>
                  <c:x val="-6.9511655611740344E-2"/>
                  <c:y val="-0.1119532088478296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C49-48A2-9421-74095975B37F}"/>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solidFill>
                    <a:latin typeface="+mn-lt"/>
                    <a:ea typeface="+mn-ea"/>
                    <a:cs typeface="+mn-cs"/>
                  </a:defRPr>
                </a:pPr>
                <a:endParaRPr lang="es-G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rgbClr val="0070C0"/>
                      </a:solidFill>
                      <a:round/>
                    </a:ln>
                    <a:effectLst/>
                  </c:spPr>
                </c15:leaderLines>
              </c:ext>
            </c:extLst>
          </c:dLbls>
          <c:cat>
            <c:strRef>
              <c:f>Hoja1!$A$2:$A$7</c:f>
              <c:strCache>
                <c:ptCount val="6"/>
                <c:pt idx="0">
                  <c:v>IVA imp</c:v>
                </c:pt>
                <c:pt idx="1">
                  <c:v>Los demás</c:v>
                </c:pt>
                <c:pt idx="2">
                  <c:v>Petróleo</c:v>
                </c:pt>
                <c:pt idx="3">
                  <c:v>ISO</c:v>
                </c:pt>
                <c:pt idx="4">
                  <c:v>ISR</c:v>
                </c:pt>
                <c:pt idx="5">
                  <c:v>IVA dom</c:v>
                </c:pt>
              </c:strCache>
            </c:strRef>
          </c:cat>
          <c:val>
            <c:numRef>
              <c:f>Hoja1!$B$2:$B$7</c:f>
              <c:numCache>
                <c:formatCode>General</c:formatCode>
                <c:ptCount val="6"/>
                <c:pt idx="0">
                  <c:v>3266.7175584799925</c:v>
                </c:pt>
                <c:pt idx="1">
                  <c:v>1597.8236264899997</c:v>
                </c:pt>
                <c:pt idx="2">
                  <c:v>504.45175894999943</c:v>
                </c:pt>
                <c:pt idx="3">
                  <c:v>332.16565248999905</c:v>
                </c:pt>
                <c:pt idx="4">
                  <c:v>2996.6322897100035</c:v>
                </c:pt>
                <c:pt idx="5">
                  <c:v>1612.8010660300033</c:v>
                </c:pt>
              </c:numCache>
            </c:numRef>
          </c:val>
          <c:extLst>
            <c:ext xmlns:c16="http://schemas.microsoft.com/office/drawing/2014/chart" uri="{C3380CC4-5D6E-409C-BE32-E72D297353CC}">
              <c16:uniqueId val="{00000006-9C49-48A2-9421-74095975B37F}"/>
            </c:ext>
          </c:extLst>
        </c:ser>
        <c:ser>
          <c:idx val="1"/>
          <c:order val="1"/>
          <c:tx>
            <c:strRef>
              <c:f>Hoja1!$C$1</c:f>
              <c:strCache>
                <c:ptCount val="1"/>
                <c:pt idx="0">
                  <c:v>2021-Presupuesto</c:v>
                </c:pt>
              </c:strCache>
            </c:strRef>
          </c:tx>
          <c:spPr>
            <a:ln w="28575" cap="rnd">
              <a:solidFill>
                <a:srgbClr val="FF0000"/>
              </a:solidFill>
              <a:round/>
            </a:ln>
            <a:effectLst>
              <a:glow rad="38100">
                <a:schemeClr val="tx1"/>
              </a:glow>
            </a:effectLst>
          </c:spPr>
          <c:marker>
            <c:symbol val="circle"/>
            <c:size val="5"/>
            <c:spPr>
              <a:solidFill>
                <a:schemeClr val="bg1"/>
              </a:solidFill>
              <a:ln w="9525">
                <a:solidFill>
                  <a:schemeClr val="accent2"/>
                </a:solidFill>
              </a:ln>
              <a:effectLst>
                <a:glow rad="38100">
                  <a:schemeClr val="tx1"/>
                </a:glow>
              </a:effectLst>
            </c:spPr>
          </c:marker>
          <c:dLbls>
            <c:dLbl>
              <c:idx val="0"/>
              <c:layout>
                <c:manualLayout>
                  <c:x val="0.12532424931941616"/>
                  <c:y val="-6.226345426937809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C49-48A2-9421-74095975B37F}"/>
                </c:ext>
              </c:extLst>
            </c:dLbl>
            <c:dLbl>
              <c:idx val="1"/>
              <c:layout>
                <c:manualLayout>
                  <c:x val="0.13296694544307019"/>
                  <c:y val="-9.736002392929722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C49-48A2-9421-74095975B37F}"/>
                </c:ext>
              </c:extLst>
            </c:dLbl>
            <c:dLbl>
              <c:idx val="2"/>
              <c:layout>
                <c:manualLayout>
                  <c:x val="0.27597391812459326"/>
                  <c:y val="9.3096365707938764E-2"/>
                </c:manualLayout>
              </c:layout>
              <c:numFmt formatCode="#,##0.0" sourceLinked="0"/>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rgbClr val="FF0000"/>
                      </a:solidFill>
                      <a:latin typeface="+mn-lt"/>
                      <a:ea typeface="+mn-ea"/>
                      <a:cs typeface="+mn-cs"/>
                    </a:defRPr>
                  </a:pPr>
                  <a:endParaRPr lang="es-GT"/>
                </a:p>
              </c:txPr>
              <c:showLegendKey val="0"/>
              <c:showVal val="1"/>
              <c:showCatName val="0"/>
              <c:showSerName val="0"/>
              <c:showPercent val="0"/>
              <c:showBubbleSize val="0"/>
              <c:extLst>
                <c:ext xmlns:c15="http://schemas.microsoft.com/office/drawing/2012/chart" uri="{CE6537A1-D6FC-4f65-9D91-7224C49458BB}">
                  <c15:layout>
                    <c:manualLayout>
                      <c:w val="0.10415971487198381"/>
                      <c:h val="4.7351118560411555E-2"/>
                    </c:manualLayout>
                  </c15:layout>
                </c:ext>
                <c:ext xmlns:c16="http://schemas.microsoft.com/office/drawing/2014/chart" uri="{C3380CC4-5D6E-409C-BE32-E72D297353CC}">
                  <c16:uniqueId val="{00000009-9C49-48A2-9421-74095975B37F}"/>
                </c:ext>
              </c:extLst>
            </c:dLbl>
            <c:dLbl>
              <c:idx val="3"/>
              <c:layout>
                <c:manualLayout>
                  <c:x val="-8.8687284746013548E-2"/>
                  <c:y val="0.2975457043766131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9C49-48A2-9421-74095975B37F}"/>
                </c:ext>
              </c:extLst>
            </c:dLbl>
            <c:dLbl>
              <c:idx val="4"/>
              <c:layout>
                <c:manualLayout>
                  <c:x val="-4.5778039827932705E-3"/>
                  <c:y val="7.431224807773265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9C49-48A2-9421-74095975B37F}"/>
                </c:ext>
              </c:extLst>
            </c:dLbl>
            <c:dLbl>
              <c:idx val="5"/>
              <c:layout>
                <c:manualLayout>
                  <c:x val="-0.12610033383713398"/>
                  <c:y val="-7.783272371458663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9C49-48A2-9421-74095975B37F}"/>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FF0000"/>
                    </a:solidFill>
                    <a:latin typeface="+mn-lt"/>
                    <a:ea typeface="+mn-ea"/>
                    <a:cs typeface="+mn-cs"/>
                  </a:defRPr>
                </a:pPr>
                <a:endParaRPr lang="es-G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rgbClr val="FF0000"/>
                      </a:solidFill>
                      <a:prstDash val="dash"/>
                      <a:round/>
                    </a:ln>
                    <a:effectLst/>
                  </c:spPr>
                </c15:leaderLines>
              </c:ext>
            </c:extLst>
          </c:dLbls>
          <c:cat>
            <c:strRef>
              <c:f>Hoja1!$A$2:$A$7</c:f>
              <c:strCache>
                <c:ptCount val="6"/>
                <c:pt idx="0">
                  <c:v>IVA imp</c:v>
                </c:pt>
                <c:pt idx="1">
                  <c:v>Los demás</c:v>
                </c:pt>
                <c:pt idx="2">
                  <c:v>Petróleo</c:v>
                </c:pt>
                <c:pt idx="3">
                  <c:v>ISO</c:v>
                </c:pt>
                <c:pt idx="4">
                  <c:v>ISR</c:v>
                </c:pt>
                <c:pt idx="5">
                  <c:v>IVA dom</c:v>
                </c:pt>
              </c:strCache>
            </c:strRef>
          </c:cat>
          <c:val>
            <c:numRef>
              <c:f>Hoja1!$C$2:$C$7</c:f>
              <c:numCache>
                <c:formatCode>General</c:formatCode>
                <c:ptCount val="6"/>
                <c:pt idx="0">
                  <c:v>2103.9530163599884</c:v>
                </c:pt>
                <c:pt idx="1">
                  <c:v>668.03361711589264</c:v>
                </c:pt>
                <c:pt idx="2">
                  <c:v>421.64100503999657</c:v>
                </c:pt>
                <c:pt idx="3">
                  <c:v>203.24051816999963</c:v>
                </c:pt>
                <c:pt idx="4">
                  <c:v>3087.315688870005</c:v>
                </c:pt>
                <c:pt idx="5">
                  <c:v>928.2784442300017</c:v>
                </c:pt>
              </c:numCache>
            </c:numRef>
          </c:val>
          <c:extLst>
            <c:ext xmlns:c16="http://schemas.microsoft.com/office/drawing/2014/chart" uri="{C3380CC4-5D6E-409C-BE32-E72D297353CC}">
              <c16:uniqueId val="{0000000D-9C49-48A2-9421-74095975B37F}"/>
            </c:ext>
          </c:extLst>
        </c:ser>
        <c:dLbls>
          <c:showLegendKey val="0"/>
          <c:showVal val="0"/>
          <c:showCatName val="0"/>
          <c:showSerName val="0"/>
          <c:showPercent val="0"/>
          <c:showBubbleSize val="0"/>
        </c:dLbls>
        <c:axId val="399914632"/>
        <c:axId val="345815776"/>
      </c:radarChart>
      <c:catAx>
        <c:axId val="39991463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s-GT"/>
          </a:p>
        </c:txPr>
        <c:crossAx val="345815776"/>
        <c:crosses val="autoZero"/>
        <c:auto val="1"/>
        <c:lblAlgn val="ctr"/>
        <c:lblOffset val="100"/>
        <c:noMultiLvlLbl val="0"/>
      </c:catAx>
      <c:valAx>
        <c:axId val="345815776"/>
        <c:scaling>
          <c:orientation val="minMax"/>
        </c:scaling>
        <c:delete val="0"/>
        <c:axPos val="l"/>
        <c:majorGridlines>
          <c:spPr>
            <a:ln w="9525" cap="flat" cmpd="sng" algn="ctr">
              <a:solidFill>
                <a:srgbClr val="00B050">
                  <a:alpha val="44000"/>
                </a:srgbClr>
              </a:solidFill>
              <a:prstDash val="sysDot"/>
              <a:round/>
            </a:ln>
            <a:effectLst/>
          </c:spPr>
        </c:majorGridlines>
        <c:numFmt formatCode="General" sourceLinked="1"/>
        <c:majorTickMark val="none"/>
        <c:minorTickMark val="none"/>
        <c:tickLblPos val="low"/>
        <c:spPr>
          <a:noFill/>
          <a:ln>
            <a:noFill/>
          </a:ln>
          <a:effectLst/>
        </c:spPr>
        <c:txPr>
          <a:bodyPr rot="-60000000" spcFirstLastPara="1" vertOverflow="ellipsis" vert="horz" wrap="square" anchor="ctr" anchorCtr="1"/>
          <a:lstStyle/>
          <a:p>
            <a:pPr>
              <a:defRPr sz="800" b="1" i="0" u="none" strike="noStrike" kern="1200" baseline="0">
                <a:solidFill>
                  <a:schemeClr val="tx1">
                    <a:lumMod val="65000"/>
                    <a:lumOff val="35000"/>
                  </a:schemeClr>
                </a:solidFill>
                <a:latin typeface="+mn-lt"/>
                <a:ea typeface="+mn-ea"/>
                <a:cs typeface="+mn-cs"/>
              </a:defRPr>
            </a:pPr>
            <a:endParaRPr lang="es-GT"/>
          </a:p>
        </c:txPr>
        <c:crossAx val="399914632"/>
        <c:crosses val="autoZero"/>
        <c:crossBetween val="between"/>
      </c:valAx>
      <c:spPr>
        <a:noFill/>
        <a:ln>
          <a:noFill/>
        </a:ln>
        <a:effectLst/>
      </c:spPr>
    </c:plotArea>
    <c:legend>
      <c:legendPos val="b"/>
      <c:layout>
        <c:manualLayout>
          <c:xMode val="edge"/>
          <c:yMode val="edge"/>
          <c:x val="8.9214876196995613E-2"/>
          <c:y val="0.94271793766332601"/>
          <c:w val="0.77512535878810029"/>
          <c:h val="3.5283615025828781E-2"/>
        </c:manualLayout>
      </c:layout>
      <c:overlay val="0"/>
      <c:spPr>
        <a:noFill/>
        <a:ln>
          <a:noFill/>
        </a:ln>
        <a:effectLst/>
      </c:spPr>
      <c:txPr>
        <a:bodyPr rot="0" spcFirstLastPara="1" vertOverflow="ellipsis" vert="horz" wrap="square" anchor="ctr" anchorCtr="1"/>
        <a:lstStyle/>
        <a:p>
          <a:pPr>
            <a:defRPr sz="1500" b="1" i="0" u="none" strike="noStrike" kern="1200" baseline="0">
              <a:solidFill>
                <a:schemeClr val="tx1">
                  <a:lumMod val="65000"/>
                  <a:lumOff val="35000"/>
                </a:schemeClr>
              </a:solidFill>
              <a:latin typeface="+mn-lt"/>
              <a:ea typeface="+mn-ea"/>
              <a:cs typeface="+mn-cs"/>
            </a:defRPr>
          </a:pPr>
          <a:endParaRPr lang="es-G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GT"/>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MX"/>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0690400516923"/>
          <c:y val="3.6072432135325079E-2"/>
          <c:w val="0.73759022367162896"/>
          <c:h val="0.87310685351859851"/>
        </c:manualLayout>
      </c:layout>
      <c:barChart>
        <c:barDir val="col"/>
        <c:grouping val="stacked"/>
        <c:varyColors val="0"/>
        <c:ser>
          <c:idx val="0"/>
          <c:order val="0"/>
          <c:tx>
            <c:strRef>
              <c:f>Hoja1!$B$1</c:f>
              <c:strCache>
                <c:ptCount val="1"/>
                <c:pt idx="0">
                  <c:v>Columna1</c:v>
                </c:pt>
              </c:strCache>
            </c:strRef>
          </c:tx>
          <c:spPr>
            <a:solidFill>
              <a:srgbClr val="0385B3"/>
            </a:solidFill>
            <a:ln>
              <a:noFill/>
            </a:ln>
            <a:effectLst/>
          </c:spPr>
          <c:invertIfNegative val="0"/>
          <c:dPt>
            <c:idx val="1"/>
            <c:invertIfNegative val="0"/>
            <c:bubble3D val="0"/>
            <c:spPr>
              <a:solidFill>
                <a:srgbClr val="0385B3"/>
              </a:solidFill>
              <a:ln>
                <a:noFill/>
              </a:ln>
              <a:effectLst/>
              <a:scene3d>
                <a:camera prst="orthographicFront"/>
                <a:lightRig rig="threePt" dir="t"/>
              </a:scene3d>
            </c:spPr>
            <c:extLst>
              <c:ext xmlns:c16="http://schemas.microsoft.com/office/drawing/2014/chart" uri="{C3380CC4-5D6E-409C-BE32-E72D297353CC}">
                <c16:uniqueId val="{00000001-29E7-4089-AF12-0D5CE9BBD0D6}"/>
              </c:ext>
            </c:extLst>
          </c:dPt>
          <c:dPt>
            <c:idx val="2"/>
            <c:invertIfNegative val="0"/>
            <c:bubble3D val="0"/>
            <c:spPr>
              <a:solidFill>
                <a:srgbClr val="0385B3"/>
              </a:solidFill>
              <a:ln>
                <a:noFill/>
              </a:ln>
              <a:effectLst/>
              <a:scene3d>
                <a:camera prst="orthographicFront"/>
                <a:lightRig rig="threePt" dir="t"/>
              </a:scene3d>
            </c:spPr>
            <c:extLst>
              <c:ext xmlns:c16="http://schemas.microsoft.com/office/drawing/2014/chart" uri="{C3380CC4-5D6E-409C-BE32-E72D297353CC}">
                <c16:uniqueId val="{00000003-29E7-4089-AF12-0D5CE9BBD0D6}"/>
              </c:ext>
            </c:extLst>
          </c:dPt>
          <c:dLbls>
            <c:dLbl>
              <c:idx val="0"/>
              <c:layout>
                <c:manualLayout>
                  <c:x val="-8.3084189798308221E-3"/>
                  <c:y val="-0.1402674954585457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9E7-4089-AF12-0D5CE9BBD0D6}"/>
                </c:ext>
              </c:extLst>
            </c:dLbl>
            <c:dLbl>
              <c:idx val="1"/>
              <c:layout>
                <c:manualLayout>
                  <c:x val="-8.6191669338008729E-4"/>
                  <c:y val="-0.1903874310805789"/>
                </c:manualLayout>
              </c:layout>
              <c:numFmt formatCode="#,##0.0" sourceLinked="0"/>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bg1"/>
                      </a:solidFill>
                      <a:latin typeface="+mn-lt"/>
                      <a:ea typeface="+mn-ea"/>
                      <a:cs typeface="+mn-cs"/>
                    </a:defRPr>
                  </a:pPr>
                  <a:endParaRPr lang="es-GT"/>
                </a:p>
              </c:txPr>
              <c:dLblPos val="ctr"/>
              <c:showLegendKey val="0"/>
              <c:showVal val="1"/>
              <c:showCatName val="0"/>
              <c:showSerName val="0"/>
              <c:showPercent val="0"/>
              <c:showBubbleSize val="0"/>
              <c:extLst>
                <c:ext xmlns:c15="http://schemas.microsoft.com/office/drawing/2012/chart" uri="{CE6537A1-D6FC-4f65-9D91-7224C49458BB}">
                  <c15:layout>
                    <c:manualLayout>
                      <c:w val="0.20395678827277783"/>
                      <c:h val="5.7158882776284531E-2"/>
                    </c:manualLayout>
                  </c15:layout>
                </c:ext>
                <c:ext xmlns:c16="http://schemas.microsoft.com/office/drawing/2014/chart" uri="{C3380CC4-5D6E-409C-BE32-E72D297353CC}">
                  <c16:uniqueId val="{00000001-29E7-4089-AF12-0D5CE9BBD0D6}"/>
                </c:ext>
              </c:extLst>
            </c:dLbl>
            <c:dLbl>
              <c:idx val="2"/>
              <c:layout>
                <c:manualLayout>
                  <c:x val="-8.3084189798308221E-3"/>
                  <c:y val="-0.19871224432999254"/>
                </c:manualLayout>
              </c:layout>
              <c:numFmt formatCode="#,##0.0" sourceLinked="0"/>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bg1"/>
                      </a:solidFill>
                      <a:latin typeface="+mn-lt"/>
                      <a:ea typeface="+mn-ea"/>
                      <a:cs typeface="+mn-cs"/>
                    </a:defRPr>
                  </a:pPr>
                  <a:endParaRPr lang="es-GT"/>
                </a:p>
              </c:txPr>
              <c:dLblPos val="ctr"/>
              <c:showLegendKey val="0"/>
              <c:showVal val="1"/>
              <c:showCatName val="0"/>
              <c:showSerName val="0"/>
              <c:showPercent val="0"/>
              <c:showBubbleSize val="0"/>
              <c:extLst>
                <c:ext xmlns:c15="http://schemas.microsoft.com/office/drawing/2012/chart" uri="{CE6537A1-D6FC-4f65-9D91-7224C49458BB}">
                  <c15:layout>
                    <c:manualLayout>
                      <c:w val="0.22381382542302722"/>
                      <c:h val="7.8234013126795482E-2"/>
                    </c:manualLayout>
                  </c15:layout>
                </c:ext>
                <c:ext xmlns:c16="http://schemas.microsoft.com/office/drawing/2014/chart" uri="{C3380CC4-5D6E-409C-BE32-E72D297353CC}">
                  <c16:uniqueId val="{00000003-29E7-4089-AF12-0D5CE9BBD0D6}"/>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s-GT"/>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Hoja1!$A$2:$A$4</c:f>
              <c:strCache>
                <c:ptCount val="3"/>
                <c:pt idx="0">
                  <c:v>Obs 20</c:v>
                </c:pt>
                <c:pt idx="1">
                  <c:v>Presupuesto</c:v>
                </c:pt>
                <c:pt idx="2">
                  <c:v>Estimado 21</c:v>
                </c:pt>
              </c:strCache>
            </c:strRef>
          </c:cat>
          <c:val>
            <c:numRef>
              <c:f>Hoja1!$B$2:$B$4</c:f>
              <c:numCache>
                <c:formatCode>#,##0.00</c:formatCode>
                <c:ptCount val="3"/>
                <c:pt idx="0">
                  <c:v>60279.396097580007</c:v>
                </c:pt>
                <c:pt idx="1">
                  <c:v>64027.7</c:v>
                </c:pt>
                <c:pt idx="2">
                  <c:v>64027.7</c:v>
                </c:pt>
              </c:numCache>
            </c:numRef>
          </c:val>
          <c:extLst>
            <c:ext xmlns:c16="http://schemas.microsoft.com/office/drawing/2014/chart" uri="{C3380CC4-5D6E-409C-BE32-E72D297353CC}">
              <c16:uniqueId val="{00000005-29E7-4089-AF12-0D5CE9BBD0D6}"/>
            </c:ext>
          </c:extLst>
        </c:ser>
        <c:ser>
          <c:idx val="1"/>
          <c:order val="1"/>
          <c:tx>
            <c:strRef>
              <c:f>Hoja1!$C$1</c:f>
              <c:strCache>
                <c:ptCount val="1"/>
                <c:pt idx="0">
                  <c:v>Brecha</c:v>
                </c:pt>
              </c:strCache>
            </c:strRef>
          </c:tx>
          <c:spPr>
            <a:pattFill prst="dkUpDiag">
              <a:fgClr>
                <a:srgbClr val="00B050"/>
              </a:fgClr>
              <a:bgClr>
                <a:schemeClr val="bg1"/>
              </a:bgClr>
            </a:pattFill>
            <a:ln>
              <a:noFill/>
            </a:ln>
            <a:effectLst/>
            <a:scene3d>
              <a:camera prst="orthographicFront"/>
              <a:lightRig rig="threePt" dir="t"/>
            </a:scene3d>
            <a:sp3d/>
          </c:spPr>
          <c:invertIfNegative val="0"/>
          <c:dPt>
            <c:idx val="2"/>
            <c:invertIfNegative val="0"/>
            <c:bubble3D val="0"/>
            <c:spPr>
              <a:pattFill prst="dkUpDiag">
                <a:fgClr>
                  <a:srgbClr val="00B050"/>
                </a:fgClr>
                <a:bgClr>
                  <a:schemeClr val="bg1"/>
                </a:bgClr>
              </a:pattFill>
              <a:ln>
                <a:noFill/>
              </a:ln>
              <a:effectLst/>
              <a:scene3d>
                <a:camera prst="orthographicFront"/>
                <a:lightRig rig="threePt" dir="t"/>
              </a:scene3d>
              <a:sp3d/>
            </c:spPr>
            <c:extLst>
              <c:ext xmlns:c16="http://schemas.microsoft.com/office/drawing/2014/chart" uri="{C3380CC4-5D6E-409C-BE32-E72D297353CC}">
                <c16:uniqueId val="{00000007-29E7-4089-AF12-0D5CE9BBD0D6}"/>
              </c:ext>
            </c:extLst>
          </c:dPt>
          <c:dLbls>
            <c:dLbl>
              <c:idx val="2"/>
              <c:layout>
                <c:manualLayout>
                  <c:x val="-4.5593266909595247E-3"/>
                  <c:y val="-8.7139229869492071E-3"/>
                </c:manualLayout>
              </c:layout>
              <c:tx>
                <c:rich>
                  <a:bodyPr rot="0" spcFirstLastPara="1" vertOverflow="ellipsis" vert="horz" wrap="square" lIns="38100" tIns="19050" rIns="38100" bIns="19050" anchor="ctr" anchorCtr="1">
                    <a:noAutofit/>
                  </a:bodyPr>
                  <a:lstStyle/>
                  <a:p>
                    <a:pPr>
                      <a:defRPr sz="1200" b="1" i="0" u="none" strike="noStrike" kern="1200" baseline="0">
                        <a:solidFill>
                          <a:schemeClr val="dk1">
                            <a:lumMod val="75000"/>
                            <a:lumOff val="25000"/>
                          </a:schemeClr>
                        </a:solidFill>
                        <a:latin typeface="+mn-lt"/>
                        <a:ea typeface="+mn-ea"/>
                        <a:cs typeface="+mn-cs"/>
                      </a:defRPr>
                    </a:pPr>
                    <a:fld id="{E9AF50A8-EF75-444C-96BD-9FEEDDEC339B}" type="VALUE">
                      <a:rPr lang="en-US" sz="1200" smtClean="0"/>
                      <a:pPr>
                        <a:defRPr sz="1200" b="1"/>
                      </a:pPr>
                      <a:t>[VALOR]</a:t>
                    </a:fld>
                    <a:endParaRPr lang="es-GT"/>
                  </a:p>
                </c:rich>
              </c:tx>
              <c:numFmt formatCode="#,##0.0" sourceLinked="0"/>
              <c:spPr>
                <a:solidFill>
                  <a:schemeClr val="bg1"/>
                </a:solid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chemeClr val="dk1">
                          <a:lumMod val="75000"/>
                          <a:lumOff val="25000"/>
                        </a:schemeClr>
                      </a:solidFill>
                      <a:latin typeface="+mn-lt"/>
                      <a:ea typeface="+mn-ea"/>
                      <a:cs typeface="+mn-cs"/>
                    </a:defRPr>
                  </a:pPr>
                  <a:endParaRPr lang="es-GT"/>
                </a:p>
              </c:txPr>
              <c:showLegendKey val="0"/>
              <c:showVal val="1"/>
              <c:showCatName val="0"/>
              <c:showSerName val="0"/>
              <c:showPercent val="0"/>
              <c:showBubbleSize val="0"/>
              <c:extLst>
                <c:ext xmlns:c15="http://schemas.microsoft.com/office/drawing/2012/chart" uri="{CE6537A1-D6FC-4f65-9D91-7224C49458BB}">
                  <c15:layout>
                    <c:manualLayout>
                      <c:w val="0.15956645753874535"/>
                      <c:h val="5.3034178693398812E-2"/>
                    </c:manualLayout>
                  </c15:layout>
                  <c15:dlblFieldTable/>
                  <c15:showDataLabelsRange val="0"/>
                </c:ext>
                <c:ext xmlns:c16="http://schemas.microsoft.com/office/drawing/2014/chart" uri="{C3380CC4-5D6E-409C-BE32-E72D297353CC}">
                  <c16:uniqueId val="{00000007-29E7-4089-AF12-0D5CE9BBD0D6}"/>
                </c:ext>
              </c:extLst>
            </c:dLbl>
            <c:numFmt formatCode="#,##0.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dk1">
                        <a:lumMod val="75000"/>
                        <a:lumOff val="25000"/>
                      </a:schemeClr>
                    </a:solidFill>
                    <a:latin typeface="+mn-lt"/>
                    <a:ea typeface="+mn-ea"/>
                    <a:cs typeface="+mn-cs"/>
                  </a:defRPr>
                </a:pPr>
                <a:endParaRPr lang="es-G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Hoja1!$A$2:$A$4</c:f>
              <c:strCache>
                <c:ptCount val="3"/>
                <c:pt idx="0">
                  <c:v>Obs 20</c:v>
                </c:pt>
                <c:pt idx="1">
                  <c:v>Presupuesto</c:v>
                </c:pt>
                <c:pt idx="2">
                  <c:v>Estimado 21</c:v>
                </c:pt>
              </c:strCache>
            </c:strRef>
          </c:cat>
          <c:val>
            <c:numRef>
              <c:f>Hoja1!$C$2:$C$4</c:f>
              <c:numCache>
                <c:formatCode>General</c:formatCode>
                <c:ptCount val="3"/>
                <c:pt idx="2" formatCode="#,##0.00">
                  <c:v>6740.6740147567898</c:v>
                </c:pt>
              </c:numCache>
            </c:numRef>
          </c:val>
          <c:extLst>
            <c:ext xmlns:c16="http://schemas.microsoft.com/office/drawing/2014/chart" uri="{C3380CC4-5D6E-409C-BE32-E72D297353CC}">
              <c16:uniqueId val="{00000008-29E7-4089-AF12-0D5CE9BBD0D6}"/>
            </c:ext>
          </c:extLst>
        </c:ser>
        <c:dLbls>
          <c:showLegendKey val="0"/>
          <c:showVal val="0"/>
          <c:showCatName val="0"/>
          <c:showSerName val="0"/>
          <c:showPercent val="0"/>
          <c:showBubbleSize val="0"/>
        </c:dLbls>
        <c:gapWidth val="20"/>
        <c:overlap val="100"/>
        <c:axId val="355903216"/>
        <c:axId val="355910760"/>
      </c:barChart>
      <c:catAx>
        <c:axId val="355903216"/>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050" b="1" i="0" u="none" strike="noStrike" kern="1200" cap="none" spc="0" normalizeH="0" baseline="0">
                <a:solidFill>
                  <a:schemeClr val="dk1">
                    <a:lumMod val="65000"/>
                    <a:lumOff val="35000"/>
                  </a:schemeClr>
                </a:solidFill>
                <a:latin typeface="+mn-lt"/>
                <a:ea typeface="+mn-ea"/>
                <a:cs typeface="+mn-cs"/>
              </a:defRPr>
            </a:pPr>
            <a:endParaRPr lang="es-GT"/>
          </a:p>
        </c:txPr>
        <c:crossAx val="355910760"/>
        <c:crosses val="autoZero"/>
        <c:auto val="1"/>
        <c:lblAlgn val="ctr"/>
        <c:lblOffset val="100"/>
        <c:noMultiLvlLbl val="0"/>
      </c:catAx>
      <c:valAx>
        <c:axId val="355910760"/>
        <c:scaling>
          <c:orientation val="minMax"/>
          <c:min val="50000"/>
        </c:scaling>
        <c:delete val="0"/>
        <c:axPos val="l"/>
        <c:majorGridlines>
          <c:spPr>
            <a:ln w="9525" cap="flat" cmpd="sng" algn="ctr">
              <a:solidFill>
                <a:schemeClr val="dk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dk1">
                    <a:lumMod val="65000"/>
                    <a:lumOff val="35000"/>
                  </a:schemeClr>
                </a:solidFill>
                <a:latin typeface="+mn-lt"/>
                <a:ea typeface="+mn-ea"/>
                <a:cs typeface="+mn-cs"/>
              </a:defRPr>
            </a:pPr>
            <a:endParaRPr lang="es-GT"/>
          </a:p>
        </c:txPr>
        <c:crossAx val="355903216"/>
        <c:crosses val="autoZero"/>
        <c:crossBetween val="between"/>
        <c:majorUnit val="5000"/>
      </c:valAx>
      <c:spPr>
        <a:pattFill prst="ltDnDiag">
          <a:fgClr>
            <a:schemeClr val="dk1">
              <a:lumMod val="15000"/>
              <a:lumOff val="85000"/>
            </a:schemeClr>
          </a:fgClr>
          <a:bgClr>
            <a:schemeClr val="lt1"/>
          </a:bgClr>
        </a:patt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noFill/>
      <a:round/>
    </a:ln>
    <a:effectLst/>
    <a:scene3d>
      <a:camera prst="orthographicFront"/>
      <a:lightRig rig="threePt" dir="t"/>
    </a:scene3d>
    <a:sp3d/>
  </c:spPr>
  <c:txPr>
    <a:bodyPr/>
    <a:lstStyle/>
    <a:p>
      <a:pPr>
        <a:defRPr sz="1050"/>
      </a:pPr>
      <a:endParaRPr lang="es-GT"/>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MX"/>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297710068850087E-2"/>
          <c:y val="2.132079833835018E-2"/>
          <c:w val="0.94637861843356541"/>
          <c:h val="0.79848458710693349"/>
        </c:manualLayout>
      </c:layout>
      <c:lineChart>
        <c:grouping val="standard"/>
        <c:varyColors val="0"/>
        <c:ser>
          <c:idx val="0"/>
          <c:order val="0"/>
          <c:tx>
            <c:strRef>
              <c:f>Hoja1!$B$1</c:f>
              <c:strCache>
                <c:ptCount val="1"/>
                <c:pt idx="0">
                  <c:v>ISR</c:v>
                </c:pt>
              </c:strCache>
            </c:strRef>
          </c:tx>
          <c:spPr>
            <a:ln w="28575" cap="rnd">
              <a:solidFill>
                <a:schemeClr val="tx1"/>
              </a:solidFill>
              <a:round/>
            </a:ln>
            <a:effectLst/>
          </c:spPr>
          <c:marker>
            <c:symbol val="plus"/>
            <c:size val="7"/>
            <c:spPr>
              <a:noFill/>
              <a:ln w="9525">
                <a:solidFill>
                  <a:schemeClr val="tx1"/>
                </a:solidFill>
              </a:ln>
              <a:effectLst/>
            </c:spPr>
          </c:marker>
          <c:cat>
            <c:numRef>
              <c:f>Hoja1!$A$2:$A$25</c:f>
              <c:numCache>
                <c:formatCode>mmm\-yy</c:formatCode>
                <c:ptCount val="24"/>
                <c:pt idx="0">
                  <c:v>43831</c:v>
                </c:pt>
                <c:pt idx="1">
                  <c:v>43862</c:v>
                </c:pt>
                <c:pt idx="2">
                  <c:v>43891</c:v>
                </c:pt>
                <c:pt idx="3">
                  <c:v>43922</c:v>
                </c:pt>
                <c:pt idx="4">
                  <c:v>43952</c:v>
                </c:pt>
                <c:pt idx="5">
                  <c:v>43983</c:v>
                </c:pt>
                <c:pt idx="6">
                  <c:v>44013</c:v>
                </c:pt>
                <c:pt idx="7">
                  <c:v>44044</c:v>
                </c:pt>
                <c:pt idx="8">
                  <c:v>44075</c:v>
                </c:pt>
                <c:pt idx="9">
                  <c:v>44105</c:v>
                </c:pt>
                <c:pt idx="10">
                  <c:v>44136</c:v>
                </c:pt>
                <c:pt idx="11">
                  <c:v>44166</c:v>
                </c:pt>
                <c:pt idx="12">
                  <c:v>44197</c:v>
                </c:pt>
                <c:pt idx="13">
                  <c:v>44228</c:v>
                </c:pt>
                <c:pt idx="14">
                  <c:v>44256</c:v>
                </c:pt>
                <c:pt idx="15">
                  <c:v>44287</c:v>
                </c:pt>
                <c:pt idx="16">
                  <c:v>44317</c:v>
                </c:pt>
                <c:pt idx="17">
                  <c:v>44348</c:v>
                </c:pt>
                <c:pt idx="18">
                  <c:v>44378</c:v>
                </c:pt>
                <c:pt idx="19">
                  <c:v>44409</c:v>
                </c:pt>
                <c:pt idx="20">
                  <c:v>44440</c:v>
                </c:pt>
                <c:pt idx="21">
                  <c:v>44470</c:v>
                </c:pt>
                <c:pt idx="22">
                  <c:v>44501</c:v>
                </c:pt>
                <c:pt idx="23">
                  <c:v>44531</c:v>
                </c:pt>
              </c:numCache>
            </c:numRef>
          </c:cat>
          <c:val>
            <c:numRef>
              <c:f>Hoja1!$B$2:$B$25</c:f>
              <c:numCache>
                <c:formatCode>General</c:formatCode>
                <c:ptCount val="24"/>
                <c:pt idx="0">
                  <c:v>18.53521415647652</c:v>
                </c:pt>
                <c:pt idx="1">
                  <c:v>13.783728084024505</c:v>
                </c:pt>
                <c:pt idx="2">
                  <c:v>-8.8380392179804979</c:v>
                </c:pt>
                <c:pt idx="3">
                  <c:v>4.5620003681562826</c:v>
                </c:pt>
                <c:pt idx="4">
                  <c:v>2.0562256193191741</c:v>
                </c:pt>
                <c:pt idx="5">
                  <c:v>-0.15333904515749675</c:v>
                </c:pt>
                <c:pt idx="6">
                  <c:v>-0.67636980399560231</c:v>
                </c:pt>
                <c:pt idx="7">
                  <c:v>-1.9699250026593895</c:v>
                </c:pt>
                <c:pt idx="8">
                  <c:v>-2.915923254598729</c:v>
                </c:pt>
                <c:pt idx="9">
                  <c:v>-0.78704641055103997</c:v>
                </c:pt>
                <c:pt idx="10">
                  <c:v>-0.75444066283844036</c:v>
                </c:pt>
                <c:pt idx="11">
                  <c:v>-2.0445023291410624</c:v>
                </c:pt>
              </c:numCache>
            </c:numRef>
          </c:val>
          <c:smooth val="0"/>
          <c:extLst>
            <c:ext xmlns:c16="http://schemas.microsoft.com/office/drawing/2014/chart" uri="{C3380CC4-5D6E-409C-BE32-E72D297353CC}">
              <c16:uniqueId val="{00000000-6196-4B74-B6B4-742F34AFD4B3}"/>
            </c:ext>
          </c:extLst>
        </c:ser>
        <c:ser>
          <c:idx val="2"/>
          <c:order val="1"/>
          <c:tx>
            <c:strRef>
              <c:f>Hoja1!$D$1</c:f>
              <c:strCache>
                <c:ptCount val="1"/>
                <c:pt idx="0">
                  <c:v>IVA</c:v>
                </c:pt>
              </c:strCache>
            </c:strRef>
          </c:tx>
          <c:spPr>
            <a:ln w="28575" cap="rnd">
              <a:solidFill>
                <a:schemeClr val="accent2">
                  <a:lumMod val="50000"/>
                </a:schemeClr>
              </a:solidFill>
              <a:prstDash val="sysDash"/>
              <a:round/>
            </a:ln>
            <a:effectLst/>
          </c:spPr>
          <c:marker>
            <c:symbol val="none"/>
          </c:marker>
          <c:dLbls>
            <c:dLbl>
              <c:idx val="11"/>
              <c:layout>
                <c:manualLayout>
                  <c:x val="1.0869565217391304E-2"/>
                  <c:y val="-2.3349139965684117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2">
                          <a:lumMod val="50000"/>
                        </a:schemeClr>
                      </a:solidFill>
                      <a:latin typeface="+mn-lt"/>
                      <a:ea typeface="+mn-ea"/>
                      <a:cs typeface="+mn-cs"/>
                    </a:defRPr>
                  </a:pPr>
                  <a:endParaRPr lang="es-GT"/>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196-4B74-B6B4-742F34AFD4B3}"/>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s-GT"/>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A$2:$A$25</c:f>
              <c:numCache>
                <c:formatCode>mmm\-yy</c:formatCode>
                <c:ptCount val="24"/>
                <c:pt idx="0">
                  <c:v>43831</c:v>
                </c:pt>
                <c:pt idx="1">
                  <c:v>43862</c:v>
                </c:pt>
                <c:pt idx="2">
                  <c:v>43891</c:v>
                </c:pt>
                <c:pt idx="3">
                  <c:v>43922</c:v>
                </c:pt>
                <c:pt idx="4">
                  <c:v>43952</c:v>
                </c:pt>
                <c:pt idx="5">
                  <c:v>43983</c:v>
                </c:pt>
                <c:pt idx="6">
                  <c:v>44013</c:v>
                </c:pt>
                <c:pt idx="7">
                  <c:v>44044</c:v>
                </c:pt>
                <c:pt idx="8">
                  <c:v>44075</c:v>
                </c:pt>
                <c:pt idx="9">
                  <c:v>44105</c:v>
                </c:pt>
                <c:pt idx="10">
                  <c:v>44136</c:v>
                </c:pt>
                <c:pt idx="11">
                  <c:v>44166</c:v>
                </c:pt>
                <c:pt idx="12">
                  <c:v>44197</c:v>
                </c:pt>
                <c:pt idx="13">
                  <c:v>44228</c:v>
                </c:pt>
                <c:pt idx="14">
                  <c:v>44256</c:v>
                </c:pt>
                <c:pt idx="15">
                  <c:v>44287</c:v>
                </c:pt>
                <c:pt idx="16">
                  <c:v>44317</c:v>
                </c:pt>
                <c:pt idx="17">
                  <c:v>44348</c:v>
                </c:pt>
                <c:pt idx="18">
                  <c:v>44378</c:v>
                </c:pt>
                <c:pt idx="19">
                  <c:v>44409</c:v>
                </c:pt>
                <c:pt idx="20">
                  <c:v>44440</c:v>
                </c:pt>
                <c:pt idx="21">
                  <c:v>44470</c:v>
                </c:pt>
                <c:pt idx="22">
                  <c:v>44501</c:v>
                </c:pt>
                <c:pt idx="23">
                  <c:v>44531</c:v>
                </c:pt>
              </c:numCache>
            </c:numRef>
          </c:cat>
          <c:val>
            <c:numRef>
              <c:f>Hoja1!$D$2:$D$25</c:f>
              <c:numCache>
                <c:formatCode>General</c:formatCode>
                <c:ptCount val="24"/>
                <c:pt idx="0">
                  <c:v>9.1375663924366801</c:v>
                </c:pt>
                <c:pt idx="1">
                  <c:v>7.6893423083643553</c:v>
                </c:pt>
                <c:pt idx="2">
                  <c:v>-3.6292938388114648</c:v>
                </c:pt>
                <c:pt idx="3">
                  <c:v>-0.21981385477852777</c:v>
                </c:pt>
                <c:pt idx="4">
                  <c:v>-4.9635914867910085</c:v>
                </c:pt>
                <c:pt idx="5">
                  <c:v>-6.2230830434515489</c:v>
                </c:pt>
                <c:pt idx="6">
                  <c:v>-7.3442715413523763</c:v>
                </c:pt>
                <c:pt idx="7">
                  <c:v>-7.7112662505423373</c:v>
                </c:pt>
                <c:pt idx="8">
                  <c:v>-6.7677510948799142</c:v>
                </c:pt>
                <c:pt idx="9">
                  <c:v>-6.1126902118856847</c:v>
                </c:pt>
                <c:pt idx="10">
                  <c:v>-5.1923902693325914</c:v>
                </c:pt>
                <c:pt idx="11">
                  <c:v>-3.8781116193051246</c:v>
                </c:pt>
              </c:numCache>
            </c:numRef>
          </c:val>
          <c:smooth val="0"/>
          <c:extLst>
            <c:ext xmlns:c16="http://schemas.microsoft.com/office/drawing/2014/chart" uri="{C3380CC4-5D6E-409C-BE32-E72D297353CC}">
              <c16:uniqueId val="{00000002-6196-4B74-B6B4-742F34AFD4B3}"/>
            </c:ext>
          </c:extLst>
        </c:ser>
        <c:ser>
          <c:idx val="3"/>
          <c:order val="2"/>
          <c:tx>
            <c:strRef>
              <c:f>Hoja1!$E$1</c:f>
              <c:strCache>
                <c:ptCount val="1"/>
                <c:pt idx="0">
                  <c:v>Petróleo</c:v>
                </c:pt>
              </c:strCache>
            </c:strRef>
          </c:tx>
          <c:spPr>
            <a:ln w="28575" cap="rnd">
              <a:solidFill>
                <a:srgbClr val="00B050"/>
              </a:solidFill>
              <a:round/>
            </a:ln>
            <a:effectLst/>
          </c:spPr>
          <c:marker>
            <c:symbol val="diamond"/>
            <c:size val="7"/>
            <c:spPr>
              <a:solidFill>
                <a:schemeClr val="bg1"/>
              </a:solidFill>
              <a:ln w="9525">
                <a:solidFill>
                  <a:srgbClr val="00B050"/>
                </a:solidFill>
              </a:ln>
              <a:effectLst/>
            </c:spPr>
          </c:marker>
          <c:cat>
            <c:numRef>
              <c:f>Hoja1!$A$2:$A$25</c:f>
              <c:numCache>
                <c:formatCode>mmm\-yy</c:formatCode>
                <c:ptCount val="24"/>
                <c:pt idx="0">
                  <c:v>43831</c:v>
                </c:pt>
                <c:pt idx="1">
                  <c:v>43862</c:v>
                </c:pt>
                <c:pt idx="2">
                  <c:v>43891</c:v>
                </c:pt>
                <c:pt idx="3">
                  <c:v>43922</c:v>
                </c:pt>
                <c:pt idx="4">
                  <c:v>43952</c:v>
                </c:pt>
                <c:pt idx="5">
                  <c:v>43983</c:v>
                </c:pt>
                <c:pt idx="6">
                  <c:v>44013</c:v>
                </c:pt>
                <c:pt idx="7">
                  <c:v>44044</c:v>
                </c:pt>
                <c:pt idx="8">
                  <c:v>44075</c:v>
                </c:pt>
                <c:pt idx="9">
                  <c:v>44105</c:v>
                </c:pt>
                <c:pt idx="10">
                  <c:v>44136</c:v>
                </c:pt>
                <c:pt idx="11">
                  <c:v>44166</c:v>
                </c:pt>
                <c:pt idx="12">
                  <c:v>44197</c:v>
                </c:pt>
                <c:pt idx="13">
                  <c:v>44228</c:v>
                </c:pt>
                <c:pt idx="14">
                  <c:v>44256</c:v>
                </c:pt>
                <c:pt idx="15">
                  <c:v>44287</c:v>
                </c:pt>
                <c:pt idx="16">
                  <c:v>44317</c:v>
                </c:pt>
                <c:pt idx="17">
                  <c:v>44348</c:v>
                </c:pt>
                <c:pt idx="18">
                  <c:v>44378</c:v>
                </c:pt>
                <c:pt idx="19">
                  <c:v>44409</c:v>
                </c:pt>
                <c:pt idx="20">
                  <c:v>44440</c:v>
                </c:pt>
                <c:pt idx="21">
                  <c:v>44470</c:v>
                </c:pt>
                <c:pt idx="22">
                  <c:v>44501</c:v>
                </c:pt>
                <c:pt idx="23">
                  <c:v>44531</c:v>
                </c:pt>
              </c:numCache>
            </c:numRef>
          </c:cat>
          <c:val>
            <c:numRef>
              <c:f>Hoja1!$E$2:$E$25</c:f>
              <c:numCache>
                <c:formatCode>General</c:formatCode>
                <c:ptCount val="24"/>
                <c:pt idx="0">
                  <c:v>17.871685493676992</c:v>
                </c:pt>
                <c:pt idx="1">
                  <c:v>16.742393614498319</c:v>
                </c:pt>
                <c:pt idx="2">
                  <c:v>4.7209814521110838</c:v>
                </c:pt>
                <c:pt idx="3">
                  <c:v>-2.2824550894625539</c:v>
                </c:pt>
                <c:pt idx="4">
                  <c:v>-11.293018291980484</c:v>
                </c:pt>
                <c:pt idx="5">
                  <c:v>-14.081315293514429</c:v>
                </c:pt>
                <c:pt idx="6">
                  <c:v>-13.293385230852007</c:v>
                </c:pt>
                <c:pt idx="7">
                  <c:v>-14.935864414200728</c:v>
                </c:pt>
                <c:pt idx="8">
                  <c:v>-12.749961794058384</c:v>
                </c:pt>
                <c:pt idx="9">
                  <c:v>-11.573073579672311</c:v>
                </c:pt>
                <c:pt idx="10">
                  <c:v>-10.398470722028009</c:v>
                </c:pt>
                <c:pt idx="11">
                  <c:v>-6.9107730478867531</c:v>
                </c:pt>
              </c:numCache>
            </c:numRef>
          </c:val>
          <c:smooth val="0"/>
          <c:extLst>
            <c:ext xmlns:c16="http://schemas.microsoft.com/office/drawing/2014/chart" uri="{C3380CC4-5D6E-409C-BE32-E72D297353CC}">
              <c16:uniqueId val="{00000003-6196-4B74-B6B4-742F34AFD4B3}"/>
            </c:ext>
          </c:extLst>
        </c:ser>
        <c:ser>
          <c:idx val="5"/>
          <c:order val="3"/>
          <c:tx>
            <c:strRef>
              <c:f>Hoja1!$G$1</c:f>
              <c:strCache>
                <c:ptCount val="1"/>
                <c:pt idx="0">
                  <c:v>ISR2</c:v>
                </c:pt>
              </c:strCache>
            </c:strRef>
          </c:tx>
          <c:spPr>
            <a:ln w="28575" cap="rnd">
              <a:solidFill>
                <a:schemeClr val="tx1"/>
              </a:solidFill>
              <a:round/>
            </a:ln>
            <a:effectLst/>
          </c:spPr>
          <c:marker>
            <c:symbol val="plus"/>
            <c:size val="7"/>
            <c:spPr>
              <a:noFill/>
              <a:ln w="9525">
                <a:solidFill>
                  <a:schemeClr val="tx1"/>
                </a:solidFill>
              </a:ln>
              <a:effectLst/>
            </c:spPr>
          </c:marker>
          <c:dLbls>
            <c:dLbl>
              <c:idx val="11"/>
              <c:layout>
                <c:manualLayout>
                  <c:x val="-3.7439613526570048E-2"/>
                  <c:y val="-0.11382705733271013"/>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s-GT"/>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196-4B74-B6B4-742F34AFD4B3}"/>
                </c:ext>
              </c:extLst>
            </c:dLbl>
            <c:dLbl>
              <c:idx val="23"/>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s-GT"/>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196-4B74-B6B4-742F34AFD4B3}"/>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s-GT"/>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A$2:$A$25</c:f>
              <c:numCache>
                <c:formatCode>mmm\-yy</c:formatCode>
                <c:ptCount val="24"/>
                <c:pt idx="0">
                  <c:v>43831</c:v>
                </c:pt>
                <c:pt idx="1">
                  <c:v>43862</c:v>
                </c:pt>
                <c:pt idx="2">
                  <c:v>43891</c:v>
                </c:pt>
                <c:pt idx="3">
                  <c:v>43922</c:v>
                </c:pt>
                <c:pt idx="4">
                  <c:v>43952</c:v>
                </c:pt>
                <c:pt idx="5">
                  <c:v>43983</c:v>
                </c:pt>
                <c:pt idx="6">
                  <c:v>44013</c:v>
                </c:pt>
                <c:pt idx="7">
                  <c:v>44044</c:v>
                </c:pt>
                <c:pt idx="8">
                  <c:v>44075</c:v>
                </c:pt>
                <c:pt idx="9">
                  <c:v>44105</c:v>
                </c:pt>
                <c:pt idx="10">
                  <c:v>44136</c:v>
                </c:pt>
                <c:pt idx="11">
                  <c:v>44166</c:v>
                </c:pt>
                <c:pt idx="12">
                  <c:v>44197</c:v>
                </c:pt>
                <c:pt idx="13">
                  <c:v>44228</c:v>
                </c:pt>
                <c:pt idx="14">
                  <c:v>44256</c:v>
                </c:pt>
                <c:pt idx="15">
                  <c:v>44287</c:v>
                </c:pt>
                <c:pt idx="16">
                  <c:v>44317</c:v>
                </c:pt>
                <c:pt idx="17">
                  <c:v>44348</c:v>
                </c:pt>
                <c:pt idx="18">
                  <c:v>44378</c:v>
                </c:pt>
                <c:pt idx="19">
                  <c:v>44409</c:v>
                </c:pt>
                <c:pt idx="20">
                  <c:v>44440</c:v>
                </c:pt>
                <c:pt idx="21">
                  <c:v>44470</c:v>
                </c:pt>
                <c:pt idx="22">
                  <c:v>44501</c:v>
                </c:pt>
                <c:pt idx="23">
                  <c:v>44531</c:v>
                </c:pt>
              </c:numCache>
            </c:numRef>
          </c:cat>
          <c:val>
            <c:numRef>
              <c:f>Hoja1!$G$2:$G$25</c:f>
              <c:numCache>
                <c:formatCode>General</c:formatCode>
                <c:ptCount val="24"/>
                <c:pt idx="11">
                  <c:v>-2.0445023291410624</c:v>
                </c:pt>
                <c:pt idx="12">
                  <c:v>7.3791155178654089</c:v>
                </c:pt>
                <c:pt idx="13">
                  <c:v>6.3241370011586806</c:v>
                </c:pt>
                <c:pt idx="14">
                  <c:v>30.895382597787634</c:v>
                </c:pt>
                <c:pt idx="15">
                  <c:v>18.724154898969701</c:v>
                </c:pt>
                <c:pt idx="16">
                  <c:v>21.830469669561769</c:v>
                </c:pt>
                <c:pt idx="17">
                  <c:v>22.481243934390484</c:v>
                </c:pt>
                <c:pt idx="18">
                  <c:v>28.767679969133543</c:v>
                </c:pt>
                <c:pt idx="19">
                  <c:v>26.979630845916837</c:v>
                </c:pt>
                <c:pt idx="20">
                  <c:v>25.552725797736954</c:v>
                </c:pt>
                <c:pt idx="21">
                  <c:v>22.540344152388194</c:v>
                </c:pt>
                <c:pt idx="22">
                  <c:v>21.410977754320992</c:v>
                </c:pt>
                <c:pt idx="23">
                  <c:v>21.360613646110899</c:v>
                </c:pt>
              </c:numCache>
            </c:numRef>
          </c:val>
          <c:smooth val="0"/>
          <c:extLst>
            <c:ext xmlns:c16="http://schemas.microsoft.com/office/drawing/2014/chart" uri="{C3380CC4-5D6E-409C-BE32-E72D297353CC}">
              <c16:uniqueId val="{00000006-6196-4B74-B6B4-742F34AFD4B3}"/>
            </c:ext>
          </c:extLst>
        </c:ser>
        <c:ser>
          <c:idx val="7"/>
          <c:order val="4"/>
          <c:tx>
            <c:strRef>
              <c:f>Hoja1!$I$1</c:f>
              <c:strCache>
                <c:ptCount val="1"/>
                <c:pt idx="0">
                  <c:v>IVA4</c:v>
                </c:pt>
              </c:strCache>
            </c:strRef>
          </c:tx>
          <c:spPr>
            <a:ln w="28575" cap="rnd">
              <a:solidFill>
                <a:schemeClr val="accent2">
                  <a:lumMod val="60000"/>
                </a:schemeClr>
              </a:solidFill>
              <a:prstDash val="sysDash"/>
              <a:round/>
            </a:ln>
            <a:effectLst/>
          </c:spPr>
          <c:marker>
            <c:symbol val="none"/>
          </c:marker>
          <c:dLbls>
            <c:dLbl>
              <c:idx val="23"/>
              <c:layout>
                <c:manualLayout>
                  <c:x val="0"/>
                  <c:y val="2.6267782461394634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lumMod val="50000"/>
                        </a:schemeClr>
                      </a:solidFill>
                      <a:latin typeface="+mn-lt"/>
                      <a:ea typeface="+mn-ea"/>
                      <a:cs typeface="+mn-cs"/>
                    </a:defRPr>
                  </a:pPr>
                  <a:endParaRPr lang="es-GT"/>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196-4B74-B6B4-742F34AFD4B3}"/>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s-GT"/>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A$2:$A$25</c:f>
              <c:numCache>
                <c:formatCode>mmm\-yy</c:formatCode>
                <c:ptCount val="24"/>
                <c:pt idx="0">
                  <c:v>43831</c:v>
                </c:pt>
                <c:pt idx="1">
                  <c:v>43862</c:v>
                </c:pt>
                <c:pt idx="2">
                  <c:v>43891</c:v>
                </c:pt>
                <c:pt idx="3">
                  <c:v>43922</c:v>
                </c:pt>
                <c:pt idx="4">
                  <c:v>43952</c:v>
                </c:pt>
                <c:pt idx="5">
                  <c:v>43983</c:v>
                </c:pt>
                <c:pt idx="6">
                  <c:v>44013</c:v>
                </c:pt>
                <c:pt idx="7">
                  <c:v>44044</c:v>
                </c:pt>
                <c:pt idx="8">
                  <c:v>44075</c:v>
                </c:pt>
                <c:pt idx="9">
                  <c:v>44105</c:v>
                </c:pt>
                <c:pt idx="10">
                  <c:v>44136</c:v>
                </c:pt>
                <c:pt idx="11">
                  <c:v>44166</c:v>
                </c:pt>
                <c:pt idx="12">
                  <c:v>44197</c:v>
                </c:pt>
                <c:pt idx="13">
                  <c:v>44228</c:v>
                </c:pt>
                <c:pt idx="14">
                  <c:v>44256</c:v>
                </c:pt>
                <c:pt idx="15">
                  <c:v>44287</c:v>
                </c:pt>
                <c:pt idx="16">
                  <c:v>44317</c:v>
                </c:pt>
                <c:pt idx="17">
                  <c:v>44348</c:v>
                </c:pt>
                <c:pt idx="18">
                  <c:v>44378</c:v>
                </c:pt>
                <c:pt idx="19">
                  <c:v>44409</c:v>
                </c:pt>
                <c:pt idx="20">
                  <c:v>44440</c:v>
                </c:pt>
                <c:pt idx="21">
                  <c:v>44470</c:v>
                </c:pt>
                <c:pt idx="22">
                  <c:v>44501</c:v>
                </c:pt>
                <c:pt idx="23">
                  <c:v>44531</c:v>
                </c:pt>
              </c:numCache>
            </c:numRef>
          </c:cat>
          <c:val>
            <c:numRef>
              <c:f>Hoja1!$I$2:$I$25</c:f>
              <c:numCache>
                <c:formatCode>General</c:formatCode>
                <c:ptCount val="24"/>
                <c:pt idx="11">
                  <c:v>-3.8781116193051246</c:v>
                </c:pt>
                <c:pt idx="12">
                  <c:v>7.4966451865984496</c:v>
                </c:pt>
                <c:pt idx="13">
                  <c:v>10.761695179241592</c:v>
                </c:pt>
                <c:pt idx="14">
                  <c:v>25.923506727346577</c:v>
                </c:pt>
                <c:pt idx="15">
                  <c:v>22.243170822768874</c:v>
                </c:pt>
                <c:pt idx="16">
                  <c:v>26.93462470476813</c:v>
                </c:pt>
                <c:pt idx="17">
                  <c:v>29.865171101624565</c:v>
                </c:pt>
                <c:pt idx="18">
                  <c:v>31.403113838032205</c:v>
                </c:pt>
                <c:pt idx="19">
                  <c:v>28.601031904396269</c:v>
                </c:pt>
                <c:pt idx="20">
                  <c:v>26.006521682594517</c:v>
                </c:pt>
                <c:pt idx="21">
                  <c:v>22.891370637951347</c:v>
                </c:pt>
                <c:pt idx="22">
                  <c:v>20.555365803440019</c:v>
                </c:pt>
                <c:pt idx="23">
                  <c:v>17.986580283000198</c:v>
                </c:pt>
              </c:numCache>
            </c:numRef>
          </c:val>
          <c:smooth val="0"/>
          <c:extLst>
            <c:ext xmlns:c16="http://schemas.microsoft.com/office/drawing/2014/chart" uri="{C3380CC4-5D6E-409C-BE32-E72D297353CC}">
              <c16:uniqueId val="{00000008-6196-4B74-B6B4-742F34AFD4B3}"/>
            </c:ext>
          </c:extLst>
        </c:ser>
        <c:ser>
          <c:idx val="8"/>
          <c:order val="5"/>
          <c:tx>
            <c:strRef>
              <c:f>Hoja1!$J$1</c:f>
              <c:strCache>
                <c:ptCount val="1"/>
                <c:pt idx="0">
                  <c:v>Petróleo5</c:v>
                </c:pt>
              </c:strCache>
            </c:strRef>
          </c:tx>
          <c:spPr>
            <a:ln w="28575" cap="rnd">
              <a:solidFill>
                <a:srgbClr val="00B050"/>
              </a:solidFill>
              <a:round/>
            </a:ln>
            <a:effectLst/>
          </c:spPr>
          <c:marker>
            <c:symbol val="diamond"/>
            <c:size val="7"/>
            <c:spPr>
              <a:solidFill>
                <a:schemeClr val="bg1"/>
              </a:solidFill>
              <a:ln w="9525">
                <a:solidFill>
                  <a:srgbClr val="00B050"/>
                </a:solidFill>
              </a:ln>
              <a:effectLst/>
            </c:spPr>
          </c:marker>
          <c:dLbls>
            <c:dLbl>
              <c:idx val="11"/>
              <c:layout>
                <c:manualLayout>
                  <c:x val="-8.9371980676328497E-2"/>
                  <c:y val="-0.16636262225549928"/>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0B050"/>
                      </a:solidFill>
                      <a:latin typeface="+mn-lt"/>
                      <a:ea typeface="+mn-ea"/>
                      <a:cs typeface="+mn-cs"/>
                    </a:defRPr>
                  </a:pPr>
                  <a:endParaRPr lang="es-GT"/>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6196-4B74-B6B4-742F34AFD4B3}"/>
                </c:ext>
              </c:extLst>
            </c:dLbl>
            <c:dLbl>
              <c:idx val="23"/>
              <c:layout>
                <c:manualLayout>
                  <c:x val="-1.7713160915506076E-16"/>
                  <c:y val="3.7942352444236695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0B050"/>
                      </a:solidFill>
                      <a:latin typeface="+mn-lt"/>
                      <a:ea typeface="+mn-ea"/>
                      <a:cs typeface="+mn-cs"/>
                    </a:defRPr>
                  </a:pPr>
                  <a:endParaRPr lang="es-GT"/>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6196-4B74-B6B4-742F34AFD4B3}"/>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0B050"/>
                    </a:solidFill>
                    <a:latin typeface="+mn-lt"/>
                    <a:ea typeface="+mn-ea"/>
                    <a:cs typeface="+mn-cs"/>
                  </a:defRPr>
                </a:pPr>
                <a:endParaRPr lang="es-GT"/>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ja1!$A$2:$A$25</c:f>
              <c:numCache>
                <c:formatCode>mmm\-yy</c:formatCode>
                <c:ptCount val="24"/>
                <c:pt idx="0">
                  <c:v>43831</c:v>
                </c:pt>
                <c:pt idx="1">
                  <c:v>43862</c:v>
                </c:pt>
                <c:pt idx="2">
                  <c:v>43891</c:v>
                </c:pt>
                <c:pt idx="3">
                  <c:v>43922</c:v>
                </c:pt>
                <c:pt idx="4">
                  <c:v>43952</c:v>
                </c:pt>
                <c:pt idx="5">
                  <c:v>43983</c:v>
                </c:pt>
                <c:pt idx="6">
                  <c:v>44013</c:v>
                </c:pt>
                <c:pt idx="7">
                  <c:v>44044</c:v>
                </c:pt>
                <c:pt idx="8">
                  <c:v>44075</c:v>
                </c:pt>
                <c:pt idx="9">
                  <c:v>44105</c:v>
                </c:pt>
                <c:pt idx="10">
                  <c:v>44136</c:v>
                </c:pt>
                <c:pt idx="11">
                  <c:v>44166</c:v>
                </c:pt>
                <c:pt idx="12">
                  <c:v>44197</c:v>
                </c:pt>
                <c:pt idx="13">
                  <c:v>44228</c:v>
                </c:pt>
                <c:pt idx="14">
                  <c:v>44256</c:v>
                </c:pt>
                <c:pt idx="15">
                  <c:v>44287</c:v>
                </c:pt>
                <c:pt idx="16">
                  <c:v>44317</c:v>
                </c:pt>
                <c:pt idx="17">
                  <c:v>44348</c:v>
                </c:pt>
                <c:pt idx="18">
                  <c:v>44378</c:v>
                </c:pt>
                <c:pt idx="19">
                  <c:v>44409</c:v>
                </c:pt>
                <c:pt idx="20">
                  <c:v>44440</c:v>
                </c:pt>
                <c:pt idx="21">
                  <c:v>44470</c:v>
                </c:pt>
                <c:pt idx="22">
                  <c:v>44501</c:v>
                </c:pt>
                <c:pt idx="23">
                  <c:v>44531</c:v>
                </c:pt>
              </c:numCache>
            </c:numRef>
          </c:cat>
          <c:val>
            <c:numRef>
              <c:f>Hoja1!$J$2:$J$25</c:f>
              <c:numCache>
                <c:formatCode>General</c:formatCode>
                <c:ptCount val="24"/>
                <c:pt idx="11">
                  <c:v>-6.9107730478867531</c:v>
                </c:pt>
                <c:pt idx="12">
                  <c:v>-14.240225206905032</c:v>
                </c:pt>
                <c:pt idx="13">
                  <c:v>-4.6120903351181237</c:v>
                </c:pt>
                <c:pt idx="14">
                  <c:v>7.1562096753226889</c:v>
                </c:pt>
                <c:pt idx="15">
                  <c:v>14.292018283520269</c:v>
                </c:pt>
                <c:pt idx="16">
                  <c:v>19.541968653401899</c:v>
                </c:pt>
                <c:pt idx="17">
                  <c:v>24.79651076624927</c:v>
                </c:pt>
                <c:pt idx="18">
                  <c:v>27.140518215939768</c:v>
                </c:pt>
                <c:pt idx="19">
                  <c:v>24.334328092972733</c:v>
                </c:pt>
                <c:pt idx="20">
                  <c:v>21.867716942281689</c:v>
                </c:pt>
                <c:pt idx="21">
                  <c:v>19.772986192588448</c:v>
                </c:pt>
                <c:pt idx="22">
                  <c:v>18.282037594948996</c:v>
                </c:pt>
                <c:pt idx="23">
                  <c:v>13.057639649182494</c:v>
                </c:pt>
              </c:numCache>
            </c:numRef>
          </c:val>
          <c:smooth val="0"/>
          <c:extLst>
            <c:ext xmlns:c16="http://schemas.microsoft.com/office/drawing/2014/chart" uri="{C3380CC4-5D6E-409C-BE32-E72D297353CC}">
              <c16:uniqueId val="{0000000B-6196-4B74-B6B4-742F34AFD4B3}"/>
            </c:ext>
          </c:extLst>
        </c:ser>
        <c:dLbls>
          <c:showLegendKey val="0"/>
          <c:showVal val="0"/>
          <c:showCatName val="0"/>
          <c:showSerName val="0"/>
          <c:showPercent val="0"/>
          <c:showBubbleSize val="0"/>
        </c:dLbls>
        <c:marker val="1"/>
        <c:smooth val="0"/>
        <c:axId val="630783488"/>
        <c:axId val="630782504"/>
      </c:lineChart>
      <c:dateAx>
        <c:axId val="630783488"/>
        <c:scaling>
          <c:orientation val="minMax"/>
        </c:scaling>
        <c:delete val="0"/>
        <c:axPos val="b"/>
        <c:numFmt formatCode="mmm\-yy" sourceLinked="1"/>
        <c:majorTickMark val="none"/>
        <c:minorTickMark val="none"/>
        <c:tickLblPos val="low"/>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GT"/>
          </a:p>
        </c:txPr>
        <c:crossAx val="630782504"/>
        <c:crosses val="autoZero"/>
        <c:auto val="1"/>
        <c:lblOffset val="100"/>
        <c:baseTimeUnit val="months"/>
      </c:dateAx>
      <c:valAx>
        <c:axId val="630782504"/>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GT"/>
          </a:p>
        </c:txPr>
        <c:crossAx val="630783488"/>
        <c:crosses val="autoZero"/>
        <c:crossBetween val="between"/>
      </c:valAx>
      <c:spPr>
        <a:noFill/>
        <a:ln>
          <a:noFill/>
        </a:ln>
        <a:effectLst/>
      </c:spPr>
    </c:plotArea>
    <c:legend>
      <c:legendPos val="b"/>
      <c:legendEntry>
        <c:idx val="3"/>
        <c:delete val="1"/>
      </c:legendEntry>
      <c:legendEntry>
        <c:idx val="4"/>
        <c:delete val="1"/>
      </c:legendEntry>
      <c:legendEntry>
        <c:idx val="5"/>
        <c:delete val="1"/>
      </c:legendEntry>
      <c:layout>
        <c:manualLayout>
          <c:xMode val="edge"/>
          <c:yMode val="edge"/>
          <c:x val="0.3899152687435809"/>
          <c:y val="2.1224499842613761E-2"/>
          <c:w val="0.33973458480733382"/>
          <c:h val="5.4212598778332899E-2"/>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effectLst/>
              <a:latin typeface="+mn-lt"/>
              <a:ea typeface="+mn-ea"/>
              <a:cs typeface="+mn-cs"/>
            </a:defRPr>
          </a:pPr>
          <a:endParaRPr lang="es-G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GT"/>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MX"/>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s-GT" sz="1800" b="1" i="0" baseline="0" dirty="0">
                <a:solidFill>
                  <a:srgbClr val="0B3963"/>
                </a:solidFill>
                <a:effectLst/>
              </a:rPr>
              <a:t>Ejecución de gasto</a:t>
            </a:r>
            <a:endParaRPr lang="es-GT" dirty="0">
              <a:solidFill>
                <a:srgbClr val="0B3963"/>
              </a:solidFill>
              <a:effectLst/>
            </a:endParaRPr>
          </a:p>
          <a:p>
            <a:pPr>
              <a:defRPr/>
            </a:pPr>
            <a:r>
              <a:rPr lang="es-GT" sz="1800" b="1" i="0" baseline="0" dirty="0">
                <a:solidFill>
                  <a:srgbClr val="0B3963"/>
                </a:solidFill>
                <a:effectLst/>
              </a:rPr>
              <a:t>Variación Interanual Acumulada (incluye amortizaciones de la deuda pública)</a:t>
            </a:r>
            <a:endParaRPr lang="es-GT" dirty="0">
              <a:solidFill>
                <a:srgbClr val="0B3963"/>
              </a:solidFill>
              <a:effectLst/>
            </a:endParaRPr>
          </a:p>
        </c:rich>
      </c:tx>
      <c:layout>
        <c:manualLayout>
          <c:xMode val="edge"/>
          <c:yMode val="edge"/>
          <c:x val="0.13038579203244241"/>
          <c:y val="6.5380360975097465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s-GT"/>
        </a:p>
      </c:txPr>
    </c:title>
    <c:autoTitleDeleted val="0"/>
    <c:plotArea>
      <c:layout>
        <c:manualLayout>
          <c:layoutTarget val="inner"/>
          <c:xMode val="edge"/>
          <c:yMode val="edge"/>
          <c:x val="4.0498037576973907E-2"/>
          <c:y val="0.17205931663279816"/>
          <c:w val="0.94503797082518681"/>
          <c:h val="0.64348998650865086"/>
        </c:manualLayout>
      </c:layout>
      <c:barChart>
        <c:barDir val="col"/>
        <c:grouping val="clustered"/>
        <c:varyColors val="0"/>
        <c:ser>
          <c:idx val="0"/>
          <c:order val="0"/>
          <c:tx>
            <c:strRef>
              <c:f>Sheet1!$B$1</c:f>
              <c:strCache>
                <c:ptCount val="1"/>
                <c:pt idx="0">
                  <c:v>2021 con COVID-19</c:v>
                </c:pt>
              </c:strCache>
            </c:strRef>
          </c:tx>
          <c:spPr>
            <a:solidFill>
              <a:schemeClr val="bg2">
                <a:lumMod val="75000"/>
              </a:schemeClr>
            </a:solidFill>
            <a:ln>
              <a:noFill/>
            </a:ln>
            <a:effectLst>
              <a:outerShdw blurRad="50800" dist="38100" dir="2700000" algn="tl" rotWithShape="0">
                <a:schemeClr val="bg1">
                  <a:lumMod val="50000"/>
                  <a:alpha val="40000"/>
                </a:schemeClr>
              </a:outerShdw>
            </a:effectLst>
            <a:scene3d>
              <a:camera prst="orthographicFront"/>
              <a:lightRig rig="threePt" dir="t"/>
            </a:scene3d>
            <a:sp3d/>
          </c:spPr>
          <c:invertIfNegative val="0"/>
          <c:dPt>
            <c:idx val="9"/>
            <c:invertIfNegative val="0"/>
            <c:bubble3D val="0"/>
            <c:spPr>
              <a:solidFill>
                <a:schemeClr val="bg2">
                  <a:lumMod val="50000"/>
                </a:schemeClr>
              </a:solidFill>
              <a:ln>
                <a:noFill/>
              </a:ln>
              <a:effectLst>
                <a:outerShdw blurRad="50800" dist="38100" dir="2700000" algn="tl" rotWithShape="0">
                  <a:schemeClr val="bg1">
                    <a:lumMod val="50000"/>
                    <a:alpha val="40000"/>
                  </a:schemeClr>
                </a:outerShdw>
              </a:effectLst>
              <a:scene3d>
                <a:camera prst="orthographicFront"/>
                <a:lightRig rig="threePt" dir="t"/>
              </a:scene3d>
              <a:sp3d>
                <a:bevelT/>
              </a:sp3d>
            </c:spPr>
            <c:extLst>
              <c:ext xmlns:c16="http://schemas.microsoft.com/office/drawing/2014/chart" uri="{C3380CC4-5D6E-409C-BE32-E72D297353CC}">
                <c16:uniqueId val="{00000003-191D-4EF7-9216-2D22FAD02251}"/>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lumMod val="50000"/>
                      </a:schemeClr>
                    </a:solidFill>
                    <a:latin typeface="+mn-lt"/>
                    <a:ea typeface="+mn-ea"/>
                    <a:cs typeface="+mn-cs"/>
                  </a:defRPr>
                </a:pPr>
                <a:endParaRPr lang="es-G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nero</c:v>
                </c:pt>
                <c:pt idx="1">
                  <c:v>Febrero</c:v>
                </c:pt>
                <c:pt idx="2">
                  <c:v>Marzo</c:v>
                </c:pt>
                <c:pt idx="3">
                  <c:v>Abril</c:v>
                </c:pt>
                <c:pt idx="4">
                  <c:v>Mayo</c:v>
                </c:pt>
                <c:pt idx="5">
                  <c:v>Junio</c:v>
                </c:pt>
                <c:pt idx="6">
                  <c:v>Julio</c:v>
                </c:pt>
                <c:pt idx="7">
                  <c:v>23 de Agosto</c:v>
                </c:pt>
                <c:pt idx="9">
                  <c:v>Diciembre</c:v>
                </c:pt>
              </c:strCache>
            </c:strRef>
          </c:cat>
          <c:val>
            <c:numRef>
              <c:f>Sheet1!$B$2:$B$11</c:f>
              <c:numCache>
                <c:formatCode>#,##0.0</c:formatCode>
                <c:ptCount val="10"/>
                <c:pt idx="0">
                  <c:v>3.1102606665003307</c:v>
                </c:pt>
                <c:pt idx="1">
                  <c:v>5.5930681844471142</c:v>
                </c:pt>
                <c:pt idx="2">
                  <c:v>1.7155335821042561</c:v>
                </c:pt>
                <c:pt idx="3">
                  <c:v>10.781770871480134</c:v>
                </c:pt>
                <c:pt idx="4">
                  <c:v>6.3012889804766159</c:v>
                </c:pt>
                <c:pt idx="5">
                  <c:v>0.27194604153937263</c:v>
                </c:pt>
                <c:pt idx="6">
                  <c:v>1.2268138748123603</c:v>
                </c:pt>
                <c:pt idx="7">
                  <c:v>1</c:v>
                </c:pt>
                <c:pt idx="9">
                  <c:v>-4.3</c:v>
                </c:pt>
              </c:numCache>
            </c:numRef>
          </c:val>
          <c:extLst>
            <c:ext xmlns:c16="http://schemas.microsoft.com/office/drawing/2014/chart" uri="{C3380CC4-5D6E-409C-BE32-E72D297353CC}">
              <c16:uniqueId val="{00000000-191D-4EF7-9216-2D22FAD02251}"/>
            </c:ext>
          </c:extLst>
        </c:ser>
        <c:ser>
          <c:idx val="1"/>
          <c:order val="1"/>
          <c:tx>
            <c:strRef>
              <c:f>Sheet1!$C$1</c:f>
              <c:strCache>
                <c:ptCount val="1"/>
                <c:pt idx="0">
                  <c:v>2021 sin COVID-19</c:v>
                </c:pt>
              </c:strCache>
            </c:strRef>
          </c:tx>
          <c:spPr>
            <a:solidFill>
              <a:schemeClr val="accent5"/>
            </a:solidFill>
            <a:ln>
              <a:noFill/>
            </a:ln>
            <a:effectLst>
              <a:outerShdw blurRad="50800" dist="38100" dir="2700000" algn="tl" rotWithShape="0">
                <a:prstClr val="black">
                  <a:alpha val="40000"/>
                </a:prstClr>
              </a:outerShdw>
            </a:effectLst>
          </c:spPr>
          <c:invertIfNegative val="0"/>
          <c:dPt>
            <c:idx val="9"/>
            <c:invertIfNegative val="0"/>
            <c:bubble3D val="0"/>
            <c:spPr>
              <a:solidFill>
                <a:schemeClr val="accent5">
                  <a:lumMod val="75000"/>
                </a:schemeClr>
              </a:solidFill>
              <a:ln>
                <a:noFill/>
              </a:ln>
              <a:effectLst>
                <a:outerShdw blurRad="50800" dist="38100" dir="2700000" algn="tl" rotWithShape="0">
                  <a:prstClr val="black">
                    <a:alpha val="40000"/>
                  </a:prstClr>
                </a:outerShdw>
              </a:effectLst>
              <a:scene3d>
                <a:camera prst="orthographicFront"/>
                <a:lightRig rig="threePt" dir="t"/>
              </a:scene3d>
              <a:sp3d>
                <a:bevelT/>
              </a:sp3d>
            </c:spPr>
            <c:extLst>
              <c:ext xmlns:c16="http://schemas.microsoft.com/office/drawing/2014/chart" uri="{C3380CC4-5D6E-409C-BE32-E72D297353CC}">
                <c16:uniqueId val="{00000002-191D-4EF7-9216-2D22FAD02251}"/>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accent1">
                        <a:lumMod val="75000"/>
                      </a:schemeClr>
                    </a:solidFill>
                    <a:latin typeface="+mn-lt"/>
                    <a:ea typeface="+mn-ea"/>
                    <a:cs typeface="+mn-cs"/>
                  </a:defRPr>
                </a:pPr>
                <a:endParaRPr lang="es-G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nero</c:v>
                </c:pt>
                <c:pt idx="1">
                  <c:v>Febrero</c:v>
                </c:pt>
                <c:pt idx="2">
                  <c:v>Marzo</c:v>
                </c:pt>
                <c:pt idx="3">
                  <c:v>Abril</c:v>
                </c:pt>
                <c:pt idx="4">
                  <c:v>Mayo</c:v>
                </c:pt>
                <c:pt idx="5">
                  <c:v>Junio</c:v>
                </c:pt>
                <c:pt idx="6">
                  <c:v>Julio</c:v>
                </c:pt>
                <c:pt idx="7">
                  <c:v>23 de Agosto</c:v>
                </c:pt>
                <c:pt idx="9">
                  <c:v>Diciembre</c:v>
                </c:pt>
              </c:strCache>
            </c:strRef>
          </c:cat>
          <c:val>
            <c:numRef>
              <c:f>Sheet1!$C$2:$C$11</c:f>
              <c:numCache>
                <c:formatCode>0.0</c:formatCode>
                <c:ptCount val="10"/>
                <c:pt idx="0">
                  <c:v>3.0404041679269085</c:v>
                </c:pt>
                <c:pt idx="1">
                  <c:v>5.3933140501525259</c:v>
                </c:pt>
                <c:pt idx="2">
                  <c:v>0.93124736378950956</c:v>
                </c:pt>
                <c:pt idx="3">
                  <c:v>6.6723343895311018</c:v>
                </c:pt>
                <c:pt idx="4">
                  <c:v>10.123679877061178</c:v>
                </c:pt>
                <c:pt idx="5">
                  <c:v>7.7778330181770059</c:v>
                </c:pt>
                <c:pt idx="6">
                  <c:v>9.4650582043517772</c:v>
                </c:pt>
                <c:pt idx="7">
                  <c:v>14.228260344943465</c:v>
                </c:pt>
                <c:pt idx="9">
                  <c:v>7.9</c:v>
                </c:pt>
              </c:numCache>
            </c:numRef>
          </c:val>
          <c:extLst>
            <c:ext xmlns:c16="http://schemas.microsoft.com/office/drawing/2014/chart" uri="{C3380CC4-5D6E-409C-BE32-E72D297353CC}">
              <c16:uniqueId val="{00000001-191D-4EF7-9216-2D22FAD02251}"/>
            </c:ext>
          </c:extLst>
        </c:ser>
        <c:dLbls>
          <c:showLegendKey val="0"/>
          <c:showVal val="0"/>
          <c:showCatName val="0"/>
          <c:showSerName val="0"/>
          <c:showPercent val="0"/>
          <c:showBubbleSize val="0"/>
        </c:dLbls>
        <c:gapWidth val="70"/>
        <c:overlap val="-27"/>
        <c:axId val="695078928"/>
        <c:axId val="695079584"/>
      </c:barChart>
      <c:catAx>
        <c:axId val="69507892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s-GT"/>
          </a:p>
        </c:txPr>
        <c:crossAx val="695079584"/>
        <c:crosses val="autoZero"/>
        <c:auto val="1"/>
        <c:lblAlgn val="ctr"/>
        <c:lblOffset val="100"/>
        <c:noMultiLvlLbl val="0"/>
      </c:catAx>
      <c:valAx>
        <c:axId val="695079584"/>
        <c:scaling>
          <c:orientation val="minMax"/>
          <c:max val="16"/>
          <c:min val="-6"/>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GT"/>
          </a:p>
        </c:txPr>
        <c:crossAx val="695078928"/>
        <c:crosses val="autoZero"/>
        <c:crossBetween val="between"/>
      </c:valAx>
      <c:spPr>
        <a:noFill/>
        <a:ln>
          <a:noFill/>
        </a:ln>
        <a:effectLst/>
      </c:spPr>
    </c:plotArea>
    <c:legend>
      <c:legendPos val="b"/>
      <c:layout>
        <c:manualLayout>
          <c:xMode val="edge"/>
          <c:yMode val="edge"/>
          <c:x val="7.1428719337269631E-2"/>
          <c:y val="0.1425061922580729"/>
          <c:w val="0.21038978438402448"/>
          <c:h val="0.13712217959247269"/>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s-GT"/>
        </a:p>
      </c:txPr>
    </c:legend>
    <c:plotVisOnly val="1"/>
    <c:dispBlanksAs val="gap"/>
    <c:showDLblsOverMax val="0"/>
  </c:chart>
  <c:spPr>
    <a:noFill/>
    <a:ln>
      <a:noFill/>
    </a:ln>
    <a:effectLst/>
  </c:spPr>
  <c:txPr>
    <a:bodyPr/>
    <a:lstStyle/>
    <a:p>
      <a:pPr>
        <a:defRPr/>
      </a:pPr>
      <a:endParaRPr lang="es-GT"/>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MX"/>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chemeClr val="tx1"/>
                </a:solidFill>
                <a:latin typeface="+mn-lt"/>
                <a:ea typeface="+mn-ea"/>
                <a:cs typeface="+mn-cs"/>
              </a:defRPr>
            </a:pPr>
            <a:r>
              <a:rPr lang="en-US" sz="1600" b="1" dirty="0">
                <a:solidFill>
                  <a:srgbClr val="0B3963"/>
                </a:solidFill>
              </a:rPr>
              <a:t>Carga </a:t>
            </a:r>
            <a:r>
              <a:rPr lang="en-US" sz="1600" b="1" dirty="0" err="1">
                <a:solidFill>
                  <a:srgbClr val="0B3963"/>
                </a:solidFill>
              </a:rPr>
              <a:t>Tributaria</a:t>
            </a:r>
            <a:endParaRPr lang="en-US" sz="1600" b="1" dirty="0">
              <a:solidFill>
                <a:srgbClr val="0B3963"/>
              </a:solidFill>
            </a:endParaRPr>
          </a:p>
        </c:rich>
      </c:tx>
      <c:layout>
        <c:manualLayout>
          <c:xMode val="edge"/>
          <c:yMode val="edge"/>
          <c:x val="0.35598276480605207"/>
          <c:y val="0"/>
        </c:manualLayout>
      </c:layout>
      <c:overlay val="0"/>
      <c:spPr>
        <a:noFill/>
        <a:ln>
          <a:noFill/>
        </a:ln>
        <a:effectLst/>
      </c:spPr>
      <c:txPr>
        <a:bodyPr rot="0" spcFirstLastPara="1" vertOverflow="ellipsis" vert="horz" wrap="square" anchor="ctr" anchorCtr="1"/>
        <a:lstStyle/>
        <a:p>
          <a:pPr>
            <a:defRPr sz="1600" b="1" i="0" u="none" strike="noStrike" kern="1200" spc="0" baseline="0">
              <a:solidFill>
                <a:schemeClr val="tx1"/>
              </a:solidFill>
              <a:latin typeface="+mn-lt"/>
              <a:ea typeface="+mn-ea"/>
              <a:cs typeface="+mn-cs"/>
            </a:defRPr>
          </a:pPr>
          <a:endParaRPr lang="es-GT"/>
        </a:p>
      </c:txPr>
    </c:title>
    <c:autoTitleDeleted val="0"/>
    <c:plotArea>
      <c:layout/>
      <c:barChart>
        <c:barDir val="col"/>
        <c:grouping val="stacked"/>
        <c:varyColors val="0"/>
        <c:ser>
          <c:idx val="0"/>
          <c:order val="0"/>
          <c:tx>
            <c:strRef>
              <c:f>Hoja1!$B$1</c:f>
              <c:strCache>
                <c:ptCount val="1"/>
                <c:pt idx="0">
                  <c:v>Serie 1</c:v>
                </c:pt>
              </c:strCache>
            </c:strRef>
          </c:tx>
          <c:spPr>
            <a:solidFill>
              <a:schemeClr val="accent1">
                <a:lumMod val="60000"/>
                <a:lumOff val="40000"/>
              </a:schemeClr>
            </a:solidFill>
            <a:ln>
              <a:noFill/>
            </a:ln>
            <a:effectLst/>
          </c:spPr>
          <c:invertIfNegative val="0"/>
          <c:dPt>
            <c:idx val="2"/>
            <c:invertIfNegative val="0"/>
            <c:bubble3D val="0"/>
            <c:spPr>
              <a:solidFill>
                <a:schemeClr val="accent1">
                  <a:lumMod val="75000"/>
                </a:schemeClr>
              </a:solidFill>
              <a:ln>
                <a:noFill/>
              </a:ln>
              <a:effectLst/>
            </c:spPr>
            <c:extLst>
              <c:ext xmlns:c16="http://schemas.microsoft.com/office/drawing/2014/chart" uri="{C3380CC4-5D6E-409C-BE32-E72D297353CC}">
                <c16:uniqueId val="{00000001-D62E-4BBB-AA4B-FA30AEF0991C}"/>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s-G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2020</c:v>
                </c:pt>
                <c:pt idx="1">
                  <c:v>Presupuesto vigente 2021</c:v>
                </c:pt>
                <c:pt idx="2">
                  <c:v>Estimación 2021</c:v>
                </c:pt>
              </c:strCache>
            </c:strRef>
          </c:cat>
          <c:val>
            <c:numRef>
              <c:f>Hoja1!$B$2:$B$4</c:f>
              <c:numCache>
                <c:formatCode>General</c:formatCode>
                <c:ptCount val="3"/>
                <c:pt idx="0">
                  <c:v>10.1</c:v>
                </c:pt>
                <c:pt idx="1">
                  <c:v>9.9</c:v>
                </c:pt>
                <c:pt idx="2">
                  <c:v>10.1</c:v>
                </c:pt>
              </c:numCache>
            </c:numRef>
          </c:val>
          <c:extLst>
            <c:ext xmlns:c16="http://schemas.microsoft.com/office/drawing/2014/chart" uri="{C3380CC4-5D6E-409C-BE32-E72D297353CC}">
              <c16:uniqueId val="{00000002-D62E-4BBB-AA4B-FA30AEF0991C}"/>
            </c:ext>
          </c:extLst>
        </c:ser>
        <c:ser>
          <c:idx val="1"/>
          <c:order val="1"/>
          <c:tx>
            <c:strRef>
              <c:f>Hoja1!$C$1</c:f>
              <c:strCache>
                <c:ptCount val="1"/>
                <c:pt idx="0">
                  <c:v>Serie 2</c:v>
                </c:pt>
              </c:strCache>
            </c:strRef>
          </c:tx>
          <c:spPr>
            <a:solidFill>
              <a:srgbClr val="FFC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s-G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2020</c:v>
                </c:pt>
                <c:pt idx="1">
                  <c:v>Presupuesto vigente 2021</c:v>
                </c:pt>
                <c:pt idx="2">
                  <c:v>Estimación 2021</c:v>
                </c:pt>
              </c:strCache>
            </c:strRef>
          </c:cat>
          <c:val>
            <c:numRef>
              <c:f>Hoja1!$C$2:$C$4</c:f>
              <c:numCache>
                <c:formatCode>General</c:formatCode>
                <c:ptCount val="3"/>
                <c:pt idx="2">
                  <c:v>0.9</c:v>
                </c:pt>
              </c:numCache>
            </c:numRef>
          </c:val>
          <c:extLst>
            <c:ext xmlns:c16="http://schemas.microsoft.com/office/drawing/2014/chart" uri="{C3380CC4-5D6E-409C-BE32-E72D297353CC}">
              <c16:uniqueId val="{00000003-D62E-4BBB-AA4B-FA30AEF0991C}"/>
            </c:ext>
          </c:extLst>
        </c:ser>
        <c:dLbls>
          <c:showLegendKey val="0"/>
          <c:showVal val="0"/>
          <c:showCatName val="0"/>
          <c:showSerName val="0"/>
          <c:showPercent val="0"/>
          <c:showBubbleSize val="0"/>
        </c:dLbls>
        <c:gapWidth val="80"/>
        <c:overlap val="100"/>
        <c:axId val="820041824"/>
        <c:axId val="820042152"/>
      </c:barChart>
      <c:catAx>
        <c:axId val="8200418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s-GT"/>
          </a:p>
        </c:txPr>
        <c:crossAx val="820042152"/>
        <c:crosses val="autoZero"/>
        <c:auto val="1"/>
        <c:lblAlgn val="ctr"/>
        <c:lblOffset val="100"/>
        <c:noMultiLvlLbl val="0"/>
      </c:catAx>
      <c:valAx>
        <c:axId val="820042152"/>
        <c:scaling>
          <c:orientation val="minMax"/>
          <c:min val="5"/>
        </c:scaling>
        <c:delete val="1"/>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8200418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GT"/>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MX"/>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chemeClr val="tx1"/>
                </a:solidFill>
                <a:latin typeface="+mn-lt"/>
                <a:ea typeface="+mn-ea"/>
                <a:cs typeface="+mn-cs"/>
              </a:defRPr>
            </a:pPr>
            <a:r>
              <a:rPr lang="en-US" sz="1600" b="1" dirty="0" err="1">
                <a:solidFill>
                  <a:srgbClr val="0B3963"/>
                </a:solidFill>
              </a:rPr>
              <a:t>Gasto</a:t>
            </a:r>
            <a:r>
              <a:rPr lang="en-US" sz="1600" b="1" dirty="0">
                <a:solidFill>
                  <a:srgbClr val="0B3963"/>
                </a:solidFill>
              </a:rPr>
              <a:t> </a:t>
            </a:r>
            <a:r>
              <a:rPr lang="en-US" sz="1600" b="1" dirty="0" err="1">
                <a:solidFill>
                  <a:srgbClr val="0B3963"/>
                </a:solidFill>
              </a:rPr>
              <a:t>Público</a:t>
            </a:r>
            <a:r>
              <a:rPr lang="en-US" sz="1600" b="1" dirty="0">
                <a:solidFill>
                  <a:srgbClr val="0B3963"/>
                </a:solidFill>
              </a:rPr>
              <a:t>*</a:t>
            </a:r>
          </a:p>
        </c:rich>
      </c:tx>
      <c:layout>
        <c:manualLayout>
          <c:xMode val="edge"/>
          <c:yMode val="edge"/>
          <c:x val="0.37840396098752332"/>
          <c:y val="0"/>
        </c:manualLayout>
      </c:layout>
      <c:overlay val="0"/>
      <c:spPr>
        <a:noFill/>
        <a:ln>
          <a:noFill/>
        </a:ln>
        <a:effectLst/>
      </c:spPr>
      <c:txPr>
        <a:bodyPr rot="0" spcFirstLastPara="1" vertOverflow="ellipsis" vert="horz" wrap="square" anchor="ctr" anchorCtr="1"/>
        <a:lstStyle/>
        <a:p>
          <a:pPr>
            <a:defRPr sz="1600" b="1" i="0" u="none" strike="noStrike" kern="1200" spc="0" baseline="0">
              <a:solidFill>
                <a:schemeClr val="tx1"/>
              </a:solidFill>
              <a:latin typeface="+mn-lt"/>
              <a:ea typeface="+mn-ea"/>
              <a:cs typeface="+mn-cs"/>
            </a:defRPr>
          </a:pPr>
          <a:endParaRPr lang="es-GT"/>
        </a:p>
      </c:txPr>
    </c:title>
    <c:autoTitleDeleted val="0"/>
    <c:plotArea>
      <c:layout>
        <c:manualLayout>
          <c:layoutTarget val="inner"/>
          <c:xMode val="edge"/>
          <c:yMode val="edge"/>
          <c:x val="3.628329805729421E-2"/>
          <c:y val="0.18773928736772116"/>
          <c:w val="0.93859749559534822"/>
          <c:h val="0.62065804914277256"/>
        </c:manualLayout>
      </c:layout>
      <c:barChart>
        <c:barDir val="col"/>
        <c:grouping val="clustered"/>
        <c:varyColors val="0"/>
        <c:ser>
          <c:idx val="0"/>
          <c:order val="0"/>
          <c:tx>
            <c:strRef>
              <c:f>Hoja1!$B$1</c:f>
              <c:strCache>
                <c:ptCount val="1"/>
                <c:pt idx="0">
                  <c:v>Serie 1</c:v>
                </c:pt>
              </c:strCache>
            </c:strRef>
          </c:tx>
          <c:spPr>
            <a:solidFill>
              <a:schemeClr val="accent5">
                <a:lumMod val="60000"/>
                <a:lumOff val="40000"/>
              </a:schemeClr>
            </a:solidFill>
            <a:ln>
              <a:noFill/>
            </a:ln>
            <a:effectLst/>
          </c:spPr>
          <c:invertIfNegative val="0"/>
          <c:dPt>
            <c:idx val="2"/>
            <c:invertIfNegative val="0"/>
            <c:bubble3D val="0"/>
            <c:spPr>
              <a:solidFill>
                <a:srgbClr val="0385B3"/>
              </a:solidFill>
              <a:ln>
                <a:noFill/>
              </a:ln>
              <a:effectLst/>
            </c:spPr>
            <c:extLst>
              <c:ext xmlns:c16="http://schemas.microsoft.com/office/drawing/2014/chart" uri="{C3380CC4-5D6E-409C-BE32-E72D297353CC}">
                <c16:uniqueId val="{00000001-ABA5-400B-B738-C285DB841377}"/>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385B3"/>
                    </a:solidFill>
                    <a:latin typeface="+mn-lt"/>
                    <a:ea typeface="+mn-ea"/>
                    <a:cs typeface="+mn-cs"/>
                  </a:defRPr>
                </a:pPr>
                <a:endParaRPr lang="es-G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2020</c:v>
                </c:pt>
                <c:pt idx="1">
                  <c:v>Presupuesto vigente 2021</c:v>
                </c:pt>
                <c:pt idx="2">
                  <c:v>Estimación 2021</c:v>
                </c:pt>
              </c:strCache>
            </c:strRef>
          </c:cat>
          <c:val>
            <c:numRef>
              <c:f>Hoja1!$B$2:$B$4</c:f>
              <c:numCache>
                <c:formatCode>General</c:formatCode>
                <c:ptCount val="3"/>
                <c:pt idx="0">
                  <c:v>15.6</c:v>
                </c:pt>
                <c:pt idx="1">
                  <c:v>16.100000000000001</c:v>
                </c:pt>
                <c:pt idx="2">
                  <c:v>13.9</c:v>
                </c:pt>
              </c:numCache>
            </c:numRef>
          </c:val>
          <c:extLst>
            <c:ext xmlns:c16="http://schemas.microsoft.com/office/drawing/2014/chart" uri="{C3380CC4-5D6E-409C-BE32-E72D297353CC}">
              <c16:uniqueId val="{00000002-ABA5-400B-B738-C285DB841377}"/>
            </c:ext>
          </c:extLst>
        </c:ser>
        <c:dLbls>
          <c:showLegendKey val="0"/>
          <c:showVal val="0"/>
          <c:showCatName val="0"/>
          <c:showSerName val="0"/>
          <c:showPercent val="0"/>
          <c:showBubbleSize val="0"/>
        </c:dLbls>
        <c:gapWidth val="80"/>
        <c:overlap val="-27"/>
        <c:axId val="820041824"/>
        <c:axId val="820042152"/>
      </c:barChart>
      <c:catAx>
        <c:axId val="8200418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s-GT"/>
          </a:p>
        </c:txPr>
        <c:crossAx val="820042152"/>
        <c:crosses val="autoZero"/>
        <c:auto val="1"/>
        <c:lblAlgn val="ctr"/>
        <c:lblOffset val="100"/>
        <c:noMultiLvlLbl val="0"/>
      </c:catAx>
      <c:valAx>
        <c:axId val="820042152"/>
        <c:scaling>
          <c:orientation val="minMax"/>
          <c:min val="5"/>
        </c:scaling>
        <c:delete val="1"/>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crossAx val="8200418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GT"/>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333">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65000"/>
        <a:lumOff val="3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50000"/>
            <a:lumOff val="50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915" b="0" kern="1200" spc="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2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image" Target="../media/image5.png"/></Relationships>
</file>

<file path=ppt/diagrams/_rels/data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image" Target="../media/image8.jpg"/></Relationships>
</file>

<file path=ppt/diagrams/_rels/drawing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image" Target="../media/image5.png"/></Relationships>
</file>

<file path=ppt/diagrams/_rels/drawing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image" Target="../media/image8.jp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9E4B0C9-76C2-4D08-B373-7B6AAD944F26}" type="doc">
      <dgm:prSet loTypeId="urn:microsoft.com/office/officeart/2005/8/layout/hList7" loCatId="list" qsTypeId="urn:microsoft.com/office/officeart/2005/8/quickstyle/simple1" qsCatId="simple" csTypeId="urn:microsoft.com/office/officeart/2005/8/colors/accent1_2" csCatId="accent1" phldr="1"/>
      <dgm:spPr/>
      <dgm:t>
        <a:bodyPr/>
        <a:lstStyle/>
        <a:p>
          <a:endParaRPr lang="es-GT"/>
        </a:p>
      </dgm:t>
    </dgm:pt>
    <dgm:pt modelId="{84DAAFCC-3EE4-4E0D-BB6C-5C21F7FFC938}">
      <dgm:prSet custT="1"/>
      <dgm:spPr>
        <a:solidFill>
          <a:srgbClr val="0385B3"/>
        </a:solidFill>
      </dgm:spPr>
      <dgm:t>
        <a:bodyPr/>
        <a:lstStyle/>
        <a:p>
          <a:r>
            <a:rPr lang="es-GT" sz="1800" dirty="0"/>
            <a:t>Como resultado de la improbación del proyecto de presupuesto para 2021 por parte del Congreso, según lo que establece el Artículo 171 de la Constitución Política de la República de Guatemala queda en vigencia el presupuesto de 2020 </a:t>
          </a:r>
          <a:r>
            <a:rPr lang="es-GT" sz="1800" b="1" dirty="0"/>
            <a:t>(Q107,521.5 millones)</a:t>
          </a:r>
        </a:p>
      </dgm:t>
    </dgm:pt>
    <dgm:pt modelId="{74FF22A5-3165-47A4-BFC6-2BDB75E492A2}" type="parTrans" cxnId="{BE4B3325-665C-48C3-9C36-9DE11DE4ACAC}">
      <dgm:prSet/>
      <dgm:spPr/>
      <dgm:t>
        <a:bodyPr/>
        <a:lstStyle/>
        <a:p>
          <a:endParaRPr lang="es-GT"/>
        </a:p>
      </dgm:t>
    </dgm:pt>
    <dgm:pt modelId="{7B882685-5038-44B9-8708-358A4D104F68}" type="sibTrans" cxnId="{BE4B3325-665C-48C3-9C36-9DE11DE4ACAC}">
      <dgm:prSet/>
      <dgm:spPr/>
      <dgm:t>
        <a:bodyPr/>
        <a:lstStyle/>
        <a:p>
          <a:endParaRPr lang="es-GT"/>
        </a:p>
      </dgm:t>
    </dgm:pt>
    <dgm:pt modelId="{107B8132-D5EE-41A6-B5D5-3F7F2DBD2C07}">
      <dgm:prSet custT="1"/>
      <dgm:spPr>
        <a:solidFill>
          <a:schemeClr val="accent5">
            <a:lumMod val="50000"/>
          </a:schemeClr>
        </a:solidFill>
      </dgm:spPr>
      <dgm:t>
        <a:bodyPr/>
        <a:lstStyle/>
        <a:p>
          <a:pPr algn="ctr"/>
          <a:r>
            <a:rPr lang="es-GT" sz="1600" b="1" dirty="0"/>
            <a:t>El presupuesto contiene fuentes financieras que no podrán utilizarse en 2021:</a:t>
          </a:r>
        </a:p>
        <a:p>
          <a:pPr algn="l"/>
          <a:r>
            <a:rPr lang="es-GT" sz="1600" dirty="0"/>
            <a:t>·Colocación de Bonos del Tesoro con el Banco de Guatemala (Q11,000 millones)</a:t>
          </a:r>
        </a:p>
        <a:p>
          <a:pPr algn="l"/>
          <a:r>
            <a:rPr lang="es-GT" sz="1600" dirty="0"/>
            <a:t>·Algunas operaciones de préstamo que fueron desembolsadas en 2020</a:t>
          </a:r>
        </a:p>
        <a:p>
          <a:pPr algn="l"/>
          <a:r>
            <a:rPr lang="es-GT" sz="1600" dirty="0"/>
            <a:t>·Además el gasto de emergencia por el COVID-19, fue solo para 2020</a:t>
          </a:r>
        </a:p>
      </dgm:t>
    </dgm:pt>
    <dgm:pt modelId="{BB47A090-A897-4178-97A6-D747841372AB}" type="parTrans" cxnId="{7BABAECB-929A-4A84-8DD6-55C4B5A9D6B5}">
      <dgm:prSet/>
      <dgm:spPr/>
      <dgm:t>
        <a:bodyPr/>
        <a:lstStyle/>
        <a:p>
          <a:endParaRPr lang="es-GT"/>
        </a:p>
      </dgm:t>
    </dgm:pt>
    <dgm:pt modelId="{39D7192F-2795-4629-BE8C-765658BC0E0E}" type="sibTrans" cxnId="{7BABAECB-929A-4A84-8DD6-55C4B5A9D6B5}">
      <dgm:prSet/>
      <dgm:spPr/>
      <dgm:t>
        <a:bodyPr/>
        <a:lstStyle/>
        <a:p>
          <a:endParaRPr lang="es-GT"/>
        </a:p>
      </dgm:t>
    </dgm:pt>
    <dgm:pt modelId="{0EA3FFCE-59FE-4043-B33C-F9332E5289C3}">
      <dgm:prSet custT="1"/>
      <dgm:spPr>
        <a:solidFill>
          <a:srgbClr val="0B3963"/>
        </a:solidFill>
      </dgm:spPr>
      <dgm:t>
        <a:bodyPr/>
        <a:lstStyle/>
        <a:p>
          <a:r>
            <a:rPr lang="es-GT" sz="2000" dirty="0"/>
            <a:t>El Organismo Ejecutivo tiene que realizar las modificaciones para viabilizar la </a:t>
          </a:r>
          <a:r>
            <a:rPr lang="es-GT" sz="2000" b="1" dirty="0"/>
            <a:t>ejecución presupuestaria de 2021</a:t>
          </a:r>
        </a:p>
      </dgm:t>
    </dgm:pt>
    <dgm:pt modelId="{17677347-7FA9-4994-B74C-70E2BA3F4D27}" type="parTrans" cxnId="{233213A7-21BC-40D9-89DF-25A5BF1886B3}">
      <dgm:prSet/>
      <dgm:spPr/>
      <dgm:t>
        <a:bodyPr/>
        <a:lstStyle/>
        <a:p>
          <a:endParaRPr lang="es-GT"/>
        </a:p>
      </dgm:t>
    </dgm:pt>
    <dgm:pt modelId="{CAA00787-D05B-4F90-B252-F8C2A67F067C}" type="sibTrans" cxnId="{233213A7-21BC-40D9-89DF-25A5BF1886B3}">
      <dgm:prSet/>
      <dgm:spPr/>
      <dgm:t>
        <a:bodyPr/>
        <a:lstStyle/>
        <a:p>
          <a:endParaRPr lang="es-GT"/>
        </a:p>
      </dgm:t>
    </dgm:pt>
    <dgm:pt modelId="{CF054FF3-2CA3-44D8-9ECD-156B4F627522}" type="pres">
      <dgm:prSet presAssocID="{B9E4B0C9-76C2-4D08-B373-7B6AAD944F26}" presName="Name0" presStyleCnt="0">
        <dgm:presLayoutVars>
          <dgm:dir/>
          <dgm:resizeHandles val="exact"/>
        </dgm:presLayoutVars>
      </dgm:prSet>
      <dgm:spPr/>
    </dgm:pt>
    <dgm:pt modelId="{0B685F64-2A78-44CB-9E0A-01FFF7F57669}" type="pres">
      <dgm:prSet presAssocID="{B9E4B0C9-76C2-4D08-B373-7B6AAD944F26}" presName="fgShape" presStyleLbl="fgShp" presStyleIdx="0" presStyleCnt="1" custScaleX="84616" custScaleY="57636" custLinFactNeighborX="1236" custLinFactNeighborY="13708"/>
      <dgm:spPr>
        <a:solidFill>
          <a:schemeClr val="accent3">
            <a:lumMod val="40000"/>
            <a:lumOff val="60000"/>
          </a:schemeClr>
        </a:solidFill>
        <a:ln>
          <a:noFill/>
        </a:ln>
      </dgm:spPr>
    </dgm:pt>
    <dgm:pt modelId="{4EFE238F-6B1D-402C-AB86-04527D104059}" type="pres">
      <dgm:prSet presAssocID="{B9E4B0C9-76C2-4D08-B373-7B6AAD944F26}" presName="linComp" presStyleCnt="0"/>
      <dgm:spPr/>
    </dgm:pt>
    <dgm:pt modelId="{92D4FB29-78D6-48FA-93BD-73F0A8196AA7}" type="pres">
      <dgm:prSet presAssocID="{84DAAFCC-3EE4-4E0D-BB6C-5C21F7FFC938}" presName="compNode" presStyleCnt="0"/>
      <dgm:spPr/>
    </dgm:pt>
    <dgm:pt modelId="{C8F9FFD8-FB1B-419B-9C67-3FC9DED3835E}" type="pres">
      <dgm:prSet presAssocID="{84DAAFCC-3EE4-4E0D-BB6C-5C21F7FFC938}" presName="bkgdShape" presStyleLbl="node1" presStyleIdx="0" presStyleCnt="3"/>
      <dgm:spPr/>
    </dgm:pt>
    <dgm:pt modelId="{84B3B328-115A-4CA1-95D5-2B89DE3D3775}" type="pres">
      <dgm:prSet presAssocID="{84DAAFCC-3EE4-4E0D-BB6C-5C21F7FFC938}" presName="nodeTx" presStyleLbl="node1" presStyleIdx="0" presStyleCnt="3">
        <dgm:presLayoutVars>
          <dgm:bulletEnabled val="1"/>
        </dgm:presLayoutVars>
      </dgm:prSet>
      <dgm:spPr/>
    </dgm:pt>
    <dgm:pt modelId="{9AA70580-3211-4804-A546-9E56076D992F}" type="pres">
      <dgm:prSet presAssocID="{84DAAFCC-3EE4-4E0D-BB6C-5C21F7FFC938}" presName="invisiNode" presStyleLbl="node1" presStyleIdx="0" presStyleCnt="3"/>
      <dgm:spPr/>
    </dgm:pt>
    <dgm:pt modelId="{7F969287-43A3-4D9B-A9B2-43B973CFB29A}" type="pres">
      <dgm:prSet presAssocID="{84DAAFCC-3EE4-4E0D-BB6C-5C21F7FFC938}" presName="imagNode" presStyleLbl="fgImgPlace1" presStyleIdx="0" presStyleCnt="3" custLinFactNeighborY="-11577"/>
      <dgm:spPr>
        <a:blipFill>
          <a:blip xmlns:r="http://schemas.openxmlformats.org/officeDocument/2006/relationships" r:embed="rId1">
            <a:extLst>
              <a:ext uri="{28A0092B-C50C-407E-A947-70E740481C1C}">
                <a14:useLocalDpi xmlns:a14="http://schemas.microsoft.com/office/drawing/2010/main" val="0"/>
              </a:ext>
            </a:extLst>
          </a:blip>
          <a:srcRect/>
          <a:stretch>
            <a:fillRect l="-25000" r="-25000"/>
          </a:stretch>
        </a:blipFill>
      </dgm:spPr>
    </dgm:pt>
    <dgm:pt modelId="{4481A8E7-B50B-4B29-B54F-820BB20EF483}" type="pres">
      <dgm:prSet presAssocID="{7B882685-5038-44B9-8708-358A4D104F68}" presName="sibTrans" presStyleLbl="sibTrans2D1" presStyleIdx="0" presStyleCnt="0"/>
      <dgm:spPr/>
    </dgm:pt>
    <dgm:pt modelId="{81DDAAD2-F325-41A1-BA7C-F4EBD8474487}" type="pres">
      <dgm:prSet presAssocID="{107B8132-D5EE-41A6-B5D5-3F7F2DBD2C07}" presName="compNode" presStyleCnt="0"/>
      <dgm:spPr/>
    </dgm:pt>
    <dgm:pt modelId="{66309E76-B536-48E3-A836-BF819DE7E96E}" type="pres">
      <dgm:prSet presAssocID="{107B8132-D5EE-41A6-B5D5-3F7F2DBD2C07}" presName="bkgdShape" presStyleLbl="node1" presStyleIdx="1" presStyleCnt="3"/>
      <dgm:spPr/>
    </dgm:pt>
    <dgm:pt modelId="{FCAAA9BD-7605-495C-B872-5BD9E257860A}" type="pres">
      <dgm:prSet presAssocID="{107B8132-D5EE-41A6-B5D5-3F7F2DBD2C07}" presName="nodeTx" presStyleLbl="node1" presStyleIdx="1" presStyleCnt="3">
        <dgm:presLayoutVars>
          <dgm:bulletEnabled val="1"/>
        </dgm:presLayoutVars>
      </dgm:prSet>
      <dgm:spPr/>
    </dgm:pt>
    <dgm:pt modelId="{6478F93F-F62E-4A3C-8B9A-729AD4613AFD}" type="pres">
      <dgm:prSet presAssocID="{107B8132-D5EE-41A6-B5D5-3F7F2DBD2C07}" presName="invisiNode" presStyleLbl="node1" presStyleIdx="1" presStyleCnt="3"/>
      <dgm:spPr/>
    </dgm:pt>
    <dgm:pt modelId="{9C23C60B-B067-4978-AC05-CC7D089A7E51}" type="pres">
      <dgm:prSet presAssocID="{107B8132-D5EE-41A6-B5D5-3F7F2DBD2C07}" presName="imagNode" presStyleLbl="fgImgPlace1" presStyleIdx="1" presStyleCnt="3" custLinFactNeighborX="0" custLinFactNeighborY="-10805"/>
      <dgm:spPr>
        <a:blipFill>
          <a:blip xmlns:r="http://schemas.openxmlformats.org/officeDocument/2006/relationships" r:embed="rId2">
            <a:extLst>
              <a:ext uri="{28A0092B-C50C-407E-A947-70E740481C1C}">
                <a14:useLocalDpi xmlns:a14="http://schemas.microsoft.com/office/drawing/2010/main" val="0"/>
              </a:ext>
            </a:extLst>
          </a:blip>
          <a:srcRect/>
          <a:stretch>
            <a:fillRect l="-17000" r="-17000"/>
          </a:stretch>
        </a:blipFill>
      </dgm:spPr>
    </dgm:pt>
    <dgm:pt modelId="{40C48D69-C525-45E7-A80D-FC4B3DE43425}" type="pres">
      <dgm:prSet presAssocID="{39D7192F-2795-4629-BE8C-765658BC0E0E}" presName="sibTrans" presStyleLbl="sibTrans2D1" presStyleIdx="0" presStyleCnt="0"/>
      <dgm:spPr/>
    </dgm:pt>
    <dgm:pt modelId="{E16B5676-0721-4F7A-9A8D-80B5F818F923}" type="pres">
      <dgm:prSet presAssocID="{0EA3FFCE-59FE-4043-B33C-F9332E5289C3}" presName="compNode" presStyleCnt="0"/>
      <dgm:spPr/>
    </dgm:pt>
    <dgm:pt modelId="{2A7BE188-E534-4613-987B-F6145898774B}" type="pres">
      <dgm:prSet presAssocID="{0EA3FFCE-59FE-4043-B33C-F9332E5289C3}" presName="bkgdShape" presStyleLbl="node1" presStyleIdx="2" presStyleCnt="3"/>
      <dgm:spPr/>
    </dgm:pt>
    <dgm:pt modelId="{C439477A-037B-43DD-8823-FBE687611950}" type="pres">
      <dgm:prSet presAssocID="{0EA3FFCE-59FE-4043-B33C-F9332E5289C3}" presName="nodeTx" presStyleLbl="node1" presStyleIdx="2" presStyleCnt="3">
        <dgm:presLayoutVars>
          <dgm:bulletEnabled val="1"/>
        </dgm:presLayoutVars>
      </dgm:prSet>
      <dgm:spPr/>
    </dgm:pt>
    <dgm:pt modelId="{C1078308-86BB-4E44-8454-B295BB24362F}" type="pres">
      <dgm:prSet presAssocID="{0EA3FFCE-59FE-4043-B33C-F9332E5289C3}" presName="invisiNode" presStyleLbl="node1" presStyleIdx="2" presStyleCnt="3"/>
      <dgm:spPr/>
    </dgm:pt>
    <dgm:pt modelId="{D69C41EC-46DD-4519-AE45-54DACC65679B}" type="pres">
      <dgm:prSet presAssocID="{0EA3FFCE-59FE-4043-B33C-F9332E5289C3}" presName="imagNode" presStyleLbl="fgImgPlace1" presStyleIdx="2" presStyleCnt="3" custLinFactNeighborX="1544" custLinFactNeighborY="-10805"/>
      <dgm:spPr>
        <a:blipFill>
          <a:blip xmlns:r="http://schemas.openxmlformats.org/officeDocument/2006/relationships" r:embed="rId3">
            <a:extLst>
              <a:ext uri="{28A0092B-C50C-407E-A947-70E740481C1C}">
                <a14:useLocalDpi xmlns:a14="http://schemas.microsoft.com/office/drawing/2010/main" val="0"/>
              </a:ext>
            </a:extLst>
          </a:blip>
          <a:srcRect/>
          <a:stretch>
            <a:fillRect l="-25000" r="-25000"/>
          </a:stretch>
        </a:blipFill>
      </dgm:spPr>
    </dgm:pt>
  </dgm:ptLst>
  <dgm:cxnLst>
    <dgm:cxn modelId="{90524504-13A7-472E-9A18-0712D779F0C1}" type="presOf" srcId="{107B8132-D5EE-41A6-B5D5-3F7F2DBD2C07}" destId="{FCAAA9BD-7605-495C-B872-5BD9E257860A}" srcOrd="1" destOrd="0" presId="urn:microsoft.com/office/officeart/2005/8/layout/hList7"/>
    <dgm:cxn modelId="{FC99120C-A7E9-4EFF-817E-2C579C54B3E7}" type="presOf" srcId="{7B882685-5038-44B9-8708-358A4D104F68}" destId="{4481A8E7-B50B-4B29-B54F-820BB20EF483}" srcOrd="0" destOrd="0" presId="urn:microsoft.com/office/officeart/2005/8/layout/hList7"/>
    <dgm:cxn modelId="{BE4B3325-665C-48C3-9C36-9DE11DE4ACAC}" srcId="{B9E4B0C9-76C2-4D08-B373-7B6AAD944F26}" destId="{84DAAFCC-3EE4-4E0D-BB6C-5C21F7FFC938}" srcOrd="0" destOrd="0" parTransId="{74FF22A5-3165-47A4-BFC6-2BDB75E492A2}" sibTransId="{7B882685-5038-44B9-8708-358A4D104F68}"/>
    <dgm:cxn modelId="{5F83A536-D815-45B4-B4F9-F405C3600A92}" type="presOf" srcId="{84DAAFCC-3EE4-4E0D-BB6C-5C21F7FFC938}" destId="{C8F9FFD8-FB1B-419B-9C67-3FC9DED3835E}" srcOrd="0" destOrd="0" presId="urn:microsoft.com/office/officeart/2005/8/layout/hList7"/>
    <dgm:cxn modelId="{69CF3045-392D-483C-B289-F57354110265}" type="presOf" srcId="{39D7192F-2795-4629-BE8C-765658BC0E0E}" destId="{40C48D69-C525-45E7-A80D-FC4B3DE43425}" srcOrd="0" destOrd="0" presId="urn:microsoft.com/office/officeart/2005/8/layout/hList7"/>
    <dgm:cxn modelId="{6A0D5C86-B7A7-4D9B-A2EE-F18AF54D7F57}" type="presOf" srcId="{107B8132-D5EE-41A6-B5D5-3F7F2DBD2C07}" destId="{66309E76-B536-48E3-A836-BF819DE7E96E}" srcOrd="0" destOrd="0" presId="urn:microsoft.com/office/officeart/2005/8/layout/hList7"/>
    <dgm:cxn modelId="{ADE28E8C-7CD9-4F96-9A3D-FEE8FEC06AA9}" type="presOf" srcId="{84DAAFCC-3EE4-4E0D-BB6C-5C21F7FFC938}" destId="{84B3B328-115A-4CA1-95D5-2B89DE3D3775}" srcOrd="1" destOrd="0" presId="urn:microsoft.com/office/officeart/2005/8/layout/hList7"/>
    <dgm:cxn modelId="{233213A7-21BC-40D9-89DF-25A5BF1886B3}" srcId="{B9E4B0C9-76C2-4D08-B373-7B6AAD944F26}" destId="{0EA3FFCE-59FE-4043-B33C-F9332E5289C3}" srcOrd="2" destOrd="0" parTransId="{17677347-7FA9-4994-B74C-70E2BA3F4D27}" sibTransId="{CAA00787-D05B-4F90-B252-F8C2A67F067C}"/>
    <dgm:cxn modelId="{04ECE0B2-2C9F-4F53-9E9E-08F1C9EC555F}" type="presOf" srcId="{B9E4B0C9-76C2-4D08-B373-7B6AAD944F26}" destId="{CF054FF3-2CA3-44D8-9ECD-156B4F627522}" srcOrd="0" destOrd="0" presId="urn:microsoft.com/office/officeart/2005/8/layout/hList7"/>
    <dgm:cxn modelId="{7BABAECB-929A-4A84-8DD6-55C4B5A9D6B5}" srcId="{B9E4B0C9-76C2-4D08-B373-7B6AAD944F26}" destId="{107B8132-D5EE-41A6-B5D5-3F7F2DBD2C07}" srcOrd="1" destOrd="0" parTransId="{BB47A090-A897-4178-97A6-D747841372AB}" sibTransId="{39D7192F-2795-4629-BE8C-765658BC0E0E}"/>
    <dgm:cxn modelId="{F1B883E2-209F-4E82-B979-11C7EE64B01C}" type="presOf" srcId="{0EA3FFCE-59FE-4043-B33C-F9332E5289C3}" destId="{C439477A-037B-43DD-8823-FBE687611950}" srcOrd="1" destOrd="0" presId="urn:microsoft.com/office/officeart/2005/8/layout/hList7"/>
    <dgm:cxn modelId="{1562C9F4-13C4-45AD-BF95-4305D3AA9460}" type="presOf" srcId="{0EA3FFCE-59FE-4043-B33C-F9332E5289C3}" destId="{2A7BE188-E534-4613-987B-F6145898774B}" srcOrd="0" destOrd="0" presId="urn:microsoft.com/office/officeart/2005/8/layout/hList7"/>
    <dgm:cxn modelId="{DAEEDF41-3972-4BB6-82C8-255A575081D0}" type="presParOf" srcId="{CF054FF3-2CA3-44D8-9ECD-156B4F627522}" destId="{0B685F64-2A78-44CB-9E0A-01FFF7F57669}" srcOrd="0" destOrd="0" presId="urn:microsoft.com/office/officeart/2005/8/layout/hList7"/>
    <dgm:cxn modelId="{684B2C1E-D6D3-4CB3-9A62-64AF7FC9493A}" type="presParOf" srcId="{CF054FF3-2CA3-44D8-9ECD-156B4F627522}" destId="{4EFE238F-6B1D-402C-AB86-04527D104059}" srcOrd="1" destOrd="0" presId="urn:microsoft.com/office/officeart/2005/8/layout/hList7"/>
    <dgm:cxn modelId="{E6A45996-C7BE-4576-9469-F4A5C0ED199D}" type="presParOf" srcId="{4EFE238F-6B1D-402C-AB86-04527D104059}" destId="{92D4FB29-78D6-48FA-93BD-73F0A8196AA7}" srcOrd="0" destOrd="0" presId="urn:microsoft.com/office/officeart/2005/8/layout/hList7"/>
    <dgm:cxn modelId="{AD2DEF6D-CB64-47FB-8507-D4FB9DF2C2AC}" type="presParOf" srcId="{92D4FB29-78D6-48FA-93BD-73F0A8196AA7}" destId="{C8F9FFD8-FB1B-419B-9C67-3FC9DED3835E}" srcOrd="0" destOrd="0" presId="urn:microsoft.com/office/officeart/2005/8/layout/hList7"/>
    <dgm:cxn modelId="{401C646A-0AC3-4118-B103-125560D6E953}" type="presParOf" srcId="{92D4FB29-78D6-48FA-93BD-73F0A8196AA7}" destId="{84B3B328-115A-4CA1-95D5-2B89DE3D3775}" srcOrd="1" destOrd="0" presId="urn:microsoft.com/office/officeart/2005/8/layout/hList7"/>
    <dgm:cxn modelId="{CECA6C4F-E648-4473-910C-8A95A0C4874E}" type="presParOf" srcId="{92D4FB29-78D6-48FA-93BD-73F0A8196AA7}" destId="{9AA70580-3211-4804-A546-9E56076D992F}" srcOrd="2" destOrd="0" presId="urn:microsoft.com/office/officeart/2005/8/layout/hList7"/>
    <dgm:cxn modelId="{2BAF37AF-5723-4FAA-A5DB-156088A686DE}" type="presParOf" srcId="{92D4FB29-78D6-48FA-93BD-73F0A8196AA7}" destId="{7F969287-43A3-4D9B-A9B2-43B973CFB29A}" srcOrd="3" destOrd="0" presId="urn:microsoft.com/office/officeart/2005/8/layout/hList7"/>
    <dgm:cxn modelId="{19956552-7878-46A3-8421-360CDF7D5C88}" type="presParOf" srcId="{4EFE238F-6B1D-402C-AB86-04527D104059}" destId="{4481A8E7-B50B-4B29-B54F-820BB20EF483}" srcOrd="1" destOrd="0" presId="urn:microsoft.com/office/officeart/2005/8/layout/hList7"/>
    <dgm:cxn modelId="{43A98A3F-24A2-40A1-8210-4244DDDA9774}" type="presParOf" srcId="{4EFE238F-6B1D-402C-AB86-04527D104059}" destId="{81DDAAD2-F325-41A1-BA7C-F4EBD8474487}" srcOrd="2" destOrd="0" presId="urn:microsoft.com/office/officeart/2005/8/layout/hList7"/>
    <dgm:cxn modelId="{47A01D55-B23B-4F72-90F9-2BEF4F7971CD}" type="presParOf" srcId="{81DDAAD2-F325-41A1-BA7C-F4EBD8474487}" destId="{66309E76-B536-48E3-A836-BF819DE7E96E}" srcOrd="0" destOrd="0" presId="urn:microsoft.com/office/officeart/2005/8/layout/hList7"/>
    <dgm:cxn modelId="{684DB3D9-67B8-4172-BA5C-D25F0F00B988}" type="presParOf" srcId="{81DDAAD2-F325-41A1-BA7C-F4EBD8474487}" destId="{FCAAA9BD-7605-495C-B872-5BD9E257860A}" srcOrd="1" destOrd="0" presId="urn:microsoft.com/office/officeart/2005/8/layout/hList7"/>
    <dgm:cxn modelId="{2841A358-CE40-44AC-A4DE-23A08E6F1950}" type="presParOf" srcId="{81DDAAD2-F325-41A1-BA7C-F4EBD8474487}" destId="{6478F93F-F62E-4A3C-8B9A-729AD4613AFD}" srcOrd="2" destOrd="0" presId="urn:microsoft.com/office/officeart/2005/8/layout/hList7"/>
    <dgm:cxn modelId="{854320AF-65C8-4A54-941B-5AB18DB7189D}" type="presParOf" srcId="{81DDAAD2-F325-41A1-BA7C-F4EBD8474487}" destId="{9C23C60B-B067-4978-AC05-CC7D089A7E51}" srcOrd="3" destOrd="0" presId="urn:microsoft.com/office/officeart/2005/8/layout/hList7"/>
    <dgm:cxn modelId="{F6D4C13D-0629-4DA7-993E-40FB514A1A78}" type="presParOf" srcId="{4EFE238F-6B1D-402C-AB86-04527D104059}" destId="{40C48D69-C525-45E7-A80D-FC4B3DE43425}" srcOrd="3" destOrd="0" presId="urn:microsoft.com/office/officeart/2005/8/layout/hList7"/>
    <dgm:cxn modelId="{3C3FCDAD-0D8D-4834-848C-D119F6CB261C}" type="presParOf" srcId="{4EFE238F-6B1D-402C-AB86-04527D104059}" destId="{E16B5676-0721-4F7A-9A8D-80B5F818F923}" srcOrd="4" destOrd="0" presId="urn:microsoft.com/office/officeart/2005/8/layout/hList7"/>
    <dgm:cxn modelId="{6972F0C8-3A77-4E34-B887-B7D5890B8BE3}" type="presParOf" srcId="{E16B5676-0721-4F7A-9A8D-80B5F818F923}" destId="{2A7BE188-E534-4613-987B-F6145898774B}" srcOrd="0" destOrd="0" presId="urn:microsoft.com/office/officeart/2005/8/layout/hList7"/>
    <dgm:cxn modelId="{0D7F2171-02BB-4E7F-8A04-9DB63131B897}" type="presParOf" srcId="{E16B5676-0721-4F7A-9A8D-80B5F818F923}" destId="{C439477A-037B-43DD-8823-FBE687611950}" srcOrd="1" destOrd="0" presId="urn:microsoft.com/office/officeart/2005/8/layout/hList7"/>
    <dgm:cxn modelId="{8378F5D0-588C-4080-8219-0CD943001DFB}" type="presParOf" srcId="{E16B5676-0721-4F7A-9A8D-80B5F818F923}" destId="{C1078308-86BB-4E44-8454-B295BB24362F}" srcOrd="2" destOrd="0" presId="urn:microsoft.com/office/officeart/2005/8/layout/hList7"/>
    <dgm:cxn modelId="{220CC9B7-8BF5-4E90-9BEF-B28AB3472EE3}" type="presParOf" srcId="{E16B5676-0721-4F7A-9A8D-80B5F818F923}" destId="{D69C41EC-46DD-4519-AE45-54DACC65679B}" srcOrd="3" destOrd="0" presId="urn:microsoft.com/office/officeart/2005/8/layout/hList7"/>
  </dgm:cxnLst>
  <dgm:bg>
    <a:noFill/>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34D334A-5F01-455B-92F5-0E9009E8E162}"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es-GT"/>
        </a:p>
      </dgm:t>
    </dgm:pt>
    <dgm:pt modelId="{67B95FAB-61C1-4C9E-8607-6EF5FEFDABF0}">
      <dgm:prSet phldrT="[Texto]" custT="1"/>
      <dgm:spPr>
        <a:solidFill>
          <a:srgbClr val="0385B3"/>
        </a:solidFill>
      </dgm:spPr>
      <dgm:t>
        <a:bodyPr/>
        <a:lstStyle/>
        <a:p>
          <a:pPr algn="just"/>
          <a:r>
            <a:rPr lang="es-US" sz="1600" dirty="0"/>
            <a:t>El 75.3% de la recaudación tributaria total esta explicada por el Impuesto sobre la renta y el Impuesto al valor agregado</a:t>
          </a:r>
          <a:endParaRPr lang="es-GT" sz="1600" dirty="0"/>
        </a:p>
      </dgm:t>
    </dgm:pt>
    <dgm:pt modelId="{76C215B4-D0AF-4395-89F8-887350002DCA}" type="parTrans" cxnId="{C8F34270-38E7-453B-A3F6-C5C4C18FB771}">
      <dgm:prSet/>
      <dgm:spPr/>
      <dgm:t>
        <a:bodyPr/>
        <a:lstStyle/>
        <a:p>
          <a:endParaRPr lang="es-GT"/>
        </a:p>
      </dgm:t>
    </dgm:pt>
    <dgm:pt modelId="{99E80410-297E-4A83-8C5B-B335A90AE901}" type="sibTrans" cxnId="{C8F34270-38E7-453B-A3F6-C5C4C18FB771}">
      <dgm:prSet/>
      <dgm:spPr/>
      <dgm:t>
        <a:bodyPr/>
        <a:lstStyle/>
        <a:p>
          <a:endParaRPr lang="es-GT"/>
        </a:p>
      </dgm:t>
    </dgm:pt>
    <dgm:pt modelId="{3B9A5DED-41D4-4120-9E42-1E371FF98A08}">
      <dgm:prSet phldrT="[Texto]" custT="1"/>
      <dgm:spPr>
        <a:solidFill>
          <a:srgbClr val="0385B3"/>
        </a:solidFill>
      </dgm:spPr>
      <dgm:t>
        <a:bodyPr/>
        <a:lstStyle/>
        <a:p>
          <a:pPr algn="just"/>
          <a:r>
            <a:rPr lang="es-US" sz="1600" dirty="0"/>
            <a:t>Recuperación en la recaudación asociada al comercio exterior, crecimiento del 43.9% respecto a 2020 </a:t>
          </a:r>
          <a:endParaRPr lang="es-GT" sz="1600" dirty="0"/>
        </a:p>
      </dgm:t>
    </dgm:pt>
    <dgm:pt modelId="{06C2703C-3DD9-4EDD-9CF3-191CD2ACE1F8}" type="parTrans" cxnId="{DB892DF3-A71D-4B28-BA7F-E888EDF9DCB4}">
      <dgm:prSet/>
      <dgm:spPr/>
      <dgm:t>
        <a:bodyPr/>
        <a:lstStyle/>
        <a:p>
          <a:endParaRPr lang="es-GT"/>
        </a:p>
      </dgm:t>
    </dgm:pt>
    <dgm:pt modelId="{56BBCBD0-39AE-4C1D-B03B-D3489B243F46}" type="sibTrans" cxnId="{DB892DF3-A71D-4B28-BA7F-E888EDF9DCB4}">
      <dgm:prSet/>
      <dgm:spPr/>
      <dgm:t>
        <a:bodyPr/>
        <a:lstStyle/>
        <a:p>
          <a:endParaRPr lang="es-GT"/>
        </a:p>
      </dgm:t>
    </dgm:pt>
    <dgm:pt modelId="{0E9A8FDC-42A2-4D26-8AF0-2E0E77931760}">
      <dgm:prSet phldrT="[Texto]" custT="1"/>
      <dgm:spPr>
        <a:solidFill>
          <a:srgbClr val="0385B3"/>
        </a:solidFill>
      </dgm:spPr>
      <dgm:t>
        <a:bodyPr/>
        <a:lstStyle/>
        <a:p>
          <a:r>
            <a:rPr lang="es-US" sz="1500" dirty="0"/>
            <a:t>Los impuestos internos crecen en 25.0% respecto a 2020</a:t>
          </a:r>
          <a:endParaRPr lang="es-GT" sz="1500" dirty="0"/>
        </a:p>
      </dgm:t>
    </dgm:pt>
    <dgm:pt modelId="{036A6F7D-08BF-43FA-B224-CAB025039914}" type="parTrans" cxnId="{9BE311CF-2BE4-4135-8024-D4852FED1B0A}">
      <dgm:prSet/>
      <dgm:spPr/>
      <dgm:t>
        <a:bodyPr/>
        <a:lstStyle/>
        <a:p>
          <a:endParaRPr lang="es-GT"/>
        </a:p>
      </dgm:t>
    </dgm:pt>
    <dgm:pt modelId="{FCB4EC0D-7150-4C19-B26D-08CC3E7D7A6E}" type="sibTrans" cxnId="{9BE311CF-2BE4-4135-8024-D4852FED1B0A}">
      <dgm:prSet/>
      <dgm:spPr/>
      <dgm:t>
        <a:bodyPr/>
        <a:lstStyle/>
        <a:p>
          <a:endParaRPr lang="es-GT"/>
        </a:p>
      </dgm:t>
    </dgm:pt>
    <dgm:pt modelId="{45410636-179E-4A9E-8EF8-20334FA2C58B}">
      <dgm:prSet phldrT="[Texto]" custT="1"/>
      <dgm:spPr>
        <a:solidFill>
          <a:srgbClr val="0385B3"/>
        </a:solidFill>
      </dgm:spPr>
      <dgm:t>
        <a:bodyPr/>
        <a:lstStyle/>
        <a:p>
          <a:r>
            <a:rPr lang="es-US" sz="1500" dirty="0"/>
            <a:t>El ISR y el IVA crecen en 28.8% y  31.4%</a:t>
          </a:r>
          <a:endParaRPr lang="es-GT" sz="1500" dirty="0"/>
        </a:p>
      </dgm:t>
    </dgm:pt>
    <dgm:pt modelId="{EFA75488-33CE-4B2F-BE66-62FE437B9601}" type="parTrans" cxnId="{CEF717DC-F1C3-4118-B049-1E8EE9137783}">
      <dgm:prSet/>
      <dgm:spPr/>
      <dgm:t>
        <a:bodyPr/>
        <a:lstStyle/>
        <a:p>
          <a:endParaRPr lang="es-GT"/>
        </a:p>
      </dgm:t>
    </dgm:pt>
    <dgm:pt modelId="{C092E687-D534-492C-8B90-B9ED876B6E10}" type="sibTrans" cxnId="{CEF717DC-F1C3-4118-B049-1E8EE9137783}">
      <dgm:prSet/>
      <dgm:spPr/>
      <dgm:t>
        <a:bodyPr/>
        <a:lstStyle/>
        <a:p>
          <a:endParaRPr lang="es-GT"/>
        </a:p>
      </dgm:t>
    </dgm:pt>
    <dgm:pt modelId="{069B62A9-4C6F-4418-8825-88211B42DF11}">
      <dgm:prSet phldrT="[Texto]" custT="1"/>
      <dgm:spPr>
        <a:solidFill>
          <a:srgbClr val="0385B3"/>
        </a:solidFill>
      </dgm:spPr>
      <dgm:t>
        <a:bodyPr/>
        <a:lstStyle/>
        <a:p>
          <a:r>
            <a:rPr lang="es-US" sz="1500" dirty="0"/>
            <a:t> Aumento de contribuyentes afiliados al RTU en IVA e ISR</a:t>
          </a:r>
          <a:endParaRPr lang="es-GT" sz="1500" dirty="0"/>
        </a:p>
      </dgm:t>
    </dgm:pt>
    <dgm:pt modelId="{21A92EA0-EB1B-40EC-830A-6A1F15C7CDB8}" type="parTrans" cxnId="{EA1CB0BA-81BF-40FE-99A0-48FB8DEFF059}">
      <dgm:prSet/>
      <dgm:spPr/>
      <dgm:t>
        <a:bodyPr/>
        <a:lstStyle/>
        <a:p>
          <a:endParaRPr lang="es-GT"/>
        </a:p>
      </dgm:t>
    </dgm:pt>
    <dgm:pt modelId="{BA581C73-28F7-49BB-BF23-8FF519F5F415}" type="sibTrans" cxnId="{EA1CB0BA-81BF-40FE-99A0-48FB8DEFF059}">
      <dgm:prSet/>
      <dgm:spPr/>
      <dgm:t>
        <a:bodyPr/>
        <a:lstStyle/>
        <a:p>
          <a:endParaRPr lang="es-GT"/>
        </a:p>
      </dgm:t>
    </dgm:pt>
    <dgm:pt modelId="{B8E17477-C110-41FE-B5EB-E205002DEA7E}">
      <dgm:prSet phldrT="[Texto]" custT="1"/>
      <dgm:spPr>
        <a:solidFill>
          <a:srgbClr val="0385B3"/>
        </a:solidFill>
      </dgm:spPr>
      <dgm:t>
        <a:bodyPr/>
        <a:lstStyle/>
        <a:p>
          <a:pPr algn="l"/>
          <a:r>
            <a:rPr lang="es-GT" sz="1500" dirty="0"/>
            <a:t>Ajustes a través de rectificaciones</a:t>
          </a:r>
        </a:p>
      </dgm:t>
    </dgm:pt>
    <dgm:pt modelId="{24D3016B-E118-48AE-A598-20CB89E1BC36}" type="parTrans" cxnId="{C2821C29-8F3B-4F74-9BE7-7189A3266B69}">
      <dgm:prSet/>
      <dgm:spPr/>
      <dgm:t>
        <a:bodyPr/>
        <a:lstStyle/>
        <a:p>
          <a:endParaRPr lang="es-GT"/>
        </a:p>
      </dgm:t>
    </dgm:pt>
    <dgm:pt modelId="{CABEA318-A7B9-4DAA-95BB-AFE81BA9B760}" type="sibTrans" cxnId="{C2821C29-8F3B-4F74-9BE7-7189A3266B69}">
      <dgm:prSet/>
      <dgm:spPr/>
      <dgm:t>
        <a:bodyPr/>
        <a:lstStyle/>
        <a:p>
          <a:endParaRPr lang="es-GT"/>
        </a:p>
      </dgm:t>
    </dgm:pt>
    <dgm:pt modelId="{288AC9D3-B094-4326-B316-27044150A715}">
      <dgm:prSet phldrT="[Texto]" custT="1"/>
      <dgm:spPr>
        <a:solidFill>
          <a:srgbClr val="0385B3"/>
        </a:solidFill>
      </dgm:spPr>
      <dgm:t>
        <a:bodyPr/>
        <a:lstStyle/>
        <a:p>
          <a:pPr algn="l"/>
          <a:r>
            <a:rPr lang="es-GT" sz="1500" dirty="0"/>
            <a:t>Medidas de control en materia de riesgo</a:t>
          </a:r>
        </a:p>
      </dgm:t>
    </dgm:pt>
    <dgm:pt modelId="{FE9D1F56-91DC-4F87-A727-1DB4EAACF3FF}" type="parTrans" cxnId="{095E9017-B1CD-4795-BDF1-97E6B58A8019}">
      <dgm:prSet/>
      <dgm:spPr/>
      <dgm:t>
        <a:bodyPr/>
        <a:lstStyle/>
        <a:p>
          <a:endParaRPr lang="es-GT"/>
        </a:p>
      </dgm:t>
    </dgm:pt>
    <dgm:pt modelId="{4ADAA232-E23E-4E8B-823F-781E19493057}" type="sibTrans" cxnId="{095E9017-B1CD-4795-BDF1-97E6B58A8019}">
      <dgm:prSet/>
      <dgm:spPr/>
      <dgm:t>
        <a:bodyPr/>
        <a:lstStyle/>
        <a:p>
          <a:endParaRPr lang="es-GT"/>
        </a:p>
      </dgm:t>
    </dgm:pt>
    <dgm:pt modelId="{A3741D1E-6AC5-44E8-BE0B-5128762B31F4}">
      <dgm:prSet phldrT="[Texto]" custT="1"/>
      <dgm:spPr>
        <a:solidFill>
          <a:srgbClr val="0385B3"/>
        </a:solidFill>
      </dgm:spPr>
      <dgm:t>
        <a:bodyPr/>
        <a:lstStyle/>
        <a:p>
          <a:pPr algn="l"/>
          <a:r>
            <a:rPr lang="es-GT" sz="1500" dirty="0"/>
            <a:t>Mejoras en tiempos de despacho y gestión</a:t>
          </a:r>
        </a:p>
      </dgm:t>
    </dgm:pt>
    <dgm:pt modelId="{775C24FC-24B9-4992-8606-0C068355CD10}" type="parTrans" cxnId="{1A994C56-088B-42AD-83E2-5583518BA8FE}">
      <dgm:prSet/>
      <dgm:spPr/>
      <dgm:t>
        <a:bodyPr/>
        <a:lstStyle/>
        <a:p>
          <a:endParaRPr lang="es-GT"/>
        </a:p>
      </dgm:t>
    </dgm:pt>
    <dgm:pt modelId="{C6A24705-C6FC-4EFF-8176-0420BD715A70}" type="sibTrans" cxnId="{1A994C56-088B-42AD-83E2-5583518BA8FE}">
      <dgm:prSet/>
      <dgm:spPr/>
      <dgm:t>
        <a:bodyPr/>
        <a:lstStyle/>
        <a:p>
          <a:endParaRPr lang="es-GT"/>
        </a:p>
      </dgm:t>
    </dgm:pt>
    <dgm:pt modelId="{B38CF7AE-D7F7-4A0A-9DFE-4D6867441B8B}">
      <dgm:prSet phldrT="[Texto]" custT="1"/>
      <dgm:spPr>
        <a:solidFill>
          <a:srgbClr val="0385B3"/>
        </a:solidFill>
      </dgm:spPr>
      <dgm:t>
        <a:bodyPr/>
        <a:lstStyle/>
        <a:p>
          <a:pPr algn="l"/>
          <a:r>
            <a:rPr lang="es-GT" sz="1500" dirty="0"/>
            <a:t>Mayor simplificación y automatización en la transmisión de declaraciones y controles aduaneros</a:t>
          </a:r>
        </a:p>
      </dgm:t>
    </dgm:pt>
    <dgm:pt modelId="{820A3276-3958-4E4A-A287-00328792CC92}" type="parTrans" cxnId="{5E177175-5B33-4748-AD3A-0E2B9070B651}">
      <dgm:prSet/>
      <dgm:spPr/>
      <dgm:t>
        <a:bodyPr/>
        <a:lstStyle/>
        <a:p>
          <a:endParaRPr lang="es-GT"/>
        </a:p>
      </dgm:t>
    </dgm:pt>
    <dgm:pt modelId="{C788DE87-BBF3-439C-A262-00AB5E481B99}" type="sibTrans" cxnId="{5E177175-5B33-4748-AD3A-0E2B9070B651}">
      <dgm:prSet/>
      <dgm:spPr/>
      <dgm:t>
        <a:bodyPr/>
        <a:lstStyle/>
        <a:p>
          <a:endParaRPr lang="es-GT"/>
        </a:p>
      </dgm:t>
    </dgm:pt>
    <dgm:pt modelId="{41E786C5-F629-4FCA-93F6-957F386D0205}">
      <dgm:prSet phldrT="[Texto]" custT="1"/>
      <dgm:spPr>
        <a:solidFill>
          <a:srgbClr val="0385B3"/>
        </a:solidFill>
      </dgm:spPr>
      <dgm:t>
        <a:bodyPr/>
        <a:lstStyle/>
        <a:p>
          <a:pPr algn="l"/>
          <a:r>
            <a:rPr lang="es-US" sz="1500" dirty="0"/>
            <a:t>Recaudación adicional por concepto de derivados del petróleo</a:t>
          </a:r>
          <a:endParaRPr lang="es-GT" sz="1500" dirty="0"/>
        </a:p>
      </dgm:t>
    </dgm:pt>
    <dgm:pt modelId="{B661AF16-EE3E-4E27-ABAF-E6D51D38D627}" type="parTrans" cxnId="{A0C02567-9CF2-49B4-93BB-05DEA5DF7AA1}">
      <dgm:prSet/>
      <dgm:spPr/>
      <dgm:t>
        <a:bodyPr/>
        <a:lstStyle/>
        <a:p>
          <a:endParaRPr lang="es-GT"/>
        </a:p>
      </dgm:t>
    </dgm:pt>
    <dgm:pt modelId="{9FB39FD5-1295-4542-8597-97DABB8F8318}" type="sibTrans" cxnId="{A0C02567-9CF2-49B4-93BB-05DEA5DF7AA1}">
      <dgm:prSet/>
      <dgm:spPr/>
      <dgm:t>
        <a:bodyPr/>
        <a:lstStyle/>
        <a:p>
          <a:endParaRPr lang="es-GT"/>
        </a:p>
      </dgm:t>
    </dgm:pt>
    <dgm:pt modelId="{222E95C9-FD80-43B3-A6DE-5B946202B804}">
      <dgm:prSet phldrT="[Texto]" custT="1"/>
      <dgm:spPr>
        <a:solidFill>
          <a:srgbClr val="0385B3"/>
        </a:solidFill>
      </dgm:spPr>
      <dgm:t>
        <a:bodyPr/>
        <a:lstStyle/>
        <a:p>
          <a:r>
            <a:rPr lang="es-US" sz="1500" dirty="0"/>
            <a:t>Aumento de emisores de documentos tributarios electrónicos</a:t>
          </a:r>
          <a:endParaRPr lang="es-GT" sz="1500" dirty="0"/>
        </a:p>
      </dgm:t>
    </dgm:pt>
    <dgm:pt modelId="{6B4160B9-60A2-4676-9160-B171C4C35DEA}" type="parTrans" cxnId="{91D0D640-95EB-433B-BC66-59CAE7D4C390}">
      <dgm:prSet/>
      <dgm:spPr/>
      <dgm:t>
        <a:bodyPr/>
        <a:lstStyle/>
        <a:p>
          <a:endParaRPr lang="es-GT"/>
        </a:p>
      </dgm:t>
    </dgm:pt>
    <dgm:pt modelId="{20A34B11-5F0E-4BB8-86E7-B8C8620CBAF4}" type="sibTrans" cxnId="{91D0D640-95EB-433B-BC66-59CAE7D4C390}">
      <dgm:prSet/>
      <dgm:spPr/>
      <dgm:t>
        <a:bodyPr/>
        <a:lstStyle/>
        <a:p>
          <a:endParaRPr lang="es-GT"/>
        </a:p>
      </dgm:t>
    </dgm:pt>
    <dgm:pt modelId="{69A0752A-836E-4DD2-B77E-80C19FB5CB43}">
      <dgm:prSet phldrT="[Texto]" custT="1"/>
      <dgm:spPr>
        <a:solidFill>
          <a:srgbClr val="0385B3"/>
        </a:solidFill>
      </dgm:spPr>
      <dgm:t>
        <a:bodyPr/>
        <a:lstStyle/>
        <a:p>
          <a:r>
            <a:rPr lang="es-US" sz="1500" dirty="0"/>
            <a:t>Mejoras al sistema de facilidades de pago</a:t>
          </a:r>
          <a:endParaRPr lang="es-GT" sz="1500" dirty="0"/>
        </a:p>
      </dgm:t>
    </dgm:pt>
    <dgm:pt modelId="{9B653166-0A19-46B3-94AE-CACB2683D6B1}" type="parTrans" cxnId="{22682E7B-B330-402D-8BD8-37A29D6FBBC5}">
      <dgm:prSet/>
      <dgm:spPr/>
      <dgm:t>
        <a:bodyPr/>
        <a:lstStyle/>
        <a:p>
          <a:endParaRPr lang="es-GT"/>
        </a:p>
      </dgm:t>
    </dgm:pt>
    <dgm:pt modelId="{4B3E4585-D38C-4A56-A54E-B4311C052E3A}" type="sibTrans" cxnId="{22682E7B-B330-402D-8BD8-37A29D6FBBC5}">
      <dgm:prSet/>
      <dgm:spPr/>
      <dgm:t>
        <a:bodyPr/>
        <a:lstStyle/>
        <a:p>
          <a:endParaRPr lang="es-GT"/>
        </a:p>
      </dgm:t>
    </dgm:pt>
    <dgm:pt modelId="{A7E43C3B-7970-422D-84FD-A4864D6A0824}">
      <dgm:prSet phldrT="[Texto]" custT="1"/>
      <dgm:spPr>
        <a:solidFill>
          <a:srgbClr val="0385B3"/>
        </a:solidFill>
      </dgm:spPr>
      <dgm:t>
        <a:bodyPr/>
        <a:lstStyle/>
        <a:p>
          <a:r>
            <a:rPr lang="es-US" sz="1500" dirty="0"/>
            <a:t>Aumento en la percepción de riesgo de los contribuyentes</a:t>
          </a:r>
          <a:endParaRPr lang="es-GT" sz="1500" dirty="0"/>
        </a:p>
      </dgm:t>
    </dgm:pt>
    <dgm:pt modelId="{901930F8-3845-474E-B3C5-3FC96D6F2C31}" type="parTrans" cxnId="{6A789BE7-F351-4A2C-9753-3F2238A2DCE6}">
      <dgm:prSet/>
      <dgm:spPr/>
      <dgm:t>
        <a:bodyPr/>
        <a:lstStyle/>
        <a:p>
          <a:endParaRPr lang="es-GT"/>
        </a:p>
      </dgm:t>
    </dgm:pt>
    <dgm:pt modelId="{7961B6E1-5D8E-4C41-B76F-E5756C8BE6B2}" type="sibTrans" cxnId="{6A789BE7-F351-4A2C-9753-3F2238A2DCE6}">
      <dgm:prSet/>
      <dgm:spPr/>
      <dgm:t>
        <a:bodyPr/>
        <a:lstStyle/>
        <a:p>
          <a:endParaRPr lang="es-GT"/>
        </a:p>
      </dgm:t>
    </dgm:pt>
    <dgm:pt modelId="{9CD5E755-8258-4F02-8708-71C1ECBD0AD1}">
      <dgm:prSet phldrT="[Texto]" custT="1"/>
      <dgm:spPr>
        <a:solidFill>
          <a:srgbClr val="0385B3"/>
        </a:solidFill>
      </dgm:spPr>
      <dgm:t>
        <a:bodyPr/>
        <a:lstStyle/>
        <a:p>
          <a:r>
            <a:rPr lang="es-US" sz="1500" dirty="0"/>
            <a:t>Remesas familiares crecientes dinamizan el consumo</a:t>
          </a:r>
          <a:endParaRPr lang="es-GT" sz="1500" dirty="0"/>
        </a:p>
      </dgm:t>
    </dgm:pt>
    <dgm:pt modelId="{C8021B18-F75F-4706-AA08-79A7CBFCCABC}" type="parTrans" cxnId="{0AD47731-679A-41C5-82FE-69DA287CE6FE}">
      <dgm:prSet/>
      <dgm:spPr/>
      <dgm:t>
        <a:bodyPr/>
        <a:lstStyle/>
        <a:p>
          <a:endParaRPr lang="es-GT"/>
        </a:p>
      </dgm:t>
    </dgm:pt>
    <dgm:pt modelId="{654DA8E2-36A2-4B77-9D0C-0492B063F899}" type="sibTrans" cxnId="{0AD47731-679A-41C5-82FE-69DA287CE6FE}">
      <dgm:prSet/>
      <dgm:spPr/>
      <dgm:t>
        <a:bodyPr/>
        <a:lstStyle/>
        <a:p>
          <a:endParaRPr lang="es-GT"/>
        </a:p>
      </dgm:t>
    </dgm:pt>
    <dgm:pt modelId="{0A7F187D-E71E-4E94-9BA1-BA136ECC5B73}" type="pres">
      <dgm:prSet presAssocID="{D34D334A-5F01-455B-92F5-0E9009E8E162}" presName="linear" presStyleCnt="0">
        <dgm:presLayoutVars>
          <dgm:dir/>
          <dgm:resizeHandles val="exact"/>
        </dgm:presLayoutVars>
      </dgm:prSet>
      <dgm:spPr/>
    </dgm:pt>
    <dgm:pt modelId="{95643650-BF9B-43DB-9F4C-4998670C6D96}" type="pres">
      <dgm:prSet presAssocID="{67B95FAB-61C1-4C9E-8607-6EF5FEFDABF0}" presName="comp" presStyleCnt="0"/>
      <dgm:spPr/>
    </dgm:pt>
    <dgm:pt modelId="{9029DFB4-2FF7-4468-B78F-ABE5547F9C72}" type="pres">
      <dgm:prSet presAssocID="{67B95FAB-61C1-4C9E-8607-6EF5FEFDABF0}" presName="box" presStyleLbl="node1" presStyleIdx="0" presStyleCnt="3" custScaleY="76535"/>
      <dgm:spPr/>
    </dgm:pt>
    <dgm:pt modelId="{9C22EB6F-70F6-471C-A23C-A2D9A71AD382}" type="pres">
      <dgm:prSet presAssocID="{67B95FAB-61C1-4C9E-8607-6EF5FEFDABF0}" presName="img" presStyleLbl="fgImgPlace1" presStyleIdx="0" presStyleCnt="3"/>
      <dgm: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l="-2941" t="10560" r="-2941" b="10560"/>
          </a:stretch>
        </a:blipFill>
      </dgm:spPr>
    </dgm:pt>
    <dgm:pt modelId="{668D195E-7F90-4AAA-96D7-413D2AFD35E1}" type="pres">
      <dgm:prSet presAssocID="{67B95FAB-61C1-4C9E-8607-6EF5FEFDABF0}" presName="text" presStyleLbl="node1" presStyleIdx="0" presStyleCnt="3">
        <dgm:presLayoutVars>
          <dgm:bulletEnabled val="1"/>
        </dgm:presLayoutVars>
      </dgm:prSet>
      <dgm:spPr/>
    </dgm:pt>
    <dgm:pt modelId="{77AE301E-1C8A-42D3-B4BE-7E08C34754E4}" type="pres">
      <dgm:prSet presAssocID="{99E80410-297E-4A83-8C5B-B335A90AE901}" presName="spacer" presStyleCnt="0"/>
      <dgm:spPr/>
    </dgm:pt>
    <dgm:pt modelId="{A9416961-6B28-4DB8-A617-39F51AAC355D}" type="pres">
      <dgm:prSet presAssocID="{3B9A5DED-41D4-4120-9E42-1E371FF98A08}" presName="comp" presStyleCnt="0"/>
      <dgm:spPr/>
    </dgm:pt>
    <dgm:pt modelId="{F2FD6B42-A71C-4BF2-A6FC-A86C1AC136EA}" type="pres">
      <dgm:prSet presAssocID="{3B9A5DED-41D4-4120-9E42-1E371FF98A08}" presName="box" presStyleLbl="node1" presStyleIdx="1" presStyleCnt="3" custScaleY="151884"/>
      <dgm:spPr/>
    </dgm:pt>
    <dgm:pt modelId="{9839D655-34C4-48E5-9E14-C1DBEEACD0B9}" type="pres">
      <dgm:prSet presAssocID="{3B9A5DED-41D4-4120-9E42-1E371FF98A08}" presName="img" presStyleLbl="fgImgPlace1" presStyleIdx="1" presStyleCnt="3"/>
      <dgm: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l="-16177" t="-434" r="-16177" b="-434"/>
          </a:stretch>
        </a:blipFill>
      </dgm:spPr>
    </dgm:pt>
    <dgm:pt modelId="{B94E0826-E203-4780-8BF0-660489A034A2}" type="pres">
      <dgm:prSet presAssocID="{3B9A5DED-41D4-4120-9E42-1E371FF98A08}" presName="text" presStyleLbl="node1" presStyleIdx="1" presStyleCnt="3">
        <dgm:presLayoutVars>
          <dgm:bulletEnabled val="1"/>
        </dgm:presLayoutVars>
      </dgm:prSet>
      <dgm:spPr/>
    </dgm:pt>
    <dgm:pt modelId="{D1FF32D2-FCB4-4098-AA81-48611140DEE5}" type="pres">
      <dgm:prSet presAssocID="{56BBCBD0-39AE-4C1D-B03B-D3489B243F46}" presName="spacer" presStyleCnt="0"/>
      <dgm:spPr/>
    </dgm:pt>
    <dgm:pt modelId="{6601A8F6-FA8B-4F8E-A9BB-293616E07750}" type="pres">
      <dgm:prSet presAssocID="{0E9A8FDC-42A2-4D26-8AF0-2E0E77931760}" presName="comp" presStyleCnt="0"/>
      <dgm:spPr/>
    </dgm:pt>
    <dgm:pt modelId="{FBFBC484-0D96-498E-B95F-962DE2834AE4}" type="pres">
      <dgm:prSet presAssocID="{0E9A8FDC-42A2-4D26-8AF0-2E0E77931760}" presName="box" presStyleLbl="node1" presStyleIdx="2" presStyleCnt="3" custScaleY="137271"/>
      <dgm:spPr/>
    </dgm:pt>
    <dgm:pt modelId="{9BFD3BC9-6F97-4770-B5AD-51B7BF41AC61}" type="pres">
      <dgm:prSet presAssocID="{0E9A8FDC-42A2-4D26-8AF0-2E0E77931760}" presName="img" presStyleLbl="fgImgPlace1" presStyleIdx="2" presStyleCnt="3"/>
      <dgm: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l="3439" t="4872" r="3439" b="4872"/>
          </a:stretch>
        </a:blipFill>
      </dgm:spPr>
    </dgm:pt>
    <dgm:pt modelId="{908B206D-9CF4-48E3-8B84-3300C427EC74}" type="pres">
      <dgm:prSet presAssocID="{0E9A8FDC-42A2-4D26-8AF0-2E0E77931760}" presName="text" presStyleLbl="node1" presStyleIdx="2" presStyleCnt="3">
        <dgm:presLayoutVars>
          <dgm:bulletEnabled val="1"/>
        </dgm:presLayoutVars>
      </dgm:prSet>
      <dgm:spPr/>
    </dgm:pt>
  </dgm:ptLst>
  <dgm:cxnLst>
    <dgm:cxn modelId="{66A0C407-A8CB-4773-AD15-9D4A7934269D}" type="presOf" srcId="{069B62A9-4C6F-4418-8825-88211B42DF11}" destId="{FBFBC484-0D96-498E-B95F-962DE2834AE4}" srcOrd="0" destOrd="2" presId="urn:microsoft.com/office/officeart/2005/8/layout/vList4"/>
    <dgm:cxn modelId="{93E80212-2767-4B08-AD76-D8069C756A0D}" type="presOf" srcId="{A7E43C3B-7970-422D-84FD-A4864D6A0824}" destId="{908B206D-9CF4-48E3-8B84-3300C427EC74}" srcOrd="1" destOrd="5" presId="urn:microsoft.com/office/officeart/2005/8/layout/vList4"/>
    <dgm:cxn modelId="{095E9017-B1CD-4795-BDF1-97E6B58A8019}" srcId="{3B9A5DED-41D4-4120-9E42-1E371FF98A08}" destId="{288AC9D3-B094-4326-B316-27044150A715}" srcOrd="1" destOrd="0" parTransId="{FE9D1F56-91DC-4F87-A727-1DB4EAACF3FF}" sibTransId="{4ADAA232-E23E-4E8B-823F-781E19493057}"/>
    <dgm:cxn modelId="{C2821C29-8F3B-4F74-9BE7-7189A3266B69}" srcId="{3B9A5DED-41D4-4120-9E42-1E371FF98A08}" destId="{B8E17477-C110-41FE-B5EB-E205002DEA7E}" srcOrd="0" destOrd="0" parTransId="{24D3016B-E118-48AE-A598-20CB89E1BC36}" sibTransId="{CABEA318-A7B9-4DAA-95BB-AFE81BA9B760}"/>
    <dgm:cxn modelId="{0AD47731-679A-41C5-82FE-69DA287CE6FE}" srcId="{0E9A8FDC-42A2-4D26-8AF0-2E0E77931760}" destId="{9CD5E755-8258-4F02-8708-71C1ECBD0AD1}" srcOrd="5" destOrd="0" parTransId="{C8021B18-F75F-4706-AA08-79A7CBFCCABC}" sibTransId="{654DA8E2-36A2-4B77-9D0C-0492B063F899}"/>
    <dgm:cxn modelId="{B8F5B934-DA2A-4621-80D8-80C44CDE4FD0}" type="presOf" srcId="{41E786C5-F629-4FCA-93F6-957F386D0205}" destId="{F2FD6B42-A71C-4BF2-A6FC-A86C1AC136EA}" srcOrd="0" destOrd="5" presId="urn:microsoft.com/office/officeart/2005/8/layout/vList4"/>
    <dgm:cxn modelId="{DF82F73C-40C6-494A-A29F-5CFAB7579037}" type="presOf" srcId="{B8E17477-C110-41FE-B5EB-E205002DEA7E}" destId="{F2FD6B42-A71C-4BF2-A6FC-A86C1AC136EA}" srcOrd="0" destOrd="1" presId="urn:microsoft.com/office/officeart/2005/8/layout/vList4"/>
    <dgm:cxn modelId="{91D0D640-95EB-433B-BC66-59CAE7D4C390}" srcId="{0E9A8FDC-42A2-4D26-8AF0-2E0E77931760}" destId="{222E95C9-FD80-43B3-A6DE-5B946202B804}" srcOrd="2" destOrd="0" parTransId="{6B4160B9-60A2-4676-9160-B171C4C35DEA}" sibTransId="{20A34B11-5F0E-4BB8-86E7-B8C8620CBAF4}"/>
    <dgm:cxn modelId="{EADACE4D-C1D1-4702-B872-1D09A15F596F}" type="presOf" srcId="{41E786C5-F629-4FCA-93F6-957F386D0205}" destId="{B94E0826-E203-4780-8BF0-660489A034A2}" srcOrd="1" destOrd="5" presId="urn:microsoft.com/office/officeart/2005/8/layout/vList4"/>
    <dgm:cxn modelId="{8AF7E14D-75F2-4ABC-9306-5D4277E4A77B}" type="presOf" srcId="{A3741D1E-6AC5-44E8-BE0B-5128762B31F4}" destId="{F2FD6B42-A71C-4BF2-A6FC-A86C1AC136EA}" srcOrd="0" destOrd="3" presId="urn:microsoft.com/office/officeart/2005/8/layout/vList4"/>
    <dgm:cxn modelId="{EB2C384E-C0DD-4453-B7C6-073C54F3D08A}" type="presOf" srcId="{288AC9D3-B094-4326-B316-27044150A715}" destId="{F2FD6B42-A71C-4BF2-A6FC-A86C1AC136EA}" srcOrd="0" destOrd="2" presId="urn:microsoft.com/office/officeart/2005/8/layout/vList4"/>
    <dgm:cxn modelId="{4D40FB4F-B1AB-4171-913B-C70FCA3EC453}" type="presOf" srcId="{069B62A9-4C6F-4418-8825-88211B42DF11}" destId="{908B206D-9CF4-48E3-8B84-3300C427EC74}" srcOrd="1" destOrd="2" presId="urn:microsoft.com/office/officeart/2005/8/layout/vList4"/>
    <dgm:cxn modelId="{65129250-0E84-44EA-9203-1D9DB4B4DA11}" type="presOf" srcId="{9CD5E755-8258-4F02-8708-71C1ECBD0AD1}" destId="{FBFBC484-0D96-498E-B95F-962DE2834AE4}" srcOrd="0" destOrd="6" presId="urn:microsoft.com/office/officeart/2005/8/layout/vList4"/>
    <dgm:cxn modelId="{EF303E53-E7EC-4DB5-81B2-3E041DD0D0A6}" type="presOf" srcId="{67B95FAB-61C1-4C9E-8607-6EF5FEFDABF0}" destId="{9029DFB4-2FF7-4468-B78F-ABE5547F9C72}" srcOrd="0" destOrd="0" presId="urn:microsoft.com/office/officeart/2005/8/layout/vList4"/>
    <dgm:cxn modelId="{47442E55-82AF-4CF7-A4A7-7FCBCAEA2687}" type="presOf" srcId="{B38CF7AE-D7F7-4A0A-9DFE-4D6867441B8B}" destId="{F2FD6B42-A71C-4BF2-A6FC-A86C1AC136EA}" srcOrd="0" destOrd="4" presId="urn:microsoft.com/office/officeart/2005/8/layout/vList4"/>
    <dgm:cxn modelId="{1A994C56-088B-42AD-83E2-5583518BA8FE}" srcId="{3B9A5DED-41D4-4120-9E42-1E371FF98A08}" destId="{A3741D1E-6AC5-44E8-BE0B-5128762B31F4}" srcOrd="2" destOrd="0" parTransId="{775C24FC-24B9-4992-8606-0C068355CD10}" sibTransId="{C6A24705-C6FC-4EFF-8176-0420BD715A70}"/>
    <dgm:cxn modelId="{5BB31E64-1D1F-40AA-B1BE-F06D987B649F}" type="presOf" srcId="{B8E17477-C110-41FE-B5EB-E205002DEA7E}" destId="{B94E0826-E203-4780-8BF0-660489A034A2}" srcOrd="1" destOrd="1" presId="urn:microsoft.com/office/officeart/2005/8/layout/vList4"/>
    <dgm:cxn modelId="{7A38BC66-D91D-478F-86FF-4C311BA81135}" type="presOf" srcId="{9CD5E755-8258-4F02-8708-71C1ECBD0AD1}" destId="{908B206D-9CF4-48E3-8B84-3300C427EC74}" srcOrd="1" destOrd="6" presId="urn:microsoft.com/office/officeart/2005/8/layout/vList4"/>
    <dgm:cxn modelId="{A0C02567-9CF2-49B4-93BB-05DEA5DF7AA1}" srcId="{3B9A5DED-41D4-4120-9E42-1E371FF98A08}" destId="{41E786C5-F629-4FCA-93F6-957F386D0205}" srcOrd="4" destOrd="0" parTransId="{B661AF16-EE3E-4E27-ABAF-E6D51D38D627}" sibTransId="{9FB39FD5-1295-4542-8597-97DABB8F8318}"/>
    <dgm:cxn modelId="{C8F34270-38E7-453B-A3F6-C5C4C18FB771}" srcId="{D34D334A-5F01-455B-92F5-0E9009E8E162}" destId="{67B95FAB-61C1-4C9E-8607-6EF5FEFDABF0}" srcOrd="0" destOrd="0" parTransId="{76C215B4-D0AF-4395-89F8-887350002DCA}" sibTransId="{99E80410-297E-4A83-8C5B-B335A90AE901}"/>
    <dgm:cxn modelId="{5E177175-5B33-4748-AD3A-0E2B9070B651}" srcId="{3B9A5DED-41D4-4120-9E42-1E371FF98A08}" destId="{B38CF7AE-D7F7-4A0A-9DFE-4D6867441B8B}" srcOrd="3" destOrd="0" parTransId="{820A3276-3958-4E4A-A287-00328792CC92}" sibTransId="{C788DE87-BBF3-439C-A262-00AB5E481B99}"/>
    <dgm:cxn modelId="{22682E7B-B330-402D-8BD8-37A29D6FBBC5}" srcId="{0E9A8FDC-42A2-4D26-8AF0-2E0E77931760}" destId="{69A0752A-836E-4DD2-B77E-80C19FB5CB43}" srcOrd="3" destOrd="0" parTransId="{9B653166-0A19-46B3-94AE-CACB2683D6B1}" sibTransId="{4B3E4585-D38C-4A56-A54E-B4311C052E3A}"/>
    <dgm:cxn modelId="{84F8337D-4155-4544-B295-78D24A8A281C}" type="presOf" srcId="{288AC9D3-B094-4326-B316-27044150A715}" destId="{B94E0826-E203-4780-8BF0-660489A034A2}" srcOrd="1" destOrd="2" presId="urn:microsoft.com/office/officeart/2005/8/layout/vList4"/>
    <dgm:cxn modelId="{3729F88D-0166-4DB1-9EC3-47604473FFE2}" type="presOf" srcId="{B38CF7AE-D7F7-4A0A-9DFE-4D6867441B8B}" destId="{B94E0826-E203-4780-8BF0-660489A034A2}" srcOrd="1" destOrd="4" presId="urn:microsoft.com/office/officeart/2005/8/layout/vList4"/>
    <dgm:cxn modelId="{1BA73B92-561D-46A5-A6A5-7673EB266349}" type="presOf" srcId="{45410636-179E-4A9E-8EF8-20334FA2C58B}" destId="{FBFBC484-0D96-498E-B95F-962DE2834AE4}" srcOrd="0" destOrd="1" presId="urn:microsoft.com/office/officeart/2005/8/layout/vList4"/>
    <dgm:cxn modelId="{3942BB93-2EBB-4912-B1DA-A785DF2D488B}" type="presOf" srcId="{3B9A5DED-41D4-4120-9E42-1E371FF98A08}" destId="{B94E0826-E203-4780-8BF0-660489A034A2}" srcOrd="1" destOrd="0" presId="urn:microsoft.com/office/officeart/2005/8/layout/vList4"/>
    <dgm:cxn modelId="{4EA70F95-BC28-475B-8204-013F8E687CFA}" type="presOf" srcId="{67B95FAB-61C1-4C9E-8607-6EF5FEFDABF0}" destId="{668D195E-7F90-4AAA-96D7-413D2AFD35E1}" srcOrd="1" destOrd="0" presId="urn:microsoft.com/office/officeart/2005/8/layout/vList4"/>
    <dgm:cxn modelId="{AC4B30A7-24BD-4665-B16E-E2051B3836AD}" type="presOf" srcId="{69A0752A-836E-4DD2-B77E-80C19FB5CB43}" destId="{908B206D-9CF4-48E3-8B84-3300C427EC74}" srcOrd="1" destOrd="4" presId="urn:microsoft.com/office/officeart/2005/8/layout/vList4"/>
    <dgm:cxn modelId="{4B55EBAD-EB7B-4044-88ED-7060F572F78E}" type="presOf" srcId="{45410636-179E-4A9E-8EF8-20334FA2C58B}" destId="{908B206D-9CF4-48E3-8B84-3300C427EC74}" srcOrd="1" destOrd="1" presId="urn:microsoft.com/office/officeart/2005/8/layout/vList4"/>
    <dgm:cxn modelId="{C192F9B0-035C-4AB3-ACDC-0BF86A995A2C}" type="presOf" srcId="{3B9A5DED-41D4-4120-9E42-1E371FF98A08}" destId="{F2FD6B42-A71C-4BF2-A6FC-A86C1AC136EA}" srcOrd="0" destOrd="0" presId="urn:microsoft.com/office/officeart/2005/8/layout/vList4"/>
    <dgm:cxn modelId="{34D952B3-AE98-479D-ABD6-26C85BF3ECC5}" type="presOf" srcId="{0E9A8FDC-42A2-4D26-8AF0-2E0E77931760}" destId="{908B206D-9CF4-48E3-8B84-3300C427EC74}" srcOrd="1" destOrd="0" presId="urn:microsoft.com/office/officeart/2005/8/layout/vList4"/>
    <dgm:cxn modelId="{904CE0B8-46DC-4BF6-AC5E-BFD4C8598268}" type="presOf" srcId="{222E95C9-FD80-43B3-A6DE-5B946202B804}" destId="{908B206D-9CF4-48E3-8B84-3300C427EC74}" srcOrd="1" destOrd="3" presId="urn:microsoft.com/office/officeart/2005/8/layout/vList4"/>
    <dgm:cxn modelId="{EA1CB0BA-81BF-40FE-99A0-48FB8DEFF059}" srcId="{0E9A8FDC-42A2-4D26-8AF0-2E0E77931760}" destId="{069B62A9-4C6F-4418-8825-88211B42DF11}" srcOrd="1" destOrd="0" parTransId="{21A92EA0-EB1B-40EC-830A-6A1F15C7CDB8}" sibTransId="{BA581C73-28F7-49BB-BF23-8FF519F5F415}"/>
    <dgm:cxn modelId="{9BE311CF-2BE4-4135-8024-D4852FED1B0A}" srcId="{D34D334A-5F01-455B-92F5-0E9009E8E162}" destId="{0E9A8FDC-42A2-4D26-8AF0-2E0E77931760}" srcOrd="2" destOrd="0" parTransId="{036A6F7D-08BF-43FA-B224-CAB025039914}" sibTransId="{FCB4EC0D-7150-4C19-B26D-08CC3E7D7A6E}"/>
    <dgm:cxn modelId="{CEF717DC-F1C3-4118-B049-1E8EE9137783}" srcId="{0E9A8FDC-42A2-4D26-8AF0-2E0E77931760}" destId="{45410636-179E-4A9E-8EF8-20334FA2C58B}" srcOrd="0" destOrd="0" parTransId="{EFA75488-33CE-4B2F-BE66-62FE437B9601}" sibTransId="{C092E687-D534-492C-8B90-B9ED876B6E10}"/>
    <dgm:cxn modelId="{8B4122E6-ADE4-484B-8FFF-C33E63ADCA83}" type="presOf" srcId="{69A0752A-836E-4DD2-B77E-80C19FB5CB43}" destId="{FBFBC484-0D96-498E-B95F-962DE2834AE4}" srcOrd="0" destOrd="4" presId="urn:microsoft.com/office/officeart/2005/8/layout/vList4"/>
    <dgm:cxn modelId="{6A789BE7-F351-4A2C-9753-3F2238A2DCE6}" srcId="{0E9A8FDC-42A2-4D26-8AF0-2E0E77931760}" destId="{A7E43C3B-7970-422D-84FD-A4864D6A0824}" srcOrd="4" destOrd="0" parTransId="{901930F8-3845-474E-B3C5-3FC96D6F2C31}" sibTransId="{7961B6E1-5D8E-4C41-B76F-E5756C8BE6B2}"/>
    <dgm:cxn modelId="{D40099EA-A329-48E9-95E4-51169B32FC73}" type="presOf" srcId="{D34D334A-5F01-455B-92F5-0E9009E8E162}" destId="{0A7F187D-E71E-4E94-9BA1-BA136ECC5B73}" srcOrd="0" destOrd="0" presId="urn:microsoft.com/office/officeart/2005/8/layout/vList4"/>
    <dgm:cxn modelId="{A0A2C5EE-17E6-48C8-A1DC-FF2512A57D9A}" type="presOf" srcId="{A7E43C3B-7970-422D-84FD-A4864D6A0824}" destId="{FBFBC484-0D96-498E-B95F-962DE2834AE4}" srcOrd="0" destOrd="5" presId="urn:microsoft.com/office/officeart/2005/8/layout/vList4"/>
    <dgm:cxn modelId="{54AC60EF-3BCE-4362-914A-152F2CB07E94}" type="presOf" srcId="{A3741D1E-6AC5-44E8-BE0B-5128762B31F4}" destId="{B94E0826-E203-4780-8BF0-660489A034A2}" srcOrd="1" destOrd="3" presId="urn:microsoft.com/office/officeart/2005/8/layout/vList4"/>
    <dgm:cxn modelId="{DB892DF3-A71D-4B28-BA7F-E888EDF9DCB4}" srcId="{D34D334A-5F01-455B-92F5-0E9009E8E162}" destId="{3B9A5DED-41D4-4120-9E42-1E371FF98A08}" srcOrd="1" destOrd="0" parTransId="{06C2703C-3DD9-4EDD-9CF3-191CD2ACE1F8}" sibTransId="{56BBCBD0-39AE-4C1D-B03B-D3489B243F46}"/>
    <dgm:cxn modelId="{AD1A11F9-C4B7-497F-B977-060ACB1D3184}" type="presOf" srcId="{0E9A8FDC-42A2-4D26-8AF0-2E0E77931760}" destId="{FBFBC484-0D96-498E-B95F-962DE2834AE4}" srcOrd="0" destOrd="0" presId="urn:microsoft.com/office/officeart/2005/8/layout/vList4"/>
    <dgm:cxn modelId="{D72D40FC-3F0D-42C0-9EFB-85CBFFCB593A}" type="presOf" srcId="{222E95C9-FD80-43B3-A6DE-5B946202B804}" destId="{FBFBC484-0D96-498E-B95F-962DE2834AE4}" srcOrd="0" destOrd="3" presId="urn:microsoft.com/office/officeart/2005/8/layout/vList4"/>
    <dgm:cxn modelId="{A56F1B3A-66C6-4C6F-8F96-C104C0D9FF41}" type="presParOf" srcId="{0A7F187D-E71E-4E94-9BA1-BA136ECC5B73}" destId="{95643650-BF9B-43DB-9F4C-4998670C6D96}" srcOrd="0" destOrd="0" presId="urn:microsoft.com/office/officeart/2005/8/layout/vList4"/>
    <dgm:cxn modelId="{5FDFDFF0-B0A8-4C91-83F5-3A25D23951E2}" type="presParOf" srcId="{95643650-BF9B-43DB-9F4C-4998670C6D96}" destId="{9029DFB4-2FF7-4468-B78F-ABE5547F9C72}" srcOrd="0" destOrd="0" presId="urn:microsoft.com/office/officeart/2005/8/layout/vList4"/>
    <dgm:cxn modelId="{2ACBCEAE-ACAE-405C-AEBE-1631391C317F}" type="presParOf" srcId="{95643650-BF9B-43DB-9F4C-4998670C6D96}" destId="{9C22EB6F-70F6-471C-A23C-A2D9A71AD382}" srcOrd="1" destOrd="0" presId="urn:microsoft.com/office/officeart/2005/8/layout/vList4"/>
    <dgm:cxn modelId="{F83C7D99-4EAB-46EC-A1EB-0C35C880C23B}" type="presParOf" srcId="{95643650-BF9B-43DB-9F4C-4998670C6D96}" destId="{668D195E-7F90-4AAA-96D7-413D2AFD35E1}" srcOrd="2" destOrd="0" presId="urn:microsoft.com/office/officeart/2005/8/layout/vList4"/>
    <dgm:cxn modelId="{95CC166D-44CF-4AD1-AA7F-7EEE7AF851AD}" type="presParOf" srcId="{0A7F187D-E71E-4E94-9BA1-BA136ECC5B73}" destId="{77AE301E-1C8A-42D3-B4BE-7E08C34754E4}" srcOrd="1" destOrd="0" presId="urn:microsoft.com/office/officeart/2005/8/layout/vList4"/>
    <dgm:cxn modelId="{19A5409D-D8CB-48D3-96F2-7FA240379E5E}" type="presParOf" srcId="{0A7F187D-E71E-4E94-9BA1-BA136ECC5B73}" destId="{A9416961-6B28-4DB8-A617-39F51AAC355D}" srcOrd="2" destOrd="0" presId="urn:microsoft.com/office/officeart/2005/8/layout/vList4"/>
    <dgm:cxn modelId="{21F208A5-6D58-48CB-A970-4F1DC130D7AF}" type="presParOf" srcId="{A9416961-6B28-4DB8-A617-39F51AAC355D}" destId="{F2FD6B42-A71C-4BF2-A6FC-A86C1AC136EA}" srcOrd="0" destOrd="0" presId="urn:microsoft.com/office/officeart/2005/8/layout/vList4"/>
    <dgm:cxn modelId="{968B5259-3D68-4612-8666-EA1B6796E360}" type="presParOf" srcId="{A9416961-6B28-4DB8-A617-39F51AAC355D}" destId="{9839D655-34C4-48E5-9E14-C1DBEEACD0B9}" srcOrd="1" destOrd="0" presId="urn:microsoft.com/office/officeart/2005/8/layout/vList4"/>
    <dgm:cxn modelId="{5E389FC5-269D-42FF-A885-AF1EE622185E}" type="presParOf" srcId="{A9416961-6B28-4DB8-A617-39F51AAC355D}" destId="{B94E0826-E203-4780-8BF0-660489A034A2}" srcOrd="2" destOrd="0" presId="urn:microsoft.com/office/officeart/2005/8/layout/vList4"/>
    <dgm:cxn modelId="{E9CB3097-A7E1-442A-802C-D79028CDAB6A}" type="presParOf" srcId="{0A7F187D-E71E-4E94-9BA1-BA136ECC5B73}" destId="{D1FF32D2-FCB4-4098-AA81-48611140DEE5}" srcOrd="3" destOrd="0" presId="urn:microsoft.com/office/officeart/2005/8/layout/vList4"/>
    <dgm:cxn modelId="{D3703385-B745-4FF5-A636-9EDC731C1235}" type="presParOf" srcId="{0A7F187D-E71E-4E94-9BA1-BA136ECC5B73}" destId="{6601A8F6-FA8B-4F8E-A9BB-293616E07750}" srcOrd="4" destOrd="0" presId="urn:microsoft.com/office/officeart/2005/8/layout/vList4"/>
    <dgm:cxn modelId="{3CDE93B9-E310-4A25-B341-9603A38A53BA}" type="presParOf" srcId="{6601A8F6-FA8B-4F8E-A9BB-293616E07750}" destId="{FBFBC484-0D96-498E-B95F-962DE2834AE4}" srcOrd="0" destOrd="0" presId="urn:microsoft.com/office/officeart/2005/8/layout/vList4"/>
    <dgm:cxn modelId="{22547A72-BECD-4E9E-9751-B5C67108EFCD}" type="presParOf" srcId="{6601A8F6-FA8B-4F8E-A9BB-293616E07750}" destId="{9BFD3BC9-6F97-4770-B5AD-51B7BF41AC61}" srcOrd="1" destOrd="0" presId="urn:microsoft.com/office/officeart/2005/8/layout/vList4"/>
    <dgm:cxn modelId="{46EA0D6A-E53F-400E-8553-23470D56B824}" type="presParOf" srcId="{6601A8F6-FA8B-4F8E-A9BB-293616E07750}" destId="{908B206D-9CF4-48E3-8B84-3300C427EC74}" srcOrd="2" destOrd="0" presId="urn:microsoft.com/office/officeart/2005/8/layout/vList4"/>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F9FFD8-FB1B-419B-9C67-3FC9DED3835E}">
      <dsp:nvSpPr>
        <dsp:cNvPr id="0" name=""/>
        <dsp:cNvSpPr/>
      </dsp:nvSpPr>
      <dsp:spPr>
        <a:xfrm>
          <a:off x="2411" y="0"/>
          <a:ext cx="3751933" cy="5082639"/>
        </a:xfrm>
        <a:prstGeom prst="roundRect">
          <a:avLst>
            <a:gd name="adj" fmla="val 10000"/>
          </a:avLst>
        </a:prstGeom>
        <a:solidFill>
          <a:srgbClr val="0385B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s-GT" sz="1800" kern="1200" dirty="0"/>
            <a:t>Como resultado de la improbación del proyecto de presupuesto para 2021 por parte del Congreso, según lo que establece el Artículo 171 de la Constitución Política de la República de Guatemala queda en vigencia el presupuesto de 2020 </a:t>
          </a:r>
          <a:r>
            <a:rPr lang="es-GT" sz="1800" b="1" kern="1200" dirty="0"/>
            <a:t>(Q107,521.5 millones)</a:t>
          </a:r>
        </a:p>
      </dsp:txBody>
      <dsp:txXfrm>
        <a:off x="2411" y="2033055"/>
        <a:ext cx="3751933" cy="2033055"/>
      </dsp:txXfrm>
    </dsp:sp>
    <dsp:sp modelId="{7F969287-43A3-4D9B-A9B2-43B973CFB29A}">
      <dsp:nvSpPr>
        <dsp:cNvPr id="0" name=""/>
        <dsp:cNvSpPr/>
      </dsp:nvSpPr>
      <dsp:spPr>
        <a:xfrm>
          <a:off x="1032118" y="109015"/>
          <a:ext cx="1692518" cy="1692518"/>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25000" r="-2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6309E76-B536-48E3-A836-BF819DE7E96E}">
      <dsp:nvSpPr>
        <dsp:cNvPr id="0" name=""/>
        <dsp:cNvSpPr/>
      </dsp:nvSpPr>
      <dsp:spPr>
        <a:xfrm>
          <a:off x="3866902" y="0"/>
          <a:ext cx="3751933" cy="5082639"/>
        </a:xfrm>
        <a:prstGeom prst="roundRect">
          <a:avLst>
            <a:gd name="adj" fmla="val 10000"/>
          </a:avLst>
        </a:prstGeom>
        <a:solidFill>
          <a:schemeClr val="accent5">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s-GT" sz="1600" b="1" kern="1200" dirty="0"/>
            <a:t>El presupuesto contiene fuentes financieras que no podrán utilizarse en 2021:</a:t>
          </a:r>
        </a:p>
        <a:p>
          <a:pPr marL="0" lvl="0" indent="0" algn="l" defTabSz="711200">
            <a:lnSpc>
              <a:spcPct val="90000"/>
            </a:lnSpc>
            <a:spcBef>
              <a:spcPct val="0"/>
            </a:spcBef>
            <a:spcAft>
              <a:spcPct val="35000"/>
            </a:spcAft>
            <a:buNone/>
          </a:pPr>
          <a:r>
            <a:rPr lang="es-GT" sz="1600" kern="1200" dirty="0"/>
            <a:t>·Colocación de Bonos del Tesoro con el Banco de Guatemala (Q11,000 millones)</a:t>
          </a:r>
        </a:p>
        <a:p>
          <a:pPr marL="0" lvl="0" indent="0" algn="l" defTabSz="711200">
            <a:lnSpc>
              <a:spcPct val="90000"/>
            </a:lnSpc>
            <a:spcBef>
              <a:spcPct val="0"/>
            </a:spcBef>
            <a:spcAft>
              <a:spcPct val="35000"/>
            </a:spcAft>
            <a:buNone/>
          </a:pPr>
          <a:r>
            <a:rPr lang="es-GT" sz="1600" kern="1200" dirty="0"/>
            <a:t>·Algunas operaciones de préstamo que fueron desembolsadas en 2020</a:t>
          </a:r>
        </a:p>
        <a:p>
          <a:pPr marL="0" lvl="0" indent="0" algn="l" defTabSz="711200">
            <a:lnSpc>
              <a:spcPct val="90000"/>
            </a:lnSpc>
            <a:spcBef>
              <a:spcPct val="0"/>
            </a:spcBef>
            <a:spcAft>
              <a:spcPct val="35000"/>
            </a:spcAft>
            <a:buNone/>
          </a:pPr>
          <a:r>
            <a:rPr lang="es-GT" sz="1600" kern="1200" dirty="0"/>
            <a:t>·Además el gasto de emergencia por el COVID-19, fue solo para 2020</a:t>
          </a:r>
        </a:p>
      </dsp:txBody>
      <dsp:txXfrm>
        <a:off x="3866902" y="2033055"/>
        <a:ext cx="3751933" cy="2033055"/>
      </dsp:txXfrm>
    </dsp:sp>
    <dsp:sp modelId="{9C23C60B-B067-4978-AC05-CC7D089A7E51}">
      <dsp:nvSpPr>
        <dsp:cNvPr id="0" name=""/>
        <dsp:cNvSpPr/>
      </dsp:nvSpPr>
      <dsp:spPr>
        <a:xfrm>
          <a:off x="4896610" y="122081"/>
          <a:ext cx="1692518" cy="1692518"/>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17000" r="-1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A7BE188-E534-4613-987B-F6145898774B}">
      <dsp:nvSpPr>
        <dsp:cNvPr id="0" name=""/>
        <dsp:cNvSpPr/>
      </dsp:nvSpPr>
      <dsp:spPr>
        <a:xfrm>
          <a:off x="7731394" y="0"/>
          <a:ext cx="3751933" cy="5082639"/>
        </a:xfrm>
        <a:prstGeom prst="roundRect">
          <a:avLst>
            <a:gd name="adj" fmla="val 10000"/>
          </a:avLst>
        </a:prstGeom>
        <a:solidFill>
          <a:srgbClr val="0B396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s-GT" sz="2000" kern="1200" dirty="0"/>
            <a:t>El Organismo Ejecutivo tiene que realizar las modificaciones para viabilizar la </a:t>
          </a:r>
          <a:r>
            <a:rPr lang="es-GT" sz="2000" b="1" kern="1200" dirty="0"/>
            <a:t>ejecución presupuestaria de 2021</a:t>
          </a:r>
        </a:p>
      </dsp:txBody>
      <dsp:txXfrm>
        <a:off x="7731394" y="2033055"/>
        <a:ext cx="3751933" cy="2033055"/>
      </dsp:txXfrm>
    </dsp:sp>
    <dsp:sp modelId="{D69C41EC-46DD-4519-AE45-54DACC65679B}">
      <dsp:nvSpPr>
        <dsp:cNvPr id="0" name=""/>
        <dsp:cNvSpPr/>
      </dsp:nvSpPr>
      <dsp:spPr>
        <a:xfrm>
          <a:off x="8787233" y="122081"/>
          <a:ext cx="1692518" cy="1692518"/>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25000" r="-2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B685F64-2A78-44CB-9E0A-01FFF7F57669}">
      <dsp:nvSpPr>
        <dsp:cNvPr id="0" name=""/>
        <dsp:cNvSpPr/>
      </dsp:nvSpPr>
      <dsp:spPr>
        <a:xfrm>
          <a:off x="1402840" y="4332111"/>
          <a:ext cx="8941271" cy="439414"/>
        </a:xfrm>
        <a:prstGeom prst="leftRightArrow">
          <a:avLst/>
        </a:prstGeom>
        <a:solidFill>
          <a:schemeClr val="accent3">
            <a:lumMod val="40000"/>
            <a:lumOff val="6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29DFB4-2FF7-4468-B78F-ABE5547F9C72}">
      <dsp:nvSpPr>
        <dsp:cNvPr id="0" name=""/>
        <dsp:cNvSpPr/>
      </dsp:nvSpPr>
      <dsp:spPr>
        <a:xfrm>
          <a:off x="0" y="24896"/>
          <a:ext cx="6888771" cy="1099836"/>
        </a:xfrm>
        <a:prstGeom prst="roundRect">
          <a:avLst>
            <a:gd name="adj" fmla="val 10000"/>
          </a:avLst>
        </a:prstGeom>
        <a:solidFill>
          <a:srgbClr val="0385B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just" defTabSz="711200">
            <a:lnSpc>
              <a:spcPct val="90000"/>
            </a:lnSpc>
            <a:spcBef>
              <a:spcPct val="0"/>
            </a:spcBef>
            <a:spcAft>
              <a:spcPct val="35000"/>
            </a:spcAft>
            <a:buNone/>
          </a:pPr>
          <a:r>
            <a:rPr lang="es-US" sz="1600" kern="1200" dirty="0"/>
            <a:t>El 75.3% de la recaudación tributaria total esta explicada por el Impuesto sobre la renta y el Impuesto al valor agregado</a:t>
          </a:r>
          <a:endParaRPr lang="es-GT" sz="1600" kern="1200" dirty="0"/>
        </a:p>
      </dsp:txBody>
      <dsp:txXfrm>
        <a:off x="1521457" y="24896"/>
        <a:ext cx="5367313" cy="1099836"/>
      </dsp:txXfrm>
    </dsp:sp>
    <dsp:sp modelId="{9C22EB6F-70F6-471C-A23C-A2D9A71AD382}">
      <dsp:nvSpPr>
        <dsp:cNvPr id="0" name=""/>
        <dsp:cNvSpPr/>
      </dsp:nvSpPr>
      <dsp:spPr>
        <a:xfrm>
          <a:off x="143703" y="0"/>
          <a:ext cx="1377754" cy="1149629"/>
        </a:xfrm>
        <a:prstGeom prst="roundRect">
          <a:avLst>
            <a:gd name="adj" fmla="val 10000"/>
          </a:avLst>
        </a:prstGeom>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l="-2941" t="10560" r="-2941" b="1056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2FD6B42-A71C-4BF2-A6FC-A86C1AC136EA}">
      <dsp:nvSpPr>
        <dsp:cNvPr id="0" name=""/>
        <dsp:cNvSpPr/>
      </dsp:nvSpPr>
      <dsp:spPr>
        <a:xfrm>
          <a:off x="0" y="1293333"/>
          <a:ext cx="6888771" cy="2182629"/>
        </a:xfrm>
        <a:prstGeom prst="roundRect">
          <a:avLst>
            <a:gd name="adj" fmla="val 10000"/>
          </a:avLst>
        </a:prstGeom>
        <a:solidFill>
          <a:srgbClr val="0385B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just" defTabSz="711200">
            <a:lnSpc>
              <a:spcPct val="90000"/>
            </a:lnSpc>
            <a:spcBef>
              <a:spcPct val="0"/>
            </a:spcBef>
            <a:spcAft>
              <a:spcPct val="35000"/>
            </a:spcAft>
            <a:buNone/>
          </a:pPr>
          <a:r>
            <a:rPr lang="es-US" sz="1600" kern="1200" dirty="0"/>
            <a:t>Recuperación en la recaudación asociada al comercio exterior, crecimiento del 43.9% respecto a 2020 </a:t>
          </a:r>
          <a:endParaRPr lang="es-GT" sz="1600" kern="1200" dirty="0"/>
        </a:p>
        <a:p>
          <a:pPr marL="114300" lvl="1" indent="-114300" algn="l" defTabSz="666750">
            <a:lnSpc>
              <a:spcPct val="90000"/>
            </a:lnSpc>
            <a:spcBef>
              <a:spcPct val="0"/>
            </a:spcBef>
            <a:spcAft>
              <a:spcPct val="15000"/>
            </a:spcAft>
            <a:buChar char="•"/>
          </a:pPr>
          <a:r>
            <a:rPr lang="es-GT" sz="1500" kern="1200" dirty="0"/>
            <a:t>Ajustes a través de rectificaciones</a:t>
          </a:r>
        </a:p>
        <a:p>
          <a:pPr marL="114300" lvl="1" indent="-114300" algn="l" defTabSz="666750">
            <a:lnSpc>
              <a:spcPct val="90000"/>
            </a:lnSpc>
            <a:spcBef>
              <a:spcPct val="0"/>
            </a:spcBef>
            <a:spcAft>
              <a:spcPct val="15000"/>
            </a:spcAft>
            <a:buChar char="•"/>
          </a:pPr>
          <a:r>
            <a:rPr lang="es-GT" sz="1500" kern="1200" dirty="0"/>
            <a:t>Medidas de control en materia de riesgo</a:t>
          </a:r>
        </a:p>
        <a:p>
          <a:pPr marL="114300" lvl="1" indent="-114300" algn="l" defTabSz="666750">
            <a:lnSpc>
              <a:spcPct val="90000"/>
            </a:lnSpc>
            <a:spcBef>
              <a:spcPct val="0"/>
            </a:spcBef>
            <a:spcAft>
              <a:spcPct val="15000"/>
            </a:spcAft>
            <a:buChar char="•"/>
          </a:pPr>
          <a:r>
            <a:rPr lang="es-GT" sz="1500" kern="1200" dirty="0"/>
            <a:t>Mejoras en tiempos de despacho y gestión</a:t>
          </a:r>
        </a:p>
        <a:p>
          <a:pPr marL="114300" lvl="1" indent="-114300" algn="l" defTabSz="666750">
            <a:lnSpc>
              <a:spcPct val="90000"/>
            </a:lnSpc>
            <a:spcBef>
              <a:spcPct val="0"/>
            </a:spcBef>
            <a:spcAft>
              <a:spcPct val="15000"/>
            </a:spcAft>
            <a:buChar char="•"/>
          </a:pPr>
          <a:r>
            <a:rPr lang="es-GT" sz="1500" kern="1200" dirty="0"/>
            <a:t>Mayor simplificación y automatización en la transmisión de declaraciones y controles aduaneros</a:t>
          </a:r>
        </a:p>
        <a:p>
          <a:pPr marL="114300" lvl="1" indent="-114300" algn="l" defTabSz="666750">
            <a:lnSpc>
              <a:spcPct val="90000"/>
            </a:lnSpc>
            <a:spcBef>
              <a:spcPct val="0"/>
            </a:spcBef>
            <a:spcAft>
              <a:spcPct val="15000"/>
            </a:spcAft>
            <a:buChar char="•"/>
          </a:pPr>
          <a:r>
            <a:rPr lang="es-US" sz="1500" kern="1200" dirty="0"/>
            <a:t>Recaudación adicional por concepto de derivados del petróleo</a:t>
          </a:r>
          <a:endParaRPr lang="es-GT" sz="1500" kern="1200" dirty="0"/>
        </a:p>
      </dsp:txBody>
      <dsp:txXfrm>
        <a:off x="1521457" y="1293333"/>
        <a:ext cx="5367313" cy="2182629"/>
      </dsp:txXfrm>
    </dsp:sp>
    <dsp:sp modelId="{9839D655-34C4-48E5-9E14-C1DBEEACD0B9}">
      <dsp:nvSpPr>
        <dsp:cNvPr id="0" name=""/>
        <dsp:cNvSpPr/>
      </dsp:nvSpPr>
      <dsp:spPr>
        <a:xfrm>
          <a:off x="143703" y="1809832"/>
          <a:ext cx="1377754" cy="1149629"/>
        </a:xfrm>
        <a:prstGeom prst="roundRect">
          <a:avLst>
            <a:gd name="adj" fmla="val 10000"/>
          </a:avLst>
        </a:prstGeom>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l="-16177" t="-434" r="-16177" b="-434"/>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BFBC484-0D96-498E-B95F-962DE2834AE4}">
      <dsp:nvSpPr>
        <dsp:cNvPr id="0" name=""/>
        <dsp:cNvSpPr/>
      </dsp:nvSpPr>
      <dsp:spPr>
        <a:xfrm>
          <a:off x="0" y="3619665"/>
          <a:ext cx="6888771" cy="1972634"/>
        </a:xfrm>
        <a:prstGeom prst="roundRect">
          <a:avLst>
            <a:gd name="adj" fmla="val 10000"/>
          </a:avLst>
        </a:prstGeom>
        <a:solidFill>
          <a:srgbClr val="0385B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t" anchorCtr="0">
          <a:noAutofit/>
        </a:bodyPr>
        <a:lstStyle/>
        <a:p>
          <a:pPr marL="0" lvl="0" indent="0" algn="l" defTabSz="666750">
            <a:lnSpc>
              <a:spcPct val="90000"/>
            </a:lnSpc>
            <a:spcBef>
              <a:spcPct val="0"/>
            </a:spcBef>
            <a:spcAft>
              <a:spcPct val="35000"/>
            </a:spcAft>
            <a:buNone/>
          </a:pPr>
          <a:r>
            <a:rPr lang="es-US" sz="1500" kern="1200" dirty="0"/>
            <a:t>Los impuestos internos crecen en 25.0% respecto a 2020</a:t>
          </a:r>
          <a:endParaRPr lang="es-GT" sz="1500" kern="1200" dirty="0"/>
        </a:p>
        <a:p>
          <a:pPr marL="114300" lvl="1" indent="-114300" algn="l" defTabSz="666750">
            <a:lnSpc>
              <a:spcPct val="90000"/>
            </a:lnSpc>
            <a:spcBef>
              <a:spcPct val="0"/>
            </a:spcBef>
            <a:spcAft>
              <a:spcPct val="15000"/>
            </a:spcAft>
            <a:buChar char="•"/>
          </a:pPr>
          <a:r>
            <a:rPr lang="es-US" sz="1500" kern="1200" dirty="0"/>
            <a:t>El ISR y el IVA crecen en 28.8% y  31.4%</a:t>
          </a:r>
          <a:endParaRPr lang="es-GT" sz="1500" kern="1200" dirty="0"/>
        </a:p>
        <a:p>
          <a:pPr marL="114300" lvl="1" indent="-114300" algn="l" defTabSz="666750">
            <a:lnSpc>
              <a:spcPct val="90000"/>
            </a:lnSpc>
            <a:spcBef>
              <a:spcPct val="0"/>
            </a:spcBef>
            <a:spcAft>
              <a:spcPct val="15000"/>
            </a:spcAft>
            <a:buChar char="•"/>
          </a:pPr>
          <a:r>
            <a:rPr lang="es-US" sz="1500" kern="1200" dirty="0"/>
            <a:t> Aumento de contribuyentes afiliados al RTU en IVA e ISR</a:t>
          </a:r>
          <a:endParaRPr lang="es-GT" sz="1500" kern="1200" dirty="0"/>
        </a:p>
        <a:p>
          <a:pPr marL="114300" lvl="1" indent="-114300" algn="l" defTabSz="666750">
            <a:lnSpc>
              <a:spcPct val="90000"/>
            </a:lnSpc>
            <a:spcBef>
              <a:spcPct val="0"/>
            </a:spcBef>
            <a:spcAft>
              <a:spcPct val="15000"/>
            </a:spcAft>
            <a:buChar char="•"/>
          </a:pPr>
          <a:r>
            <a:rPr lang="es-US" sz="1500" kern="1200" dirty="0"/>
            <a:t>Aumento de emisores de documentos tributarios electrónicos</a:t>
          </a:r>
          <a:endParaRPr lang="es-GT" sz="1500" kern="1200" dirty="0"/>
        </a:p>
        <a:p>
          <a:pPr marL="114300" lvl="1" indent="-114300" algn="l" defTabSz="666750">
            <a:lnSpc>
              <a:spcPct val="90000"/>
            </a:lnSpc>
            <a:spcBef>
              <a:spcPct val="0"/>
            </a:spcBef>
            <a:spcAft>
              <a:spcPct val="15000"/>
            </a:spcAft>
            <a:buChar char="•"/>
          </a:pPr>
          <a:r>
            <a:rPr lang="es-US" sz="1500" kern="1200" dirty="0"/>
            <a:t>Mejoras al sistema de facilidades de pago</a:t>
          </a:r>
          <a:endParaRPr lang="es-GT" sz="1500" kern="1200" dirty="0"/>
        </a:p>
        <a:p>
          <a:pPr marL="114300" lvl="1" indent="-114300" algn="l" defTabSz="666750">
            <a:lnSpc>
              <a:spcPct val="90000"/>
            </a:lnSpc>
            <a:spcBef>
              <a:spcPct val="0"/>
            </a:spcBef>
            <a:spcAft>
              <a:spcPct val="15000"/>
            </a:spcAft>
            <a:buChar char="•"/>
          </a:pPr>
          <a:r>
            <a:rPr lang="es-US" sz="1500" kern="1200" dirty="0"/>
            <a:t>Aumento en la percepción de riesgo de los contribuyentes</a:t>
          </a:r>
          <a:endParaRPr lang="es-GT" sz="1500" kern="1200" dirty="0"/>
        </a:p>
        <a:p>
          <a:pPr marL="114300" lvl="1" indent="-114300" algn="l" defTabSz="666750">
            <a:lnSpc>
              <a:spcPct val="90000"/>
            </a:lnSpc>
            <a:spcBef>
              <a:spcPct val="0"/>
            </a:spcBef>
            <a:spcAft>
              <a:spcPct val="15000"/>
            </a:spcAft>
            <a:buChar char="•"/>
          </a:pPr>
          <a:r>
            <a:rPr lang="es-US" sz="1500" kern="1200" dirty="0"/>
            <a:t>Remesas familiares crecientes dinamizan el consumo</a:t>
          </a:r>
          <a:endParaRPr lang="es-GT" sz="1500" kern="1200" dirty="0"/>
        </a:p>
      </dsp:txBody>
      <dsp:txXfrm>
        <a:off x="1521457" y="3619665"/>
        <a:ext cx="5367313" cy="1972634"/>
      </dsp:txXfrm>
    </dsp:sp>
    <dsp:sp modelId="{9BFD3BC9-6F97-4770-B5AD-51B7BF41AC61}">
      <dsp:nvSpPr>
        <dsp:cNvPr id="0" name=""/>
        <dsp:cNvSpPr/>
      </dsp:nvSpPr>
      <dsp:spPr>
        <a:xfrm>
          <a:off x="143703" y="4031168"/>
          <a:ext cx="1377754" cy="1149629"/>
        </a:xfrm>
        <a:prstGeom prst="roundRect">
          <a:avLst>
            <a:gd name="adj" fmla="val 10000"/>
          </a:avLst>
        </a:prstGeom>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l="3439" t="4872" r="3439" b="4872"/>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drawings/drawing1.xml><?xml version="1.0" encoding="utf-8"?>
<c:userShapes xmlns:c="http://schemas.openxmlformats.org/drawingml/2006/chart">
  <cdr:relSizeAnchor xmlns:cdr="http://schemas.openxmlformats.org/drawingml/2006/chartDrawing">
    <cdr:from>
      <cdr:x>0.17382</cdr:x>
      <cdr:y>0</cdr:y>
    </cdr:from>
    <cdr:to>
      <cdr:x>0.44113</cdr:x>
      <cdr:y>0.99563</cdr:y>
    </cdr:to>
    <cdr:sp macro="" textlink="">
      <cdr:nvSpPr>
        <cdr:cNvPr id="2" name="Rectángulo 1">
          <a:extLst xmlns:a="http://schemas.openxmlformats.org/drawingml/2006/main">
            <a:ext uri="{FF2B5EF4-FFF2-40B4-BE49-F238E27FC236}">
              <a16:creationId xmlns:a16="http://schemas.microsoft.com/office/drawing/2014/main" id="{69EEEB82-5471-48A2-9AEE-CA47D051B10D}"/>
            </a:ext>
          </a:extLst>
        </cdr:cNvPr>
        <cdr:cNvSpPr/>
      </cdr:nvSpPr>
      <cdr:spPr>
        <a:xfrm xmlns:a="http://schemas.openxmlformats.org/drawingml/2006/main">
          <a:off x="1902596" y="0"/>
          <a:ext cx="2926005" cy="5210261"/>
        </a:xfrm>
        <a:prstGeom xmlns:a="http://schemas.openxmlformats.org/drawingml/2006/main" prst="rect">
          <a:avLst/>
        </a:prstGeom>
        <a:solidFill xmlns:a="http://schemas.openxmlformats.org/drawingml/2006/main">
          <a:schemeClr val="accent5">
            <a:lumMod val="60000"/>
            <a:lumOff val="40000"/>
            <a:alpha val="392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pPr algn="l"/>
          <a:br>
            <a:rPr lang="es-GT" sz="1200" b="1" dirty="0">
              <a:solidFill>
                <a:schemeClr val="tx1"/>
              </a:solidFill>
            </a:rPr>
          </a:br>
          <a:r>
            <a:rPr lang="es-GT" sz="1200" b="1" dirty="0">
              <a:solidFill>
                <a:schemeClr val="tx1"/>
              </a:solidFill>
            </a:rPr>
            <a:t>En Marzo se declara  la pandemia y se toman medidas de confinamiento.</a:t>
          </a:r>
        </a:p>
        <a:p xmlns:a="http://schemas.openxmlformats.org/drawingml/2006/main">
          <a:pPr algn="l"/>
          <a:endParaRPr lang="es-GT" sz="1200" b="1" dirty="0">
            <a:solidFill>
              <a:schemeClr val="tx1"/>
            </a:solidFill>
          </a:endParaRPr>
        </a:p>
        <a:p xmlns:a="http://schemas.openxmlformats.org/drawingml/2006/main">
          <a:pPr algn="l"/>
          <a:r>
            <a:rPr lang="es-GT" sz="1200" b="1" dirty="0">
              <a:solidFill>
                <a:schemeClr val="tx1"/>
              </a:solidFill>
            </a:rPr>
            <a:t>En agosto empieza apertura gradual de la economía</a:t>
          </a:r>
        </a:p>
      </cdr:txBody>
    </cdr:sp>
  </cdr:relSizeAnchor>
</c:userShapes>
</file>

<file path=ppt/drawings/drawing10.xml><?xml version="1.0" encoding="utf-8"?>
<c:userShapes xmlns:c="http://schemas.openxmlformats.org/drawingml/2006/chart">
  <cdr:relSizeAnchor xmlns:cdr="http://schemas.openxmlformats.org/drawingml/2006/chartDrawing">
    <cdr:from>
      <cdr:x>0</cdr:x>
      <cdr:y>0.92648</cdr:y>
    </cdr:from>
    <cdr:to>
      <cdr:x>0.99511</cdr:x>
      <cdr:y>0.99945</cdr:y>
    </cdr:to>
    <cdr:sp macro="" textlink="">
      <cdr:nvSpPr>
        <cdr:cNvPr id="2" name="TextBox 1"/>
        <cdr:cNvSpPr txBox="1"/>
      </cdr:nvSpPr>
      <cdr:spPr>
        <a:xfrm xmlns:a="http://schemas.openxmlformats.org/drawingml/2006/main">
          <a:off x="0" y="2660650"/>
          <a:ext cx="4848224" cy="209550"/>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s-GT" sz="800" i="1"/>
            <a:t>Fuente: Datos extraídos a las 11:00</a:t>
          </a:r>
          <a:r>
            <a:rPr lang="es-GT" sz="800" i="1" baseline="0"/>
            <a:t> </a:t>
          </a:r>
          <a:r>
            <a:rPr lang="es-GT" sz="800" i="1"/>
            <a:t>a.m. de 19 de Agosto de 2021, de la base de datos de portal ourworldindata.org</a:t>
          </a:r>
        </a:p>
      </cdr:txBody>
    </cdr:sp>
  </cdr:relSizeAnchor>
</c:userShapes>
</file>

<file path=ppt/drawings/drawing11.xml><?xml version="1.0" encoding="utf-8"?>
<c:userShapes xmlns:c="http://schemas.openxmlformats.org/drawingml/2006/chart">
  <cdr:relSizeAnchor xmlns:cdr="http://schemas.openxmlformats.org/drawingml/2006/chartDrawing">
    <cdr:from>
      <cdr:x>0.02112</cdr:x>
      <cdr:y>0.84664</cdr:y>
    </cdr:from>
    <cdr:to>
      <cdr:x>0.99802</cdr:x>
      <cdr:y>1</cdr:y>
    </cdr:to>
    <cdr:sp macro="" textlink="">
      <cdr:nvSpPr>
        <cdr:cNvPr id="2" name="CuadroTexto 1">
          <a:extLst xmlns:a="http://schemas.openxmlformats.org/drawingml/2006/main">
            <a:ext uri="{FF2B5EF4-FFF2-40B4-BE49-F238E27FC236}">
              <a16:creationId xmlns:a16="http://schemas.microsoft.com/office/drawing/2014/main" id="{41638797-836D-44D0-BB4D-90D51397D9B8}"/>
            </a:ext>
          </a:extLst>
        </cdr:cNvPr>
        <cdr:cNvSpPr txBox="1"/>
      </cdr:nvSpPr>
      <cdr:spPr>
        <a:xfrm xmlns:a="http://schemas.openxmlformats.org/drawingml/2006/main">
          <a:off x="114031" y="2438313"/>
          <a:ext cx="5275260" cy="44168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s-MX" sz="900" b="1" dirty="0"/>
            <a:t>Fuente: Elaboración DAPF con información del crecimiento económico del FMI y del índice de rigor de </a:t>
          </a:r>
        </a:p>
        <a:p xmlns:a="http://schemas.openxmlformats.org/drawingml/2006/main">
          <a:r>
            <a:rPr lang="es-MX" sz="900" b="1" dirty="0"/>
            <a:t>OXFORD se obtuvo en HDX (</a:t>
          </a:r>
          <a:r>
            <a:rPr lang="es-MX" sz="900" b="1" dirty="0" err="1"/>
            <a:t>Humanitarian</a:t>
          </a:r>
          <a:r>
            <a:rPr lang="es-MX" sz="900" b="1" dirty="0"/>
            <a:t> Data Exchange)</a:t>
          </a:r>
          <a:endParaRPr lang="es-GT" sz="900" b="1" dirty="0"/>
        </a:p>
      </cdr:txBody>
    </cdr:sp>
  </cdr:relSizeAnchor>
</c:userShapes>
</file>

<file path=ppt/drawings/drawing12.xml><?xml version="1.0" encoding="utf-8"?>
<c:userShapes xmlns:c="http://schemas.openxmlformats.org/drawingml/2006/chart">
  <cdr:relSizeAnchor xmlns:cdr="http://schemas.openxmlformats.org/drawingml/2006/chartDrawing">
    <cdr:from>
      <cdr:x>0.02378</cdr:x>
      <cdr:y>0.92074</cdr:y>
    </cdr:from>
    <cdr:to>
      <cdr:x>0.5048</cdr:x>
      <cdr:y>1</cdr:y>
    </cdr:to>
    <cdr:sp macro="" textlink="">
      <cdr:nvSpPr>
        <cdr:cNvPr id="2" name="CuadroTexto 12">
          <a:extLst xmlns:a="http://schemas.openxmlformats.org/drawingml/2006/main">
            <a:ext uri="{FF2B5EF4-FFF2-40B4-BE49-F238E27FC236}">
              <a16:creationId xmlns:a16="http://schemas.microsoft.com/office/drawing/2014/main" id="{ABF3D747-7A6F-4C08-82A6-8E464BA34375}"/>
            </a:ext>
          </a:extLst>
        </cdr:cNvPr>
        <cdr:cNvSpPr txBox="1"/>
      </cdr:nvSpPr>
      <cdr:spPr>
        <a:xfrm xmlns:a="http://schemas.openxmlformats.org/drawingml/2006/main">
          <a:off x="95321" y="3318489"/>
          <a:ext cx="1928375" cy="285665"/>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s-G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s-GT" sz="1100" b="1" dirty="0"/>
            <a:t>Fuente: Dirección de Política y Análisis Fiscal</a:t>
          </a:r>
        </a:p>
      </cdr:txBody>
    </cdr:sp>
  </cdr:relSizeAnchor>
  <cdr:relSizeAnchor xmlns:cdr="http://schemas.openxmlformats.org/drawingml/2006/chartDrawing">
    <cdr:from>
      <cdr:x>0.08642</cdr:x>
      <cdr:y>0.65057</cdr:y>
    </cdr:from>
    <cdr:to>
      <cdr:x>0.31547</cdr:x>
      <cdr:y>0.74529</cdr:y>
    </cdr:to>
    <cdr:sp macro="" textlink="">
      <cdr:nvSpPr>
        <cdr:cNvPr id="3" name="CuadroTexto 1">
          <a:extLst xmlns:a="http://schemas.openxmlformats.org/drawingml/2006/main">
            <a:ext uri="{FF2B5EF4-FFF2-40B4-BE49-F238E27FC236}">
              <a16:creationId xmlns:a16="http://schemas.microsoft.com/office/drawing/2014/main" id="{962C4394-0A41-4AD3-BB9A-60066D831DD5}"/>
            </a:ext>
          </a:extLst>
        </cdr:cNvPr>
        <cdr:cNvSpPr txBox="1"/>
      </cdr:nvSpPr>
      <cdr:spPr>
        <a:xfrm xmlns:a="http://schemas.openxmlformats.org/drawingml/2006/main">
          <a:off x="346446" y="2344753"/>
          <a:ext cx="918233" cy="341380"/>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s-GT" sz="1400" b="1" dirty="0"/>
            <a:t>71,493.3</a:t>
          </a:r>
        </a:p>
      </cdr:txBody>
    </cdr:sp>
  </cdr:relSizeAnchor>
</c:userShapes>
</file>

<file path=ppt/drawings/drawing13.xml><?xml version="1.0" encoding="utf-8"?>
<c:userShapes xmlns:c="http://schemas.openxmlformats.org/drawingml/2006/chart">
  <cdr:relSizeAnchor xmlns:cdr="http://schemas.openxmlformats.org/drawingml/2006/chartDrawing">
    <cdr:from>
      <cdr:x>0.0335</cdr:x>
      <cdr:y>0.65102</cdr:y>
    </cdr:from>
    <cdr:to>
      <cdr:x>0.22426</cdr:x>
      <cdr:y>1</cdr:y>
    </cdr:to>
    <cdr:sp macro="" textlink="">
      <cdr:nvSpPr>
        <cdr:cNvPr id="2" name="CuadroTexto 1">
          <a:extLst xmlns:a="http://schemas.openxmlformats.org/drawingml/2006/main">
            <a:ext uri="{FF2B5EF4-FFF2-40B4-BE49-F238E27FC236}">
              <a16:creationId xmlns:a16="http://schemas.microsoft.com/office/drawing/2014/main" id="{5BCDF5A8-C677-47B1-9D45-49C3FBEB25C6}"/>
            </a:ext>
          </a:extLst>
        </cdr:cNvPr>
        <cdr:cNvSpPr txBox="1"/>
      </cdr:nvSpPr>
      <cdr:spPr>
        <a:xfrm xmlns:a="http://schemas.openxmlformats.org/drawingml/2006/main">
          <a:off x="160582" y="2125872"/>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s-GT" sz="1100" dirty="0"/>
        </a:p>
      </cdr:txBody>
    </cdr:sp>
  </cdr:relSizeAnchor>
  <cdr:relSizeAnchor xmlns:cdr="http://schemas.openxmlformats.org/drawingml/2006/chartDrawing">
    <cdr:from>
      <cdr:x>0.12888</cdr:x>
      <cdr:y>0.63939</cdr:y>
    </cdr:from>
    <cdr:to>
      <cdr:x>0.31963</cdr:x>
      <cdr:y>0.98837</cdr:y>
    </cdr:to>
    <cdr:sp macro="" textlink="">
      <cdr:nvSpPr>
        <cdr:cNvPr id="3" name="CuadroTexto 2">
          <a:extLst xmlns:a="http://schemas.openxmlformats.org/drawingml/2006/main">
            <a:ext uri="{FF2B5EF4-FFF2-40B4-BE49-F238E27FC236}">
              <a16:creationId xmlns:a16="http://schemas.microsoft.com/office/drawing/2014/main" id="{40C74BE6-9024-49D3-9336-D9FA0CA77E58}"/>
            </a:ext>
          </a:extLst>
        </cdr:cNvPr>
        <cdr:cNvSpPr txBox="1"/>
      </cdr:nvSpPr>
      <cdr:spPr>
        <a:xfrm xmlns:a="http://schemas.openxmlformats.org/drawingml/2006/main">
          <a:off x="617782" y="1675340"/>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s-GT" sz="1100" dirty="0"/>
        </a:p>
      </cdr:txBody>
    </cdr:sp>
  </cdr:relSizeAnchor>
</c:userShapes>
</file>

<file path=ppt/drawings/drawing14.xml><?xml version="1.0" encoding="utf-8"?>
<c:userShapes xmlns:c="http://schemas.openxmlformats.org/drawingml/2006/chart">
  <cdr:relSizeAnchor xmlns:cdr="http://schemas.openxmlformats.org/drawingml/2006/chartDrawing">
    <cdr:from>
      <cdr:x>0.37891</cdr:x>
      <cdr:y>0.85426</cdr:y>
    </cdr:from>
    <cdr:to>
      <cdr:x>0.54614</cdr:x>
      <cdr:y>0.90275</cdr:y>
    </cdr:to>
    <cdr:sp macro="" textlink="">
      <cdr:nvSpPr>
        <cdr:cNvPr id="3" name="CuadroTexto 2">
          <a:extLst xmlns:a="http://schemas.openxmlformats.org/drawingml/2006/main">
            <a:ext uri="{FF2B5EF4-FFF2-40B4-BE49-F238E27FC236}">
              <a16:creationId xmlns:a16="http://schemas.microsoft.com/office/drawing/2014/main" id="{C4ECD4CD-411B-43A0-80A9-4E40F0D1CAEE}"/>
            </a:ext>
          </a:extLst>
        </cdr:cNvPr>
        <cdr:cNvSpPr txBox="1"/>
      </cdr:nvSpPr>
      <cdr:spPr>
        <a:xfrm xmlns:a="http://schemas.openxmlformats.org/drawingml/2006/main">
          <a:off x="4216952" y="4033233"/>
          <a:ext cx="1861115" cy="22893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s-GT" sz="1400" b="1" dirty="0">
              <a:solidFill>
                <a:srgbClr val="C00000"/>
              </a:solidFill>
            </a:rPr>
            <a:t>Crisis Financiera</a:t>
          </a:r>
        </a:p>
      </cdr:txBody>
    </cdr:sp>
  </cdr:relSizeAnchor>
  <cdr:relSizeAnchor xmlns:cdr="http://schemas.openxmlformats.org/drawingml/2006/chartDrawing">
    <cdr:from>
      <cdr:x>0.80254</cdr:x>
      <cdr:y>0.84497</cdr:y>
    </cdr:from>
    <cdr:to>
      <cdr:x>0.96977</cdr:x>
      <cdr:y>0.89346</cdr:y>
    </cdr:to>
    <cdr:sp macro="" textlink="">
      <cdr:nvSpPr>
        <cdr:cNvPr id="4" name="CuadroTexto 1">
          <a:extLst xmlns:a="http://schemas.openxmlformats.org/drawingml/2006/main">
            <a:ext uri="{FF2B5EF4-FFF2-40B4-BE49-F238E27FC236}">
              <a16:creationId xmlns:a16="http://schemas.microsoft.com/office/drawing/2014/main" id="{1D84FBBF-D604-4ABC-BA66-96F5AB2EC342}"/>
            </a:ext>
          </a:extLst>
        </cdr:cNvPr>
        <cdr:cNvSpPr txBox="1"/>
      </cdr:nvSpPr>
      <cdr:spPr>
        <a:xfrm xmlns:a="http://schemas.openxmlformats.org/drawingml/2006/main">
          <a:off x="8931513" y="3989331"/>
          <a:ext cx="1861114" cy="228935"/>
        </a:xfrm>
        <a:prstGeom xmlns:a="http://schemas.openxmlformats.org/drawingml/2006/main" prst="rect">
          <a:avLst/>
        </a:prstGeom>
        <a:ln xmlns:a="http://schemas.openxmlformats.org/drawingml/2006/main">
          <a:noFill/>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s-GT" sz="1400" b="1" dirty="0">
              <a:solidFill>
                <a:srgbClr val="C00000"/>
              </a:solidFill>
            </a:rPr>
            <a:t>Pandemia COVID-19</a:t>
          </a:r>
        </a:p>
      </cdr:txBody>
    </cdr:sp>
  </cdr:relSizeAnchor>
  <cdr:relSizeAnchor xmlns:cdr="http://schemas.openxmlformats.org/drawingml/2006/chartDrawing">
    <cdr:from>
      <cdr:x>0.6119</cdr:x>
      <cdr:y>0.72556</cdr:y>
    </cdr:from>
    <cdr:to>
      <cdr:x>0.77912</cdr:x>
      <cdr:y>0.77405</cdr:y>
    </cdr:to>
    <cdr:sp macro="" textlink="">
      <cdr:nvSpPr>
        <cdr:cNvPr id="5" name="CuadroTexto 1">
          <a:extLst xmlns:a="http://schemas.openxmlformats.org/drawingml/2006/main">
            <a:ext uri="{FF2B5EF4-FFF2-40B4-BE49-F238E27FC236}">
              <a16:creationId xmlns:a16="http://schemas.microsoft.com/office/drawing/2014/main" id="{7A249FC1-D71C-45EB-A553-3346C42B3198}"/>
            </a:ext>
          </a:extLst>
        </cdr:cNvPr>
        <cdr:cNvSpPr txBox="1"/>
      </cdr:nvSpPr>
      <cdr:spPr>
        <a:xfrm xmlns:a="http://schemas.openxmlformats.org/drawingml/2006/main">
          <a:off x="6809911" y="3425603"/>
          <a:ext cx="1861004" cy="22893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s-GT" sz="1600" b="1" dirty="0">
              <a:solidFill>
                <a:srgbClr val="C00000"/>
              </a:solidFill>
            </a:rPr>
            <a:t>Crisis Institucional</a:t>
          </a:r>
        </a:p>
      </cdr:txBody>
    </cdr:sp>
  </cdr:relSizeAnchor>
</c:userShapes>
</file>

<file path=ppt/drawings/drawing15.xml><?xml version="1.0" encoding="utf-8"?>
<c:userShapes xmlns:c="http://schemas.openxmlformats.org/drawingml/2006/chart">
  <cdr:relSizeAnchor xmlns:cdr="http://schemas.openxmlformats.org/drawingml/2006/chartDrawing">
    <cdr:from>
      <cdr:x>0.82614</cdr:x>
      <cdr:y>0.78824</cdr:y>
    </cdr:from>
    <cdr:to>
      <cdr:x>0.9571</cdr:x>
      <cdr:y>0.84569</cdr:y>
    </cdr:to>
    <cdr:sp macro="" textlink="">
      <cdr:nvSpPr>
        <cdr:cNvPr id="2" name="CuadroTexto 1">
          <a:extLst xmlns:a="http://schemas.openxmlformats.org/drawingml/2006/main">
            <a:ext uri="{FF2B5EF4-FFF2-40B4-BE49-F238E27FC236}">
              <a16:creationId xmlns:a16="http://schemas.microsoft.com/office/drawing/2014/main" id="{097576FA-9431-44A4-969C-02A9632ED0B0}"/>
            </a:ext>
          </a:extLst>
        </cdr:cNvPr>
        <cdr:cNvSpPr txBox="1"/>
      </cdr:nvSpPr>
      <cdr:spPr>
        <a:xfrm xmlns:a="http://schemas.openxmlformats.org/drawingml/2006/main">
          <a:off x="8065695" y="4084360"/>
          <a:ext cx="1278579" cy="29768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s-GT" sz="1100" b="1" dirty="0">
              <a:solidFill>
                <a:schemeClr val="bg1"/>
              </a:solidFill>
            </a:rPr>
            <a:t>73.7%</a:t>
          </a:r>
        </a:p>
      </cdr:txBody>
    </cdr:sp>
  </cdr:relSizeAnchor>
  <cdr:relSizeAnchor xmlns:cdr="http://schemas.openxmlformats.org/drawingml/2006/chartDrawing">
    <cdr:from>
      <cdr:x>0.82116</cdr:x>
      <cdr:y>0.46718</cdr:y>
    </cdr:from>
    <cdr:to>
      <cdr:x>0.87844</cdr:x>
      <cdr:y>0.50415</cdr:y>
    </cdr:to>
    <cdr:sp macro="" textlink="">
      <cdr:nvSpPr>
        <cdr:cNvPr id="3" name="CuadroTexto 2">
          <a:extLst xmlns:a="http://schemas.openxmlformats.org/drawingml/2006/main">
            <a:ext uri="{FF2B5EF4-FFF2-40B4-BE49-F238E27FC236}">
              <a16:creationId xmlns:a16="http://schemas.microsoft.com/office/drawing/2014/main" id="{BA4FA53E-F7AF-4976-BF9C-B15EAC6FC251}"/>
            </a:ext>
          </a:extLst>
        </cdr:cNvPr>
        <cdr:cNvSpPr txBox="1"/>
      </cdr:nvSpPr>
      <cdr:spPr>
        <a:xfrm xmlns:a="http://schemas.openxmlformats.org/drawingml/2006/main">
          <a:off x="8017134" y="2420748"/>
          <a:ext cx="559232" cy="19156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s-GT" sz="1050" b="1" dirty="0">
              <a:solidFill>
                <a:schemeClr val="bg1"/>
              </a:solidFill>
            </a:rPr>
            <a:t>14.8%</a:t>
          </a:r>
        </a:p>
      </cdr:txBody>
    </cdr:sp>
  </cdr:relSizeAnchor>
  <cdr:relSizeAnchor xmlns:cdr="http://schemas.openxmlformats.org/drawingml/2006/chartDrawing">
    <cdr:from>
      <cdr:x>0.44673</cdr:x>
      <cdr:y>0.12171</cdr:y>
    </cdr:from>
    <cdr:to>
      <cdr:x>0.64381</cdr:x>
      <cdr:y>0.19893</cdr:y>
    </cdr:to>
    <cdr:sp macro="" textlink="">
      <cdr:nvSpPr>
        <cdr:cNvPr id="4" name="CuadroTexto 6">
          <a:extLst xmlns:a="http://schemas.openxmlformats.org/drawingml/2006/main">
            <a:ext uri="{FF2B5EF4-FFF2-40B4-BE49-F238E27FC236}">
              <a16:creationId xmlns:a16="http://schemas.microsoft.com/office/drawing/2014/main" id="{E8BF9C7A-43BB-4756-AB92-7A3C6D5CE683}"/>
            </a:ext>
          </a:extLst>
        </cdr:cNvPr>
        <cdr:cNvSpPr txBox="1"/>
      </cdr:nvSpPr>
      <cdr:spPr>
        <a:xfrm xmlns:a="http://schemas.openxmlformats.org/drawingml/2006/main">
          <a:off x="4361473" y="630640"/>
          <a:ext cx="1924117" cy="40012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s-G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s-GT" sz="2000" b="1" dirty="0"/>
            <a:t>94,354.4</a:t>
          </a:r>
        </a:p>
      </cdr:txBody>
    </cdr:sp>
  </cdr:relSizeAnchor>
  <cdr:relSizeAnchor xmlns:cdr="http://schemas.openxmlformats.org/drawingml/2006/chartDrawing">
    <cdr:from>
      <cdr:x>0.51645</cdr:x>
      <cdr:y>0.81265</cdr:y>
    </cdr:from>
    <cdr:to>
      <cdr:x>0.59468</cdr:x>
      <cdr:y>0.86611</cdr:y>
    </cdr:to>
    <cdr:sp macro="" textlink="">
      <cdr:nvSpPr>
        <cdr:cNvPr id="5" name="CuadroTexto 4">
          <a:extLst xmlns:a="http://schemas.openxmlformats.org/drawingml/2006/main">
            <a:ext uri="{FF2B5EF4-FFF2-40B4-BE49-F238E27FC236}">
              <a16:creationId xmlns:a16="http://schemas.microsoft.com/office/drawing/2014/main" id="{DDBE9AA1-020B-48F1-B7F9-D26CCA2B0D3F}"/>
            </a:ext>
          </a:extLst>
        </cdr:cNvPr>
        <cdr:cNvSpPr txBox="1"/>
      </cdr:nvSpPr>
      <cdr:spPr>
        <a:xfrm xmlns:a="http://schemas.openxmlformats.org/drawingml/2006/main">
          <a:off x="5042170" y="4210830"/>
          <a:ext cx="763769" cy="277009"/>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s-G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s-GT" sz="1200" b="1" dirty="0">
              <a:solidFill>
                <a:schemeClr val="bg1"/>
              </a:solidFill>
            </a:rPr>
            <a:t>67.9%</a:t>
          </a:r>
        </a:p>
      </cdr:txBody>
    </cdr:sp>
  </cdr:relSizeAnchor>
</c:userShapes>
</file>

<file path=ppt/drawings/drawing16.xml><?xml version="1.0" encoding="utf-8"?>
<c:userShapes xmlns:c="http://schemas.openxmlformats.org/drawingml/2006/chart">
  <cdr:relSizeAnchor xmlns:cdr="http://schemas.openxmlformats.org/drawingml/2006/chartDrawing">
    <cdr:from>
      <cdr:x>0.94471</cdr:x>
      <cdr:y>0.97574</cdr:y>
    </cdr:from>
    <cdr:to>
      <cdr:x>1</cdr:x>
      <cdr:y>1</cdr:y>
    </cdr:to>
    <cdr:sp macro="" textlink="">
      <cdr:nvSpPr>
        <cdr:cNvPr id="2" name="Rectángulo 1">
          <a:extLst xmlns:a="http://schemas.openxmlformats.org/drawingml/2006/main">
            <a:ext uri="{FF2B5EF4-FFF2-40B4-BE49-F238E27FC236}">
              <a16:creationId xmlns:a16="http://schemas.microsoft.com/office/drawing/2014/main" id="{1D9085FD-354A-4792-97B4-B9314E017E28}"/>
            </a:ext>
          </a:extLst>
        </cdr:cNvPr>
        <cdr:cNvSpPr/>
      </cdr:nvSpPr>
      <cdr:spPr>
        <a:xfrm xmlns:a="http://schemas.openxmlformats.org/drawingml/2006/main">
          <a:off x="5617030" y="5108213"/>
          <a:ext cx="328749" cy="126999"/>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es-GT"/>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r>
            <a:rPr lang="es-GT" sz="500" b="1" dirty="0">
              <a:solidFill>
                <a:schemeClr val="accent5">
                  <a:lumMod val="60000"/>
                  <a:lumOff val="40000"/>
                </a:schemeClr>
              </a:solidFill>
            </a:rPr>
            <a:t>BM®</a:t>
          </a:r>
        </a:p>
      </cdr:txBody>
    </cdr:sp>
  </cdr:relSizeAnchor>
</c:userShapes>
</file>

<file path=ppt/drawings/drawing17.xml><?xml version="1.0" encoding="utf-8"?>
<c:userShapes xmlns:c="http://schemas.openxmlformats.org/drawingml/2006/chart">
  <cdr:relSizeAnchor xmlns:cdr="http://schemas.openxmlformats.org/drawingml/2006/chartDrawing">
    <cdr:from>
      <cdr:x>0</cdr:x>
      <cdr:y>0.94843</cdr:y>
    </cdr:from>
    <cdr:to>
      <cdr:x>0.29468</cdr:x>
      <cdr:y>1</cdr:y>
    </cdr:to>
    <cdr:sp macro="" textlink="">
      <cdr:nvSpPr>
        <cdr:cNvPr id="2" name="CuadroTexto 1">
          <a:extLst xmlns:a="http://schemas.openxmlformats.org/drawingml/2006/main">
            <a:ext uri="{FF2B5EF4-FFF2-40B4-BE49-F238E27FC236}">
              <a16:creationId xmlns:a16="http://schemas.microsoft.com/office/drawing/2014/main" id="{C70B54CE-E30E-4911-8D5E-494BB7CB9AE2}"/>
            </a:ext>
          </a:extLst>
        </cdr:cNvPr>
        <cdr:cNvSpPr txBox="1"/>
      </cdr:nvSpPr>
      <cdr:spPr>
        <a:xfrm xmlns:a="http://schemas.openxmlformats.org/drawingml/2006/main">
          <a:off x="0" y="5523680"/>
          <a:ext cx="2601157" cy="30032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s-GT" sz="1200" b="1" dirty="0"/>
            <a:t>* Presupuesto ejecutable y vigente</a:t>
          </a:r>
        </a:p>
      </cdr:txBody>
    </cdr:sp>
  </cdr:relSizeAnchor>
  <cdr:relSizeAnchor xmlns:cdr="http://schemas.openxmlformats.org/drawingml/2006/chartDrawing">
    <cdr:from>
      <cdr:x>0.10839</cdr:x>
      <cdr:y>0.30192</cdr:y>
    </cdr:from>
    <cdr:to>
      <cdr:x>0.18962</cdr:x>
      <cdr:y>0.37356</cdr:y>
    </cdr:to>
    <cdr:sp macro="" textlink="">
      <cdr:nvSpPr>
        <cdr:cNvPr id="3" name="Rectángulo 2">
          <a:extLst xmlns:a="http://schemas.openxmlformats.org/drawingml/2006/main">
            <a:ext uri="{FF2B5EF4-FFF2-40B4-BE49-F238E27FC236}">
              <a16:creationId xmlns:a16="http://schemas.microsoft.com/office/drawing/2014/main" id="{DFA3059F-BF9E-481D-BB85-1F9AFB1DF54C}"/>
            </a:ext>
          </a:extLst>
        </cdr:cNvPr>
        <cdr:cNvSpPr/>
      </cdr:nvSpPr>
      <cdr:spPr>
        <a:xfrm xmlns:a="http://schemas.openxmlformats.org/drawingml/2006/main">
          <a:off x="1134092" y="1758363"/>
          <a:ext cx="849853" cy="417250"/>
        </a:xfrm>
        <a:prstGeom xmlns:a="http://schemas.openxmlformats.org/drawingml/2006/main" prst="rect">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pPr algn="ctr"/>
          <a:r>
            <a:rPr lang="es-GT" sz="1600" b="1" dirty="0"/>
            <a:t>107.5</a:t>
          </a:r>
        </a:p>
      </cdr:txBody>
    </cdr:sp>
  </cdr:relSizeAnchor>
  <cdr:relSizeAnchor xmlns:cdr="http://schemas.openxmlformats.org/drawingml/2006/chartDrawing">
    <cdr:from>
      <cdr:x>0.35008</cdr:x>
      <cdr:y>0.94122</cdr:y>
    </cdr:from>
    <cdr:to>
      <cdr:x>0.36547</cdr:x>
      <cdr:y>0.96658</cdr:y>
    </cdr:to>
    <cdr:sp macro="" textlink="">
      <cdr:nvSpPr>
        <cdr:cNvPr id="4" name="Triángulo 3">
          <a:extLst xmlns:a="http://schemas.openxmlformats.org/drawingml/2006/main">
            <a:ext uri="{FF2B5EF4-FFF2-40B4-BE49-F238E27FC236}">
              <a16:creationId xmlns:a16="http://schemas.microsoft.com/office/drawing/2014/main" id="{E2754222-7BA7-BB48-80A6-373A091E455B}"/>
            </a:ext>
          </a:extLst>
        </cdr:cNvPr>
        <cdr:cNvSpPr/>
      </cdr:nvSpPr>
      <cdr:spPr>
        <a:xfrm xmlns:a="http://schemas.openxmlformats.org/drawingml/2006/main">
          <a:off x="3467408" y="5117723"/>
          <a:ext cx="152400" cy="137885"/>
        </a:xfrm>
        <a:prstGeom xmlns:a="http://schemas.openxmlformats.org/drawingml/2006/main" prst="triangle">
          <a:avLst/>
        </a:prstGeom>
        <a:solidFill xmlns:a="http://schemas.openxmlformats.org/drawingml/2006/main">
          <a:srgbClr val="0B3963"/>
        </a:solidFill>
        <a:ln xmlns:a="http://schemas.openxmlformats.org/drawingml/2006/main">
          <a:solidFill>
            <a:srgbClr val="0B3963"/>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s-GT"/>
        </a:p>
      </cdr:txBody>
    </cdr:sp>
  </cdr:relSizeAnchor>
</c:userShapes>
</file>

<file path=ppt/drawings/drawing18.xml><?xml version="1.0" encoding="utf-8"?>
<c:userShapes xmlns:c="http://schemas.openxmlformats.org/drawingml/2006/chart">
  <cdr:relSizeAnchor xmlns:cdr="http://schemas.openxmlformats.org/drawingml/2006/chartDrawing">
    <cdr:from>
      <cdr:x>0.10717</cdr:x>
      <cdr:y>0.42493</cdr:y>
    </cdr:from>
    <cdr:to>
      <cdr:x>0.1744</cdr:x>
      <cdr:y>0.50242</cdr:y>
    </cdr:to>
    <cdr:sp macro="" textlink="">
      <cdr:nvSpPr>
        <cdr:cNvPr id="2" name="CuadroTexto 1">
          <a:extLst xmlns:a="http://schemas.openxmlformats.org/drawingml/2006/main">
            <a:ext uri="{FF2B5EF4-FFF2-40B4-BE49-F238E27FC236}">
              <a16:creationId xmlns:a16="http://schemas.microsoft.com/office/drawing/2014/main" id="{7F9C4B65-7BF8-476C-93A6-968EF62E718A}"/>
            </a:ext>
          </a:extLst>
        </cdr:cNvPr>
        <cdr:cNvSpPr txBox="1"/>
      </cdr:nvSpPr>
      <cdr:spPr>
        <a:xfrm xmlns:a="http://schemas.openxmlformats.org/drawingml/2006/main">
          <a:off x="1067649" y="2257912"/>
          <a:ext cx="669712" cy="41177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s-GT" sz="1800" b="1" dirty="0"/>
            <a:t>3.4</a:t>
          </a:r>
        </a:p>
      </cdr:txBody>
    </cdr:sp>
  </cdr:relSizeAnchor>
  <cdr:relSizeAnchor xmlns:cdr="http://schemas.openxmlformats.org/drawingml/2006/chartDrawing">
    <cdr:from>
      <cdr:x>0.1082</cdr:x>
      <cdr:y>0.14157</cdr:y>
    </cdr:from>
    <cdr:to>
      <cdr:x>0.15637</cdr:x>
      <cdr:y>0.20387</cdr:y>
    </cdr:to>
    <cdr:sp macro="" textlink="">
      <cdr:nvSpPr>
        <cdr:cNvPr id="3" name="CuadroTexto 2">
          <a:extLst xmlns:a="http://schemas.openxmlformats.org/drawingml/2006/main">
            <a:ext uri="{FF2B5EF4-FFF2-40B4-BE49-F238E27FC236}">
              <a16:creationId xmlns:a16="http://schemas.microsoft.com/office/drawing/2014/main" id="{9ADC97AE-7E7B-4CCF-9C75-03E221560720}"/>
            </a:ext>
          </a:extLst>
        </cdr:cNvPr>
        <cdr:cNvSpPr txBox="1"/>
      </cdr:nvSpPr>
      <cdr:spPr>
        <a:xfrm xmlns:a="http://schemas.openxmlformats.org/drawingml/2006/main">
          <a:off x="1135703" y="831269"/>
          <a:ext cx="505610" cy="36576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s-GT" sz="1800" b="1" dirty="0"/>
            <a:t>5.4</a:t>
          </a:r>
        </a:p>
      </cdr:txBody>
    </cdr:sp>
  </cdr:relSizeAnchor>
  <cdr:relSizeAnchor xmlns:cdr="http://schemas.openxmlformats.org/drawingml/2006/chartDrawing">
    <cdr:from>
      <cdr:x>0.17686</cdr:x>
      <cdr:y>0.13425</cdr:y>
    </cdr:from>
    <cdr:to>
      <cdr:x>0.45051</cdr:x>
      <cdr:y>0.21287</cdr:y>
    </cdr:to>
    <cdr:grpSp>
      <cdr:nvGrpSpPr>
        <cdr:cNvPr id="7" name="Grupo 6">
          <a:extLst xmlns:a="http://schemas.openxmlformats.org/drawingml/2006/main">
            <a:ext uri="{FF2B5EF4-FFF2-40B4-BE49-F238E27FC236}">
              <a16:creationId xmlns:a16="http://schemas.microsoft.com/office/drawing/2014/main" id="{539F0FFD-F5BE-4D48-A628-C3E423441945}"/>
            </a:ext>
          </a:extLst>
        </cdr:cNvPr>
        <cdr:cNvGrpSpPr/>
      </cdr:nvGrpSpPr>
      <cdr:grpSpPr>
        <a:xfrm xmlns:a="http://schemas.openxmlformats.org/drawingml/2006/main">
          <a:off x="1761915" y="713352"/>
          <a:ext cx="2726155" cy="417756"/>
          <a:chOff x="1856465" y="788239"/>
          <a:chExt cx="2872293" cy="461665"/>
        </a:xfrm>
      </cdr:grpSpPr>
      <cdr:cxnSp macro="">
        <cdr:nvCxnSpPr>
          <cdr:cNvPr id="5" name="Conector recto de flecha 4">
            <a:extLst xmlns:a="http://schemas.openxmlformats.org/drawingml/2006/main">
              <a:ext uri="{FF2B5EF4-FFF2-40B4-BE49-F238E27FC236}">
                <a16:creationId xmlns:a16="http://schemas.microsoft.com/office/drawing/2014/main" id="{D2FDB5B2-808A-4199-8A91-A50D815265AE}"/>
              </a:ext>
            </a:extLst>
          </cdr:cNvPr>
          <cdr:cNvCxnSpPr/>
        </cdr:nvCxnSpPr>
        <cdr:spPr>
          <a:xfrm xmlns:a="http://schemas.openxmlformats.org/drawingml/2006/main" flipH="1">
            <a:off x="1856465" y="960360"/>
            <a:ext cx="817582" cy="0"/>
          </a:xfrm>
          <a:prstGeom xmlns:a="http://schemas.openxmlformats.org/drawingml/2006/main" prst="straightConnector1">
            <a:avLst/>
          </a:prstGeom>
          <a:ln xmlns:a="http://schemas.openxmlformats.org/drawingml/2006/main" w="31750">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sp macro="" textlink="">
        <cdr:nvSpPr>
          <cdr:cNvPr id="6" name="CuadroTexto 5">
            <a:extLst xmlns:a="http://schemas.openxmlformats.org/drawingml/2006/main">
              <a:ext uri="{FF2B5EF4-FFF2-40B4-BE49-F238E27FC236}">
                <a16:creationId xmlns:a16="http://schemas.microsoft.com/office/drawing/2014/main" id="{4F6EC477-1FE8-4F78-8100-40E4D822476E}"/>
              </a:ext>
            </a:extLst>
          </cdr:cNvPr>
          <cdr:cNvSpPr txBox="1"/>
        </cdr:nvSpPr>
        <cdr:spPr>
          <a:xfrm xmlns:a="http://schemas.openxmlformats.org/drawingml/2006/main">
            <a:off x="2647048" y="788239"/>
            <a:ext cx="2081710" cy="46166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s-GT" sz="1600" b="1" dirty="0"/>
              <a:t>Presupuesto Vigente</a:t>
            </a:r>
          </a:p>
        </cdr:txBody>
      </cdr:sp>
    </cdr:grpSp>
  </cdr:relSizeAnchor>
  <cdr:relSizeAnchor xmlns:cdr="http://schemas.openxmlformats.org/drawingml/2006/chartDrawing">
    <cdr:from>
      <cdr:x>0.17863</cdr:x>
      <cdr:y>0.40585</cdr:y>
    </cdr:from>
    <cdr:to>
      <cdr:x>0.45227</cdr:x>
      <cdr:y>0.48448</cdr:y>
    </cdr:to>
    <cdr:grpSp>
      <cdr:nvGrpSpPr>
        <cdr:cNvPr id="8" name="Grupo 7">
          <a:extLst xmlns:a="http://schemas.openxmlformats.org/drawingml/2006/main">
            <a:ext uri="{FF2B5EF4-FFF2-40B4-BE49-F238E27FC236}">
              <a16:creationId xmlns:a16="http://schemas.microsoft.com/office/drawing/2014/main" id="{CE5B4201-914D-474F-AF82-0FCEF4DE8C92}"/>
            </a:ext>
          </a:extLst>
        </cdr:cNvPr>
        <cdr:cNvGrpSpPr/>
      </cdr:nvGrpSpPr>
      <cdr:grpSpPr>
        <a:xfrm xmlns:a="http://schemas.openxmlformats.org/drawingml/2006/main">
          <a:off x="1779548" y="2156528"/>
          <a:ext cx="2726056" cy="417809"/>
          <a:chOff x="1856465" y="788239"/>
          <a:chExt cx="2872293" cy="461665"/>
        </a:xfrm>
      </cdr:grpSpPr>
      <cdr:cxnSp macro="">
        <cdr:nvCxnSpPr>
          <cdr:cNvPr id="9" name="Conector recto de flecha 8">
            <a:extLst xmlns:a="http://schemas.openxmlformats.org/drawingml/2006/main">
              <a:ext uri="{FF2B5EF4-FFF2-40B4-BE49-F238E27FC236}">
                <a16:creationId xmlns:a16="http://schemas.microsoft.com/office/drawing/2014/main" id="{5BAD3FC5-9FFE-4FDC-A35C-AA35F59F8B63}"/>
              </a:ext>
            </a:extLst>
          </cdr:cNvPr>
          <cdr:cNvCxnSpPr/>
        </cdr:nvCxnSpPr>
        <cdr:spPr>
          <a:xfrm xmlns:a="http://schemas.openxmlformats.org/drawingml/2006/main" flipH="1">
            <a:off x="1856465" y="960360"/>
            <a:ext cx="817582" cy="0"/>
          </a:xfrm>
          <a:prstGeom xmlns:a="http://schemas.openxmlformats.org/drawingml/2006/main" prst="straightConnector1">
            <a:avLst/>
          </a:prstGeom>
          <a:ln xmlns:a="http://schemas.openxmlformats.org/drawingml/2006/main" w="31750">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sp macro="" textlink="">
        <cdr:nvSpPr>
          <cdr:cNvPr id="10" name="CuadroTexto 3">
            <a:extLst xmlns:a="http://schemas.openxmlformats.org/drawingml/2006/main">
              <a:ext uri="{FF2B5EF4-FFF2-40B4-BE49-F238E27FC236}">
                <a16:creationId xmlns:a16="http://schemas.microsoft.com/office/drawing/2014/main" id="{9B3CA6BE-4612-4721-8D1B-50423371F223}"/>
              </a:ext>
            </a:extLst>
          </cdr:cNvPr>
          <cdr:cNvSpPr txBox="1"/>
        </cdr:nvSpPr>
        <cdr:spPr>
          <a:xfrm xmlns:a="http://schemas.openxmlformats.org/drawingml/2006/main">
            <a:off x="2647048" y="788239"/>
            <a:ext cx="2081710" cy="46166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s-GT" sz="1600" b="1" dirty="0"/>
              <a:t>Presupuesto Ajustado</a:t>
            </a:r>
          </a:p>
        </cdr:txBody>
      </cdr:sp>
    </cdr:grpSp>
  </cdr:relSizeAnchor>
</c:userShapes>
</file>

<file path=ppt/drawings/drawing19.xml><?xml version="1.0" encoding="utf-8"?>
<c:userShapes xmlns:c="http://schemas.openxmlformats.org/drawingml/2006/chart">
  <cdr:relSizeAnchor xmlns:cdr="http://schemas.openxmlformats.org/drawingml/2006/chartDrawing">
    <cdr:from>
      <cdr:x>0.02333</cdr:x>
      <cdr:y>0.88262</cdr:y>
    </cdr:from>
    <cdr:to>
      <cdr:x>0.47281</cdr:x>
      <cdr:y>0.94858</cdr:y>
    </cdr:to>
    <cdr:sp macro="" textlink="">
      <cdr:nvSpPr>
        <cdr:cNvPr id="2" name="CuadroTexto 1">
          <a:extLst xmlns:a="http://schemas.openxmlformats.org/drawingml/2006/main">
            <a:ext uri="{FF2B5EF4-FFF2-40B4-BE49-F238E27FC236}">
              <a16:creationId xmlns:a16="http://schemas.microsoft.com/office/drawing/2014/main" id="{C1D5098A-4CC6-4425-887E-F2C6755FD261}"/>
            </a:ext>
          </a:extLst>
        </cdr:cNvPr>
        <cdr:cNvSpPr txBox="1"/>
      </cdr:nvSpPr>
      <cdr:spPr>
        <a:xfrm xmlns:a="http://schemas.openxmlformats.org/drawingml/2006/main">
          <a:off x="256032" y="5336120"/>
          <a:ext cx="4932054" cy="39878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s-GT" sz="1400" b="1" dirty="0"/>
            <a:t>Fuente: Ministerio de Finanzas Públicas</a:t>
          </a:r>
        </a:p>
      </cdr:txBody>
    </cdr:sp>
  </cdr:relSizeAnchor>
  <cdr:relSizeAnchor xmlns:cdr="http://schemas.openxmlformats.org/drawingml/2006/chartDrawing">
    <cdr:from>
      <cdr:x>0.65451</cdr:x>
      <cdr:y>0.14082</cdr:y>
    </cdr:from>
    <cdr:to>
      <cdr:x>0.96741</cdr:x>
      <cdr:y>0.14493</cdr:y>
    </cdr:to>
    <cdr:cxnSp macro="">
      <cdr:nvCxnSpPr>
        <cdr:cNvPr id="5" name="Straight Arrow Connector 4">
          <a:extLst xmlns:a="http://schemas.openxmlformats.org/drawingml/2006/main">
            <a:ext uri="{FF2B5EF4-FFF2-40B4-BE49-F238E27FC236}">
              <a16:creationId xmlns:a16="http://schemas.microsoft.com/office/drawing/2014/main" id="{EE37F4C9-138E-4D1F-9405-CD6F5EDB23A7}"/>
            </a:ext>
          </a:extLst>
        </cdr:cNvPr>
        <cdr:cNvCxnSpPr/>
      </cdr:nvCxnSpPr>
      <cdr:spPr>
        <a:xfrm xmlns:a="http://schemas.openxmlformats.org/drawingml/2006/main" flipV="1">
          <a:off x="6838949" y="752475"/>
          <a:ext cx="3269479" cy="21936"/>
        </a:xfrm>
        <a:prstGeom xmlns:a="http://schemas.openxmlformats.org/drawingml/2006/main" prst="straightConnector1">
          <a:avLst/>
        </a:prstGeom>
        <a:ln xmlns:a="http://schemas.openxmlformats.org/drawingml/2006/main" w="38100">
          <a:solidFill>
            <a:srgbClr val="C00000"/>
          </a:solidFill>
          <a:tailEnd type="triangle"/>
        </a:ln>
      </cdr:spPr>
      <cdr:style>
        <a:lnRef xmlns:a="http://schemas.openxmlformats.org/drawingml/2006/main" idx="3">
          <a:schemeClr val="accent2"/>
        </a:lnRef>
        <a:fillRef xmlns:a="http://schemas.openxmlformats.org/drawingml/2006/main" idx="0">
          <a:schemeClr val="accent2"/>
        </a:fillRef>
        <a:effectRef xmlns:a="http://schemas.openxmlformats.org/drawingml/2006/main" idx="2">
          <a:schemeClr val="accent2"/>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12288</cdr:x>
      <cdr:y>0</cdr:y>
    </cdr:from>
    <cdr:to>
      <cdr:x>0.34397</cdr:x>
      <cdr:y>0.9537</cdr:y>
    </cdr:to>
    <cdr:sp macro="" textlink="">
      <cdr:nvSpPr>
        <cdr:cNvPr id="2" name="Rectángulo 1">
          <a:extLst xmlns:a="http://schemas.openxmlformats.org/drawingml/2006/main">
            <a:ext uri="{FF2B5EF4-FFF2-40B4-BE49-F238E27FC236}">
              <a16:creationId xmlns:a16="http://schemas.microsoft.com/office/drawing/2014/main" id="{69EEEB82-5471-48A2-9AEE-CA47D051B10D}"/>
            </a:ext>
          </a:extLst>
        </cdr:cNvPr>
        <cdr:cNvSpPr/>
      </cdr:nvSpPr>
      <cdr:spPr>
        <a:xfrm xmlns:a="http://schemas.openxmlformats.org/drawingml/2006/main">
          <a:off x="1292157" y="0"/>
          <a:ext cx="2324894" cy="4572000"/>
        </a:xfrm>
        <a:prstGeom xmlns:a="http://schemas.openxmlformats.org/drawingml/2006/main" prst="rect">
          <a:avLst/>
        </a:prstGeom>
        <a:solidFill xmlns:a="http://schemas.openxmlformats.org/drawingml/2006/main">
          <a:schemeClr val="accent5">
            <a:lumMod val="60000"/>
            <a:lumOff val="40000"/>
            <a:alpha val="18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pPr algn="l"/>
          <a:r>
            <a:rPr lang="es-GT" sz="1200" b="1" dirty="0">
              <a:solidFill>
                <a:schemeClr val="tx1"/>
              </a:solidFill>
            </a:rPr>
            <a:t>En Marzo se declara  la pandemia y se toman medidas de confinamiento.</a:t>
          </a:r>
        </a:p>
        <a:p xmlns:a="http://schemas.openxmlformats.org/drawingml/2006/main">
          <a:pPr algn="l"/>
          <a:endParaRPr lang="es-GT" sz="1200" b="1" dirty="0">
            <a:solidFill>
              <a:schemeClr val="tx1"/>
            </a:solidFill>
          </a:endParaRPr>
        </a:p>
        <a:p xmlns:a="http://schemas.openxmlformats.org/drawingml/2006/main">
          <a:pPr algn="l"/>
          <a:r>
            <a:rPr lang="es-GT" sz="1200" b="1" dirty="0">
              <a:solidFill>
                <a:schemeClr val="tx1"/>
              </a:solidFill>
            </a:rPr>
            <a:t>En agosto empieza apertura gradual de la economía</a:t>
          </a:r>
        </a:p>
      </cdr:txBody>
    </cdr:sp>
  </cdr:relSizeAnchor>
  <cdr:relSizeAnchor xmlns:cdr="http://schemas.openxmlformats.org/drawingml/2006/chartDrawing">
    <cdr:from>
      <cdr:x>0.77719</cdr:x>
      <cdr:y>0</cdr:y>
    </cdr:from>
    <cdr:to>
      <cdr:x>0.9683</cdr:x>
      <cdr:y>0.93914</cdr:y>
    </cdr:to>
    <cdr:sp macro="" textlink="">
      <cdr:nvSpPr>
        <cdr:cNvPr id="3" name="Rectángulo 2">
          <a:extLst xmlns:a="http://schemas.openxmlformats.org/drawingml/2006/main">
            <a:ext uri="{FF2B5EF4-FFF2-40B4-BE49-F238E27FC236}">
              <a16:creationId xmlns:a16="http://schemas.microsoft.com/office/drawing/2014/main" id="{2B59BCCA-FE44-48F2-9E23-AAEEC1A9C3BD}"/>
            </a:ext>
          </a:extLst>
        </cdr:cNvPr>
        <cdr:cNvSpPr/>
      </cdr:nvSpPr>
      <cdr:spPr>
        <a:xfrm xmlns:a="http://schemas.openxmlformats.org/drawingml/2006/main">
          <a:off x="8172636" y="0"/>
          <a:ext cx="2009620" cy="4502164"/>
        </a:xfrm>
        <a:prstGeom xmlns:a="http://schemas.openxmlformats.org/drawingml/2006/main" prst="rect">
          <a:avLst/>
        </a:prstGeom>
        <a:solidFill xmlns:a="http://schemas.openxmlformats.org/drawingml/2006/main">
          <a:schemeClr val="accent6">
            <a:lumMod val="60000"/>
            <a:lumOff val="40000"/>
            <a:alpha val="19911"/>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pPr algn="ctr"/>
          <a:r>
            <a:rPr lang="es-GT" sz="1200" b="1" dirty="0">
              <a:solidFill>
                <a:schemeClr val="tx1"/>
              </a:solidFill>
            </a:rPr>
            <a:t>Cierre estimado 2021</a:t>
          </a:r>
        </a:p>
      </cdr:txBody>
    </cdr:sp>
  </cdr:relSizeAnchor>
</c:userShapes>
</file>

<file path=ppt/drawings/drawing3.xml><?xml version="1.0" encoding="utf-8"?>
<c:userShapes xmlns:c="http://schemas.openxmlformats.org/drawingml/2006/chart">
  <cdr:relSizeAnchor xmlns:cdr="http://schemas.openxmlformats.org/drawingml/2006/chartDrawing">
    <cdr:from>
      <cdr:x>0.76158</cdr:x>
      <cdr:y>0.18248</cdr:y>
    </cdr:from>
    <cdr:to>
      <cdr:x>0.88718</cdr:x>
      <cdr:y>0.27025</cdr:y>
    </cdr:to>
    <cdr:sp macro="" textlink="">
      <cdr:nvSpPr>
        <cdr:cNvPr id="2" name="CuadroTexto 1">
          <a:extLst xmlns:a="http://schemas.openxmlformats.org/drawingml/2006/main">
            <a:ext uri="{FF2B5EF4-FFF2-40B4-BE49-F238E27FC236}">
              <a16:creationId xmlns:a16="http://schemas.microsoft.com/office/drawing/2014/main" id="{D9B32ADF-4E10-438D-AC2E-1A08C6510DCA}"/>
            </a:ext>
          </a:extLst>
        </cdr:cNvPr>
        <cdr:cNvSpPr txBox="1"/>
      </cdr:nvSpPr>
      <cdr:spPr>
        <a:xfrm xmlns:a="http://schemas.openxmlformats.org/drawingml/2006/main">
          <a:off x="3465419" y="455449"/>
          <a:ext cx="571500" cy="21907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s-GT" sz="1400" b="1" dirty="0"/>
            <a:t>11.0</a:t>
          </a:r>
        </a:p>
      </cdr:txBody>
    </cdr:sp>
  </cdr:relSizeAnchor>
</c:userShapes>
</file>

<file path=ppt/drawings/drawing4.xml><?xml version="1.0" encoding="utf-8"?>
<c:userShapes xmlns:c="http://schemas.openxmlformats.org/drawingml/2006/chart">
  <cdr:relSizeAnchor xmlns:cdr="http://schemas.openxmlformats.org/drawingml/2006/chartDrawing">
    <cdr:from>
      <cdr:x>0</cdr:x>
      <cdr:y>0.92005</cdr:y>
    </cdr:from>
    <cdr:to>
      <cdr:x>0.54901</cdr:x>
      <cdr:y>0.99482</cdr:y>
    </cdr:to>
    <cdr:sp macro="" textlink="">
      <cdr:nvSpPr>
        <cdr:cNvPr id="2" name="CuadroTexto 1">
          <a:extLst xmlns:a="http://schemas.openxmlformats.org/drawingml/2006/main">
            <a:ext uri="{FF2B5EF4-FFF2-40B4-BE49-F238E27FC236}">
              <a16:creationId xmlns:a16="http://schemas.microsoft.com/office/drawing/2014/main" id="{9216584F-5031-4181-A6B7-FEB932E36D15}"/>
            </a:ext>
          </a:extLst>
        </cdr:cNvPr>
        <cdr:cNvSpPr txBox="1"/>
      </cdr:nvSpPr>
      <cdr:spPr>
        <a:xfrm xmlns:a="http://schemas.openxmlformats.org/drawingml/2006/main">
          <a:off x="-3763834" y="2569130"/>
          <a:ext cx="1725930" cy="20878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s-GT" sz="900" b="1" dirty="0"/>
            <a:t>* Sin amortizaciones</a:t>
          </a:r>
        </a:p>
      </cdr:txBody>
    </cdr:sp>
  </cdr:relSizeAnchor>
</c:userShapes>
</file>

<file path=ppt/drawings/drawing5.xml><?xml version="1.0" encoding="utf-8"?>
<c:userShapes xmlns:c="http://schemas.openxmlformats.org/drawingml/2006/chart">
  <cdr:relSizeAnchor xmlns:cdr="http://schemas.openxmlformats.org/drawingml/2006/chartDrawing">
    <cdr:from>
      <cdr:x>0</cdr:x>
      <cdr:y>0.91808</cdr:y>
    </cdr:from>
    <cdr:to>
      <cdr:x>0.56532</cdr:x>
      <cdr:y>0.99319</cdr:y>
    </cdr:to>
    <cdr:sp macro="" textlink="">
      <cdr:nvSpPr>
        <cdr:cNvPr id="2" name="CuadroTexto 1">
          <a:extLst xmlns:a="http://schemas.openxmlformats.org/drawingml/2006/main">
            <a:ext uri="{FF2B5EF4-FFF2-40B4-BE49-F238E27FC236}">
              <a16:creationId xmlns:a16="http://schemas.microsoft.com/office/drawing/2014/main" id="{D3577237-22F5-43F8-B5C3-FA3FA6A64955}"/>
            </a:ext>
          </a:extLst>
        </cdr:cNvPr>
        <cdr:cNvSpPr txBox="1"/>
      </cdr:nvSpPr>
      <cdr:spPr>
        <a:xfrm xmlns:a="http://schemas.openxmlformats.org/drawingml/2006/main">
          <a:off x="0" y="4613658"/>
          <a:ext cx="2537906" cy="37743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s-GT" sz="900" b="1" dirty="0"/>
            <a:t>Nota: No fue incluido Venezuela cuyo indicador es de 28,276.15 puntos básicos</a:t>
          </a:r>
        </a:p>
        <a:p xmlns:a="http://schemas.openxmlformats.org/drawingml/2006/main">
          <a:r>
            <a:rPr lang="es-GT" sz="900" b="1" dirty="0"/>
            <a:t>Fuente:  índice de JP Morgan obtenido del Banco Central de República Dominicana </a:t>
          </a:r>
        </a:p>
      </cdr:txBody>
    </cdr:sp>
  </cdr:relSizeAnchor>
</c:userShapes>
</file>

<file path=ppt/drawings/drawing6.xml><?xml version="1.0" encoding="utf-8"?>
<c:userShapes xmlns:c="http://schemas.openxmlformats.org/drawingml/2006/chart">
  <cdr:relSizeAnchor xmlns:cdr="http://schemas.openxmlformats.org/drawingml/2006/chartDrawing">
    <cdr:from>
      <cdr:x>0.01607</cdr:x>
      <cdr:y>0.88938</cdr:y>
    </cdr:from>
    <cdr:to>
      <cdr:x>0.58139</cdr:x>
      <cdr:y>0.97061</cdr:y>
    </cdr:to>
    <cdr:sp macro="" textlink="">
      <cdr:nvSpPr>
        <cdr:cNvPr id="2" name="CuadroTexto 1">
          <a:extLst xmlns:a="http://schemas.openxmlformats.org/drawingml/2006/main">
            <a:ext uri="{FF2B5EF4-FFF2-40B4-BE49-F238E27FC236}">
              <a16:creationId xmlns:a16="http://schemas.microsoft.com/office/drawing/2014/main" id="{D3577237-22F5-43F8-B5C3-FA3FA6A64955}"/>
            </a:ext>
          </a:extLst>
        </cdr:cNvPr>
        <cdr:cNvSpPr txBox="1"/>
      </cdr:nvSpPr>
      <cdr:spPr>
        <a:xfrm xmlns:a="http://schemas.openxmlformats.org/drawingml/2006/main">
          <a:off x="176835" y="5477904"/>
          <a:ext cx="6220072" cy="50031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s-GT" sz="1050" b="1" dirty="0"/>
            <a:t>Fuente:  índice de JP Morgan obtenido del Banco Central de República Dominicana </a:t>
          </a:r>
        </a:p>
      </cdr:txBody>
    </cdr:sp>
  </cdr:relSizeAnchor>
  <cdr:relSizeAnchor xmlns:cdr="http://schemas.openxmlformats.org/drawingml/2006/chartDrawing">
    <cdr:from>
      <cdr:x>0.20901</cdr:x>
      <cdr:y>0.14123</cdr:y>
    </cdr:from>
    <cdr:to>
      <cdr:x>0.20901</cdr:x>
      <cdr:y>0.78689</cdr:y>
    </cdr:to>
    <cdr:cxnSp macro="">
      <cdr:nvCxnSpPr>
        <cdr:cNvPr id="5" name="Conector recto 4">
          <a:extLst xmlns:a="http://schemas.openxmlformats.org/drawingml/2006/main">
            <a:ext uri="{FF2B5EF4-FFF2-40B4-BE49-F238E27FC236}">
              <a16:creationId xmlns:a16="http://schemas.microsoft.com/office/drawing/2014/main" id="{183E91E5-CB67-491F-B1AE-1EE549C4CFD6}"/>
            </a:ext>
          </a:extLst>
        </cdr:cNvPr>
        <cdr:cNvCxnSpPr/>
      </cdr:nvCxnSpPr>
      <cdr:spPr>
        <a:xfrm xmlns:a="http://schemas.openxmlformats.org/drawingml/2006/main" flipV="1">
          <a:off x="2299687" y="869894"/>
          <a:ext cx="0" cy="3976764"/>
        </a:xfrm>
        <a:prstGeom xmlns:a="http://schemas.openxmlformats.org/drawingml/2006/main" prst="line">
          <a:avLst/>
        </a:prstGeom>
        <a:ln xmlns:a="http://schemas.openxmlformats.org/drawingml/2006/main">
          <a:solidFill>
            <a:schemeClr val="bg1">
              <a:lumMod val="50000"/>
            </a:schemeClr>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37599</cdr:x>
      <cdr:y>0.15004</cdr:y>
    </cdr:from>
    <cdr:to>
      <cdr:x>0.37599</cdr:x>
      <cdr:y>0.79153</cdr:y>
    </cdr:to>
    <cdr:cxnSp macro="">
      <cdr:nvCxnSpPr>
        <cdr:cNvPr id="6" name="Conector recto 5">
          <a:extLst xmlns:a="http://schemas.openxmlformats.org/drawingml/2006/main">
            <a:ext uri="{FF2B5EF4-FFF2-40B4-BE49-F238E27FC236}">
              <a16:creationId xmlns:a16="http://schemas.microsoft.com/office/drawing/2014/main" id="{FE113482-0FBC-48A1-926D-3F2FF696449F}"/>
            </a:ext>
          </a:extLst>
        </cdr:cNvPr>
        <cdr:cNvCxnSpPr/>
      </cdr:nvCxnSpPr>
      <cdr:spPr>
        <a:xfrm xmlns:a="http://schemas.openxmlformats.org/drawingml/2006/main" flipV="1">
          <a:off x="4136973" y="924153"/>
          <a:ext cx="0" cy="3951080"/>
        </a:xfrm>
        <a:prstGeom xmlns:a="http://schemas.openxmlformats.org/drawingml/2006/main" prst="line">
          <a:avLst/>
        </a:prstGeom>
        <a:ln xmlns:a="http://schemas.openxmlformats.org/drawingml/2006/main">
          <a:solidFill>
            <a:schemeClr val="bg1">
              <a:lumMod val="50000"/>
            </a:schemeClr>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5176</cdr:x>
      <cdr:y>0.15468</cdr:y>
    </cdr:from>
    <cdr:to>
      <cdr:x>0.55176</cdr:x>
      <cdr:y>0.79816</cdr:y>
    </cdr:to>
    <cdr:cxnSp macro="">
      <cdr:nvCxnSpPr>
        <cdr:cNvPr id="7" name="Conector recto 6">
          <a:extLst xmlns:a="http://schemas.openxmlformats.org/drawingml/2006/main">
            <a:ext uri="{FF2B5EF4-FFF2-40B4-BE49-F238E27FC236}">
              <a16:creationId xmlns:a16="http://schemas.microsoft.com/office/drawing/2014/main" id="{077A88B6-7704-4609-9B2E-1CF0ED4F4770}"/>
            </a:ext>
          </a:extLst>
        </cdr:cNvPr>
        <cdr:cNvCxnSpPr/>
      </cdr:nvCxnSpPr>
      <cdr:spPr>
        <a:xfrm xmlns:a="http://schemas.openxmlformats.org/drawingml/2006/main" flipV="1">
          <a:off x="6070879" y="952728"/>
          <a:ext cx="0" cy="3963337"/>
        </a:xfrm>
        <a:prstGeom xmlns:a="http://schemas.openxmlformats.org/drawingml/2006/main" prst="line">
          <a:avLst/>
        </a:prstGeom>
        <a:ln xmlns:a="http://schemas.openxmlformats.org/drawingml/2006/main">
          <a:solidFill>
            <a:schemeClr val="bg1">
              <a:lumMod val="50000"/>
            </a:schemeClr>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72475</cdr:x>
      <cdr:y>0.15361</cdr:y>
    </cdr:from>
    <cdr:to>
      <cdr:x>0.72475</cdr:x>
      <cdr:y>0.79927</cdr:y>
    </cdr:to>
    <cdr:cxnSp macro="">
      <cdr:nvCxnSpPr>
        <cdr:cNvPr id="8" name="Conector recto 7">
          <a:extLst xmlns:a="http://schemas.openxmlformats.org/drawingml/2006/main">
            <a:ext uri="{FF2B5EF4-FFF2-40B4-BE49-F238E27FC236}">
              <a16:creationId xmlns:a16="http://schemas.microsoft.com/office/drawing/2014/main" id="{BA8C9B7C-8BC6-4365-B180-BA23E6B66A4A}"/>
            </a:ext>
          </a:extLst>
        </cdr:cNvPr>
        <cdr:cNvCxnSpPr/>
      </cdr:nvCxnSpPr>
      <cdr:spPr>
        <a:xfrm xmlns:a="http://schemas.openxmlformats.org/drawingml/2006/main" flipV="1">
          <a:off x="7974273" y="946094"/>
          <a:ext cx="0" cy="3976764"/>
        </a:xfrm>
        <a:prstGeom xmlns:a="http://schemas.openxmlformats.org/drawingml/2006/main" prst="line">
          <a:avLst/>
        </a:prstGeom>
        <a:ln xmlns:a="http://schemas.openxmlformats.org/drawingml/2006/main">
          <a:solidFill>
            <a:schemeClr val="bg1">
              <a:lumMod val="50000"/>
            </a:schemeClr>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89995</cdr:x>
      <cdr:y>0.1475</cdr:y>
    </cdr:from>
    <cdr:to>
      <cdr:x>0.89995</cdr:x>
      <cdr:y>0.79316</cdr:y>
    </cdr:to>
    <cdr:cxnSp macro="">
      <cdr:nvCxnSpPr>
        <cdr:cNvPr id="9" name="Conector recto 8">
          <a:extLst xmlns:a="http://schemas.openxmlformats.org/drawingml/2006/main">
            <a:ext uri="{FF2B5EF4-FFF2-40B4-BE49-F238E27FC236}">
              <a16:creationId xmlns:a16="http://schemas.microsoft.com/office/drawing/2014/main" id="{D50644A3-6238-4606-B82E-ED5CF65F5427}"/>
            </a:ext>
          </a:extLst>
        </cdr:cNvPr>
        <cdr:cNvCxnSpPr/>
      </cdr:nvCxnSpPr>
      <cdr:spPr>
        <a:xfrm xmlns:a="http://schemas.openxmlformats.org/drawingml/2006/main" flipV="1">
          <a:off x="9901966" y="908465"/>
          <a:ext cx="0" cy="3976764"/>
        </a:xfrm>
        <a:prstGeom xmlns:a="http://schemas.openxmlformats.org/drawingml/2006/main" prst="line">
          <a:avLst/>
        </a:prstGeom>
        <a:ln xmlns:a="http://schemas.openxmlformats.org/drawingml/2006/main">
          <a:solidFill>
            <a:schemeClr val="bg1">
              <a:lumMod val="50000"/>
            </a:schemeClr>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9819</cdr:x>
      <cdr:y>0.14621</cdr:y>
    </cdr:from>
    <cdr:to>
      <cdr:x>0.17162</cdr:x>
      <cdr:y>0.28367</cdr:y>
    </cdr:to>
    <cdr:sp macro="" textlink="">
      <cdr:nvSpPr>
        <cdr:cNvPr id="11" name="CuadroTexto 1">
          <a:extLst xmlns:a="http://schemas.openxmlformats.org/drawingml/2006/main">
            <a:ext uri="{FF2B5EF4-FFF2-40B4-BE49-F238E27FC236}">
              <a16:creationId xmlns:a16="http://schemas.microsoft.com/office/drawing/2014/main" id="{59B2C6F5-ABC8-4EB6-B9F5-67E5164E3BFD}"/>
            </a:ext>
          </a:extLst>
        </cdr:cNvPr>
        <cdr:cNvSpPr txBox="1"/>
      </cdr:nvSpPr>
      <cdr:spPr>
        <a:xfrm xmlns:a="http://schemas.openxmlformats.org/drawingml/2006/main">
          <a:off x="1080361" y="900552"/>
          <a:ext cx="807932" cy="846647"/>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s-GT" sz="1600" b="1" dirty="0"/>
            <a:t>2016</a:t>
          </a:r>
        </a:p>
      </cdr:txBody>
    </cdr:sp>
  </cdr:relSizeAnchor>
  <cdr:relSizeAnchor xmlns:cdr="http://schemas.openxmlformats.org/drawingml/2006/chartDrawing">
    <cdr:from>
      <cdr:x>0.27275</cdr:x>
      <cdr:y>0.14391</cdr:y>
    </cdr:from>
    <cdr:to>
      <cdr:x>0.34618</cdr:x>
      <cdr:y>0.28137</cdr:y>
    </cdr:to>
    <cdr:sp macro="" textlink="">
      <cdr:nvSpPr>
        <cdr:cNvPr id="12" name="CuadroTexto 1">
          <a:extLst xmlns:a="http://schemas.openxmlformats.org/drawingml/2006/main">
            <a:ext uri="{FF2B5EF4-FFF2-40B4-BE49-F238E27FC236}">
              <a16:creationId xmlns:a16="http://schemas.microsoft.com/office/drawing/2014/main" id="{59B2C6F5-ABC8-4EB6-B9F5-67E5164E3BFD}"/>
            </a:ext>
          </a:extLst>
        </cdr:cNvPr>
        <cdr:cNvSpPr txBox="1"/>
      </cdr:nvSpPr>
      <cdr:spPr>
        <a:xfrm xmlns:a="http://schemas.openxmlformats.org/drawingml/2006/main">
          <a:off x="3000968" y="886346"/>
          <a:ext cx="807932" cy="846647"/>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s-GT" sz="1600" b="1" dirty="0"/>
            <a:t>2017</a:t>
          </a:r>
        </a:p>
      </cdr:txBody>
    </cdr:sp>
  </cdr:relSizeAnchor>
  <cdr:relSizeAnchor xmlns:cdr="http://schemas.openxmlformats.org/drawingml/2006/chartDrawing">
    <cdr:from>
      <cdr:x>0.44631</cdr:x>
      <cdr:y>0.14533</cdr:y>
    </cdr:from>
    <cdr:to>
      <cdr:x>0.51974</cdr:x>
      <cdr:y>0.28278</cdr:y>
    </cdr:to>
    <cdr:sp macro="" textlink="">
      <cdr:nvSpPr>
        <cdr:cNvPr id="13" name="CuadroTexto 1">
          <a:extLst xmlns:a="http://schemas.openxmlformats.org/drawingml/2006/main">
            <a:ext uri="{FF2B5EF4-FFF2-40B4-BE49-F238E27FC236}">
              <a16:creationId xmlns:a16="http://schemas.microsoft.com/office/drawing/2014/main" id="{2D621A97-0F6A-4F5D-BD28-4C46DA159910}"/>
            </a:ext>
          </a:extLst>
        </cdr:cNvPr>
        <cdr:cNvSpPr txBox="1"/>
      </cdr:nvSpPr>
      <cdr:spPr>
        <a:xfrm xmlns:a="http://schemas.openxmlformats.org/drawingml/2006/main">
          <a:off x="4910649" y="895092"/>
          <a:ext cx="807931" cy="846586"/>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s-GT" sz="1600" b="1" dirty="0"/>
            <a:t>2018</a:t>
          </a:r>
        </a:p>
      </cdr:txBody>
    </cdr:sp>
  </cdr:relSizeAnchor>
  <cdr:relSizeAnchor xmlns:cdr="http://schemas.openxmlformats.org/drawingml/2006/chartDrawing">
    <cdr:from>
      <cdr:x>0.6198</cdr:x>
      <cdr:y>0.14627</cdr:y>
    </cdr:from>
    <cdr:to>
      <cdr:x>0.69323</cdr:x>
      <cdr:y>0.28373</cdr:y>
    </cdr:to>
    <cdr:sp macro="" textlink="">
      <cdr:nvSpPr>
        <cdr:cNvPr id="14" name="CuadroTexto 1">
          <a:extLst xmlns:a="http://schemas.openxmlformats.org/drawingml/2006/main">
            <a:ext uri="{FF2B5EF4-FFF2-40B4-BE49-F238E27FC236}">
              <a16:creationId xmlns:a16="http://schemas.microsoft.com/office/drawing/2014/main" id="{A30B3716-2C9F-40D7-9F9E-3AC6B3225F62}"/>
            </a:ext>
          </a:extLst>
        </cdr:cNvPr>
        <cdr:cNvSpPr txBox="1"/>
      </cdr:nvSpPr>
      <cdr:spPr>
        <a:xfrm xmlns:a="http://schemas.openxmlformats.org/drawingml/2006/main">
          <a:off x="6819471" y="900882"/>
          <a:ext cx="807931" cy="846647"/>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s-GT" sz="1600" b="1" dirty="0"/>
            <a:t>2019</a:t>
          </a:r>
        </a:p>
      </cdr:txBody>
    </cdr:sp>
  </cdr:relSizeAnchor>
  <cdr:relSizeAnchor xmlns:cdr="http://schemas.openxmlformats.org/drawingml/2006/chartDrawing">
    <cdr:from>
      <cdr:x>0.77718</cdr:x>
      <cdr:y>0.14402</cdr:y>
    </cdr:from>
    <cdr:to>
      <cdr:x>0.85061</cdr:x>
      <cdr:y>0.28148</cdr:y>
    </cdr:to>
    <cdr:sp macro="" textlink="">
      <cdr:nvSpPr>
        <cdr:cNvPr id="15" name="CuadroTexto 1">
          <a:extLst xmlns:a="http://schemas.openxmlformats.org/drawingml/2006/main">
            <a:ext uri="{FF2B5EF4-FFF2-40B4-BE49-F238E27FC236}">
              <a16:creationId xmlns:a16="http://schemas.microsoft.com/office/drawing/2014/main" id="{F39C4781-C53F-4FEB-BF58-37F28FAE431F}"/>
            </a:ext>
          </a:extLst>
        </cdr:cNvPr>
        <cdr:cNvSpPr txBox="1"/>
      </cdr:nvSpPr>
      <cdr:spPr>
        <a:xfrm xmlns:a="http://schemas.openxmlformats.org/drawingml/2006/main">
          <a:off x="8551127" y="887064"/>
          <a:ext cx="807932" cy="846647"/>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s-GT" sz="1600" b="1" dirty="0"/>
            <a:t>2020</a:t>
          </a:r>
        </a:p>
      </cdr:txBody>
    </cdr:sp>
  </cdr:relSizeAnchor>
  <cdr:relSizeAnchor xmlns:cdr="http://schemas.openxmlformats.org/drawingml/2006/chartDrawing">
    <cdr:from>
      <cdr:x>0.91505</cdr:x>
      <cdr:y>0.14203</cdr:y>
    </cdr:from>
    <cdr:to>
      <cdr:x>0.98848</cdr:x>
      <cdr:y>0.27949</cdr:y>
    </cdr:to>
    <cdr:sp macro="" textlink="">
      <cdr:nvSpPr>
        <cdr:cNvPr id="16" name="CuadroTexto 1">
          <a:extLst xmlns:a="http://schemas.openxmlformats.org/drawingml/2006/main">
            <a:ext uri="{FF2B5EF4-FFF2-40B4-BE49-F238E27FC236}">
              <a16:creationId xmlns:a16="http://schemas.microsoft.com/office/drawing/2014/main" id="{86EC4DA1-3057-4099-9A57-1F1BCE0FD322}"/>
            </a:ext>
          </a:extLst>
        </cdr:cNvPr>
        <cdr:cNvSpPr txBox="1"/>
      </cdr:nvSpPr>
      <cdr:spPr>
        <a:xfrm xmlns:a="http://schemas.openxmlformats.org/drawingml/2006/main">
          <a:off x="10068084" y="874807"/>
          <a:ext cx="807932" cy="846647"/>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s-GT" sz="1600" b="1" dirty="0"/>
            <a:t>2021</a:t>
          </a:r>
        </a:p>
      </cdr:txBody>
    </cdr:sp>
  </cdr:relSizeAnchor>
</c:userShapes>
</file>

<file path=ppt/drawings/drawing7.xml><?xml version="1.0" encoding="utf-8"?>
<c:userShapes xmlns:c="http://schemas.openxmlformats.org/drawingml/2006/chart">
  <cdr:relSizeAnchor xmlns:cdr="http://schemas.openxmlformats.org/drawingml/2006/chartDrawing">
    <cdr:from>
      <cdr:x>0</cdr:x>
      <cdr:y>0.92857</cdr:y>
    </cdr:from>
    <cdr:to>
      <cdr:x>0.99511</cdr:x>
      <cdr:y>1</cdr:y>
    </cdr:to>
    <cdr:sp macro="" textlink="">
      <cdr:nvSpPr>
        <cdr:cNvPr id="2" name="TextBox 1"/>
        <cdr:cNvSpPr txBox="1"/>
      </cdr:nvSpPr>
      <cdr:spPr>
        <a:xfrm xmlns:a="http://schemas.openxmlformats.org/drawingml/2006/main">
          <a:off x="0" y="2724150"/>
          <a:ext cx="4848224" cy="20955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s-GT" sz="800" i="1"/>
            <a:t>Fuente: Datos extraídos a las 11:00 a.m. de 19 de Agosto de 2021, de la base de datos de portal ourworldindata.org</a:t>
          </a:r>
        </a:p>
      </cdr:txBody>
    </cdr:sp>
  </cdr:relSizeAnchor>
</c:userShapes>
</file>

<file path=ppt/drawings/drawing8.xml><?xml version="1.0" encoding="utf-8"?>
<c:userShapes xmlns:c="http://schemas.openxmlformats.org/drawingml/2006/chart">
  <cdr:relSizeAnchor xmlns:cdr="http://schemas.openxmlformats.org/drawingml/2006/chartDrawing">
    <cdr:from>
      <cdr:x>0.49302</cdr:x>
      <cdr:y>0.22391</cdr:y>
    </cdr:from>
    <cdr:to>
      <cdr:x>0.64092</cdr:x>
      <cdr:y>0.3005</cdr:y>
    </cdr:to>
    <cdr:sp macro="" textlink="">
      <cdr:nvSpPr>
        <cdr:cNvPr id="2" name="TextBox 1"/>
        <cdr:cNvSpPr txBox="1"/>
      </cdr:nvSpPr>
      <cdr:spPr>
        <a:xfrm xmlns:a="http://schemas.openxmlformats.org/drawingml/2006/main">
          <a:off x="2484177" y="651970"/>
          <a:ext cx="745227" cy="223011"/>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none" rtlCol="0" anchor="t">
          <a:sp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s-GT" sz="800" b="1"/>
            <a:t>Segunda Ola</a:t>
          </a:r>
        </a:p>
      </cdr:txBody>
    </cdr:sp>
  </cdr:relSizeAnchor>
  <cdr:relSizeAnchor xmlns:cdr="http://schemas.openxmlformats.org/drawingml/2006/chartDrawing">
    <cdr:from>
      <cdr:x>0.74544</cdr:x>
      <cdr:y>0.22449</cdr:y>
    </cdr:from>
    <cdr:to>
      <cdr:x>0.87915</cdr:x>
      <cdr:y>0.29999</cdr:y>
    </cdr:to>
    <cdr:sp macro="" textlink="">
      <cdr:nvSpPr>
        <cdr:cNvPr id="3" name="TextBox 1"/>
        <cdr:cNvSpPr txBox="1"/>
      </cdr:nvSpPr>
      <cdr:spPr>
        <a:xfrm xmlns:a="http://schemas.openxmlformats.org/drawingml/2006/main">
          <a:off x="3756048" y="653655"/>
          <a:ext cx="673728" cy="219837"/>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none" rtlCol="0" anchor="t">
          <a:sp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s-GT" sz="800" b="1"/>
            <a:t>Tercera Ola</a:t>
          </a:r>
        </a:p>
      </cdr:txBody>
    </cdr:sp>
  </cdr:relSizeAnchor>
</c:userShapes>
</file>

<file path=ppt/drawings/drawing9.xml><?xml version="1.0" encoding="utf-8"?>
<c:userShapes xmlns:c="http://schemas.openxmlformats.org/drawingml/2006/chart">
  <cdr:relSizeAnchor xmlns:cdr="http://schemas.openxmlformats.org/drawingml/2006/chartDrawing">
    <cdr:from>
      <cdr:x>0.4949</cdr:x>
      <cdr:y>0.22391</cdr:y>
    </cdr:from>
    <cdr:to>
      <cdr:x>0.6428</cdr:x>
      <cdr:y>0.3005</cdr:y>
    </cdr:to>
    <cdr:sp macro="" textlink="">
      <cdr:nvSpPr>
        <cdr:cNvPr id="2" name="TextBox 1"/>
        <cdr:cNvSpPr txBox="1"/>
      </cdr:nvSpPr>
      <cdr:spPr>
        <a:xfrm xmlns:a="http://schemas.openxmlformats.org/drawingml/2006/main">
          <a:off x="2493679" y="651970"/>
          <a:ext cx="745227" cy="223011"/>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none" rtlCol="0" anchor="t">
          <a:sp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s-GT" sz="800" b="1"/>
            <a:t>Segunda Ola</a:t>
          </a:r>
        </a:p>
      </cdr:txBody>
    </cdr:sp>
  </cdr:relSizeAnchor>
  <cdr:relSizeAnchor xmlns:cdr="http://schemas.openxmlformats.org/drawingml/2006/chartDrawing">
    <cdr:from>
      <cdr:x>0.73787</cdr:x>
      <cdr:y>0.22449</cdr:y>
    </cdr:from>
    <cdr:to>
      <cdr:x>0.87158</cdr:x>
      <cdr:y>0.29999</cdr:y>
    </cdr:to>
    <cdr:sp macro="" textlink="">
      <cdr:nvSpPr>
        <cdr:cNvPr id="3" name="TextBox 1"/>
        <cdr:cNvSpPr txBox="1"/>
      </cdr:nvSpPr>
      <cdr:spPr>
        <a:xfrm xmlns:a="http://schemas.openxmlformats.org/drawingml/2006/main">
          <a:off x="3717948" y="653655"/>
          <a:ext cx="673728" cy="219837"/>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none" rtlCol="0" anchor="t">
          <a:sp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s-GT" sz="800" b="1"/>
            <a:t>Tercera Ola</a:t>
          </a:r>
        </a:p>
      </cdr:txBody>
    </cdr:sp>
  </cdr:relSizeAnchor>
  <cdr:relSizeAnchor xmlns:cdr="http://schemas.openxmlformats.org/drawingml/2006/chartDrawing">
    <cdr:from>
      <cdr:x>0.25186</cdr:x>
      <cdr:y>0.22776</cdr:y>
    </cdr:from>
    <cdr:to>
      <cdr:x>0.37837</cdr:x>
      <cdr:y>0.30069</cdr:y>
    </cdr:to>
    <cdr:sp macro="" textlink="">
      <cdr:nvSpPr>
        <cdr:cNvPr id="4" name="TextBox 1"/>
        <cdr:cNvSpPr txBox="1"/>
      </cdr:nvSpPr>
      <cdr:spPr>
        <a:xfrm xmlns:a="http://schemas.openxmlformats.org/drawingml/2006/main">
          <a:off x="1269037" y="663180"/>
          <a:ext cx="637449" cy="212354"/>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none" rtlCol="0" anchor="t">
          <a:sp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s-GT" sz="800" b="1"/>
            <a:t>Primera Ola</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s-GT"/>
          </a:p>
        </p:txBody>
      </p:sp>
      <p:sp>
        <p:nvSpPr>
          <p:cNvPr id="3" name="Marcador de fecha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1CDAD8C-8A83-416D-90C6-FBEE53F2F11F}" type="datetimeFigureOut">
              <a:rPr lang="es-GT" smtClean="0"/>
              <a:t>25/08/21</a:t>
            </a:fld>
            <a:endParaRPr lang="es-GT"/>
          </a:p>
        </p:txBody>
      </p:sp>
      <p:sp>
        <p:nvSpPr>
          <p:cNvPr id="4" name="Marcador de imagen de diapositiva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s-GT"/>
          </a:p>
        </p:txBody>
      </p:sp>
      <p:sp>
        <p:nvSpPr>
          <p:cNvPr id="5" name="Marcador de notas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GT"/>
          </a:p>
        </p:txBody>
      </p:sp>
      <p:sp>
        <p:nvSpPr>
          <p:cNvPr id="6" name="Marcador de pie de página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s-GT"/>
          </a:p>
        </p:txBody>
      </p:sp>
      <p:sp>
        <p:nvSpPr>
          <p:cNvPr id="7" name="Marcador de número de diapositiva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AF0549E3-652E-45F4-AAF7-4FB50DA6CB79}" type="slidenum">
              <a:rPr lang="es-GT" smtClean="0"/>
              <a:t>‹Nº›</a:t>
            </a:fld>
            <a:endParaRPr lang="es-GT"/>
          </a:p>
        </p:txBody>
      </p:sp>
    </p:spTree>
    <p:extLst>
      <p:ext uri="{BB962C8B-B14F-4D97-AF65-F5344CB8AC3E}">
        <p14:creationId xmlns:p14="http://schemas.microsoft.com/office/powerpoint/2010/main" val="1581514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GT"/>
              <a:t>Presentación de Presidencia 07/06. L5</a:t>
            </a:r>
          </a:p>
        </p:txBody>
      </p:sp>
      <p:sp>
        <p:nvSpPr>
          <p:cNvPr id="4" name="Marcador de número de diapositiva 3"/>
          <p:cNvSpPr>
            <a:spLocks noGrp="1"/>
          </p:cNvSpPr>
          <p:nvPr>
            <p:ph type="sldNum" sz="quarter" idx="5"/>
          </p:nvPr>
        </p:nvSpPr>
        <p:spPr/>
        <p:txBody>
          <a:bodyPr/>
          <a:lstStyle/>
          <a:p>
            <a:pPr defTabSz="465887">
              <a:defRPr/>
            </a:pPr>
            <a:fld id="{0B1D4B6E-96FC-B844-8D73-82D109539DE3}" type="slidenum">
              <a:rPr lang="es-GT">
                <a:solidFill>
                  <a:prstClr val="black"/>
                </a:solidFill>
                <a:latin typeface="Calibri" panose="020F0502020204030204"/>
              </a:rPr>
              <a:pPr defTabSz="465887">
                <a:defRPr/>
              </a:pPr>
              <a:t>3</a:t>
            </a:fld>
            <a:endParaRPr lang="es-GT">
              <a:solidFill>
                <a:prstClr val="black"/>
              </a:solidFill>
              <a:latin typeface="Calibri" panose="020F0502020204030204"/>
            </a:endParaRPr>
          </a:p>
        </p:txBody>
      </p:sp>
    </p:spTree>
    <p:extLst>
      <p:ext uri="{BB962C8B-B14F-4D97-AF65-F5344CB8AC3E}">
        <p14:creationId xmlns:p14="http://schemas.microsoft.com/office/powerpoint/2010/main" val="18880412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GT"/>
              <a:t>Presentación de Presidencia 07/06. L5</a:t>
            </a:r>
          </a:p>
        </p:txBody>
      </p:sp>
      <p:sp>
        <p:nvSpPr>
          <p:cNvPr id="4" name="Marcador de número de diapositiva 3"/>
          <p:cNvSpPr>
            <a:spLocks noGrp="1"/>
          </p:cNvSpPr>
          <p:nvPr>
            <p:ph type="sldNum" sz="quarter" idx="5"/>
          </p:nvPr>
        </p:nvSpPr>
        <p:spPr/>
        <p:txBody>
          <a:bodyPr/>
          <a:lstStyle/>
          <a:p>
            <a:pPr defTabSz="465887">
              <a:defRPr/>
            </a:pPr>
            <a:fld id="{0B1D4B6E-96FC-B844-8D73-82D109539DE3}" type="slidenum">
              <a:rPr lang="es-GT">
                <a:solidFill>
                  <a:prstClr val="black"/>
                </a:solidFill>
                <a:latin typeface="Calibri" panose="020F0502020204030204"/>
              </a:rPr>
              <a:pPr defTabSz="465887">
                <a:defRPr/>
              </a:pPr>
              <a:t>12</a:t>
            </a:fld>
            <a:endParaRPr lang="es-GT">
              <a:solidFill>
                <a:prstClr val="black"/>
              </a:solidFill>
              <a:latin typeface="Calibri" panose="020F0502020204030204"/>
            </a:endParaRPr>
          </a:p>
        </p:txBody>
      </p:sp>
    </p:spTree>
    <p:extLst>
      <p:ext uri="{BB962C8B-B14F-4D97-AF65-F5344CB8AC3E}">
        <p14:creationId xmlns:p14="http://schemas.microsoft.com/office/powerpoint/2010/main" val="2321911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GT"/>
              <a:t>Presentación de Presidencia 07/06. L5</a:t>
            </a:r>
          </a:p>
        </p:txBody>
      </p:sp>
      <p:sp>
        <p:nvSpPr>
          <p:cNvPr id="4" name="Marcador de número de diapositiva 3"/>
          <p:cNvSpPr>
            <a:spLocks noGrp="1"/>
          </p:cNvSpPr>
          <p:nvPr>
            <p:ph type="sldNum" sz="quarter" idx="5"/>
          </p:nvPr>
        </p:nvSpPr>
        <p:spPr/>
        <p:txBody>
          <a:bodyPr/>
          <a:lstStyle/>
          <a:p>
            <a:pPr defTabSz="465887">
              <a:defRPr/>
            </a:pPr>
            <a:fld id="{0B1D4B6E-96FC-B844-8D73-82D109539DE3}" type="slidenum">
              <a:rPr lang="es-GT">
                <a:solidFill>
                  <a:prstClr val="black"/>
                </a:solidFill>
                <a:latin typeface="Calibri" panose="020F0502020204030204"/>
              </a:rPr>
              <a:pPr defTabSz="465887">
                <a:defRPr/>
              </a:pPr>
              <a:t>13</a:t>
            </a:fld>
            <a:endParaRPr lang="es-GT">
              <a:solidFill>
                <a:prstClr val="black"/>
              </a:solidFill>
              <a:latin typeface="Calibri" panose="020F0502020204030204"/>
            </a:endParaRPr>
          </a:p>
        </p:txBody>
      </p:sp>
    </p:spTree>
    <p:extLst>
      <p:ext uri="{BB962C8B-B14F-4D97-AF65-F5344CB8AC3E}">
        <p14:creationId xmlns:p14="http://schemas.microsoft.com/office/powerpoint/2010/main" val="26383773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GT"/>
              <a:t>Presentación de Presidencia 07/06. L5</a:t>
            </a:r>
          </a:p>
        </p:txBody>
      </p:sp>
      <p:sp>
        <p:nvSpPr>
          <p:cNvPr id="4" name="Marcador de número de diapositiva 3"/>
          <p:cNvSpPr>
            <a:spLocks noGrp="1"/>
          </p:cNvSpPr>
          <p:nvPr>
            <p:ph type="sldNum" sz="quarter" idx="5"/>
          </p:nvPr>
        </p:nvSpPr>
        <p:spPr/>
        <p:txBody>
          <a:bodyPr/>
          <a:lstStyle/>
          <a:p>
            <a:pPr defTabSz="465887">
              <a:defRPr/>
            </a:pPr>
            <a:fld id="{0B1D4B6E-96FC-B844-8D73-82D109539DE3}" type="slidenum">
              <a:rPr lang="es-GT">
                <a:solidFill>
                  <a:prstClr val="black"/>
                </a:solidFill>
                <a:latin typeface="Calibri" panose="020F0502020204030204"/>
              </a:rPr>
              <a:pPr defTabSz="465887">
                <a:defRPr/>
              </a:pPr>
              <a:t>14</a:t>
            </a:fld>
            <a:endParaRPr lang="es-GT">
              <a:solidFill>
                <a:prstClr val="black"/>
              </a:solidFill>
              <a:latin typeface="Calibri" panose="020F0502020204030204"/>
            </a:endParaRPr>
          </a:p>
        </p:txBody>
      </p:sp>
    </p:spTree>
    <p:extLst>
      <p:ext uri="{BB962C8B-B14F-4D97-AF65-F5344CB8AC3E}">
        <p14:creationId xmlns:p14="http://schemas.microsoft.com/office/powerpoint/2010/main" val="11784066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GT"/>
              <a:t>Presentación de Presidencia 07/06. L5</a:t>
            </a:r>
          </a:p>
        </p:txBody>
      </p:sp>
      <p:sp>
        <p:nvSpPr>
          <p:cNvPr id="4" name="Marcador de número de diapositiva 3"/>
          <p:cNvSpPr>
            <a:spLocks noGrp="1"/>
          </p:cNvSpPr>
          <p:nvPr>
            <p:ph type="sldNum" sz="quarter" idx="5"/>
          </p:nvPr>
        </p:nvSpPr>
        <p:spPr/>
        <p:txBody>
          <a:bodyPr/>
          <a:lstStyle/>
          <a:p>
            <a:pPr defTabSz="465887">
              <a:defRPr/>
            </a:pPr>
            <a:fld id="{0B1D4B6E-96FC-B844-8D73-82D109539DE3}" type="slidenum">
              <a:rPr lang="es-GT">
                <a:solidFill>
                  <a:prstClr val="black"/>
                </a:solidFill>
                <a:latin typeface="Calibri" panose="020F0502020204030204"/>
              </a:rPr>
              <a:pPr defTabSz="465887">
                <a:defRPr/>
              </a:pPr>
              <a:t>16</a:t>
            </a:fld>
            <a:endParaRPr lang="es-GT">
              <a:solidFill>
                <a:prstClr val="black"/>
              </a:solidFill>
              <a:latin typeface="Calibri" panose="020F0502020204030204"/>
            </a:endParaRPr>
          </a:p>
        </p:txBody>
      </p:sp>
    </p:spTree>
    <p:extLst>
      <p:ext uri="{BB962C8B-B14F-4D97-AF65-F5344CB8AC3E}">
        <p14:creationId xmlns:p14="http://schemas.microsoft.com/office/powerpoint/2010/main" val="36385880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GT" dirty="0"/>
          </a:p>
        </p:txBody>
      </p:sp>
      <p:sp>
        <p:nvSpPr>
          <p:cNvPr id="4" name="Marcador de número de diapositiva 3"/>
          <p:cNvSpPr>
            <a:spLocks noGrp="1"/>
          </p:cNvSpPr>
          <p:nvPr>
            <p:ph type="sldNum" sz="quarter" idx="5"/>
          </p:nvPr>
        </p:nvSpPr>
        <p:spPr/>
        <p:txBody>
          <a:bodyPr/>
          <a:lstStyle/>
          <a:p>
            <a:fld id="{BB06AD22-6761-4944-90AC-157911C03CB9}" type="slidenum">
              <a:rPr lang="es-GT" smtClean="0"/>
              <a:t>17</a:t>
            </a:fld>
            <a:endParaRPr lang="es-GT"/>
          </a:p>
        </p:txBody>
      </p:sp>
    </p:spTree>
    <p:extLst>
      <p:ext uri="{BB962C8B-B14F-4D97-AF65-F5344CB8AC3E}">
        <p14:creationId xmlns:p14="http://schemas.microsoft.com/office/powerpoint/2010/main" val="15107006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GT"/>
              <a:t>Presentación de Presidencia 07/06. L5</a:t>
            </a:r>
          </a:p>
        </p:txBody>
      </p:sp>
      <p:sp>
        <p:nvSpPr>
          <p:cNvPr id="4" name="Marcador de número de diapositiva 3"/>
          <p:cNvSpPr>
            <a:spLocks noGrp="1"/>
          </p:cNvSpPr>
          <p:nvPr>
            <p:ph type="sldNum" sz="quarter" idx="5"/>
          </p:nvPr>
        </p:nvSpPr>
        <p:spPr/>
        <p:txBody>
          <a:bodyPr/>
          <a:lstStyle/>
          <a:p>
            <a:pPr defTabSz="465887">
              <a:defRPr/>
            </a:pPr>
            <a:fld id="{0B1D4B6E-96FC-B844-8D73-82D109539DE3}" type="slidenum">
              <a:rPr lang="es-GT">
                <a:solidFill>
                  <a:prstClr val="black"/>
                </a:solidFill>
                <a:latin typeface="Calibri" panose="020F0502020204030204"/>
              </a:rPr>
              <a:pPr defTabSz="465887">
                <a:defRPr/>
              </a:pPr>
              <a:t>20</a:t>
            </a:fld>
            <a:endParaRPr lang="es-GT">
              <a:solidFill>
                <a:prstClr val="black"/>
              </a:solidFill>
              <a:latin typeface="Calibri" panose="020F0502020204030204"/>
            </a:endParaRPr>
          </a:p>
        </p:txBody>
      </p:sp>
    </p:spTree>
    <p:extLst>
      <p:ext uri="{BB962C8B-B14F-4D97-AF65-F5344CB8AC3E}">
        <p14:creationId xmlns:p14="http://schemas.microsoft.com/office/powerpoint/2010/main" val="1230278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GT"/>
              <a:t>Presentación de Presidencia 07/06. L5</a:t>
            </a:r>
          </a:p>
        </p:txBody>
      </p:sp>
      <p:sp>
        <p:nvSpPr>
          <p:cNvPr id="4" name="Marcador de número de diapositiva 3"/>
          <p:cNvSpPr>
            <a:spLocks noGrp="1"/>
          </p:cNvSpPr>
          <p:nvPr>
            <p:ph type="sldNum" sz="quarter" idx="5"/>
          </p:nvPr>
        </p:nvSpPr>
        <p:spPr/>
        <p:txBody>
          <a:bodyPr/>
          <a:lstStyle/>
          <a:p>
            <a:pPr defTabSz="465887">
              <a:defRPr/>
            </a:pPr>
            <a:fld id="{0B1D4B6E-96FC-B844-8D73-82D109539DE3}" type="slidenum">
              <a:rPr lang="es-GT">
                <a:solidFill>
                  <a:prstClr val="black"/>
                </a:solidFill>
                <a:latin typeface="Calibri" panose="020F0502020204030204"/>
              </a:rPr>
              <a:pPr defTabSz="465887">
                <a:defRPr/>
              </a:pPr>
              <a:t>21</a:t>
            </a:fld>
            <a:endParaRPr lang="es-GT">
              <a:solidFill>
                <a:prstClr val="black"/>
              </a:solidFill>
              <a:latin typeface="Calibri" panose="020F0502020204030204"/>
            </a:endParaRPr>
          </a:p>
        </p:txBody>
      </p:sp>
    </p:spTree>
    <p:extLst>
      <p:ext uri="{BB962C8B-B14F-4D97-AF65-F5344CB8AC3E}">
        <p14:creationId xmlns:p14="http://schemas.microsoft.com/office/powerpoint/2010/main" val="620089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GT"/>
              <a:t>Presentación de Presidencia 07/06. L5</a:t>
            </a:r>
          </a:p>
        </p:txBody>
      </p:sp>
      <p:sp>
        <p:nvSpPr>
          <p:cNvPr id="4" name="Marcador de número de diapositiva 3"/>
          <p:cNvSpPr>
            <a:spLocks noGrp="1"/>
          </p:cNvSpPr>
          <p:nvPr>
            <p:ph type="sldNum" sz="quarter" idx="5"/>
          </p:nvPr>
        </p:nvSpPr>
        <p:spPr/>
        <p:txBody>
          <a:bodyPr/>
          <a:lstStyle/>
          <a:p>
            <a:pPr defTabSz="465887">
              <a:defRPr/>
            </a:pPr>
            <a:fld id="{0B1D4B6E-96FC-B844-8D73-82D109539DE3}" type="slidenum">
              <a:rPr lang="es-GT">
                <a:solidFill>
                  <a:prstClr val="black"/>
                </a:solidFill>
                <a:latin typeface="Calibri" panose="020F0502020204030204"/>
              </a:rPr>
              <a:pPr defTabSz="465887">
                <a:defRPr/>
              </a:pPr>
              <a:t>22</a:t>
            </a:fld>
            <a:endParaRPr lang="es-GT">
              <a:solidFill>
                <a:prstClr val="black"/>
              </a:solidFill>
              <a:latin typeface="Calibri" panose="020F0502020204030204"/>
            </a:endParaRPr>
          </a:p>
        </p:txBody>
      </p:sp>
    </p:spTree>
    <p:extLst>
      <p:ext uri="{BB962C8B-B14F-4D97-AF65-F5344CB8AC3E}">
        <p14:creationId xmlns:p14="http://schemas.microsoft.com/office/powerpoint/2010/main" val="26501287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GT"/>
              <a:t>Presentación de Presidencia 07/06. L5</a:t>
            </a:r>
          </a:p>
        </p:txBody>
      </p:sp>
      <p:sp>
        <p:nvSpPr>
          <p:cNvPr id="4" name="Marcador de número de diapositiva 3"/>
          <p:cNvSpPr>
            <a:spLocks noGrp="1"/>
          </p:cNvSpPr>
          <p:nvPr>
            <p:ph type="sldNum" sz="quarter" idx="5"/>
          </p:nvPr>
        </p:nvSpPr>
        <p:spPr/>
        <p:txBody>
          <a:bodyPr/>
          <a:lstStyle/>
          <a:p>
            <a:pPr defTabSz="465887">
              <a:defRPr/>
            </a:pPr>
            <a:fld id="{0B1D4B6E-96FC-B844-8D73-82D109539DE3}" type="slidenum">
              <a:rPr lang="es-GT">
                <a:solidFill>
                  <a:prstClr val="black"/>
                </a:solidFill>
                <a:latin typeface="Calibri" panose="020F0502020204030204"/>
              </a:rPr>
              <a:pPr defTabSz="465887">
                <a:defRPr/>
              </a:pPr>
              <a:t>23</a:t>
            </a:fld>
            <a:endParaRPr lang="es-GT">
              <a:solidFill>
                <a:prstClr val="black"/>
              </a:solidFill>
              <a:latin typeface="Calibri" panose="020F0502020204030204"/>
            </a:endParaRPr>
          </a:p>
        </p:txBody>
      </p:sp>
    </p:spTree>
    <p:extLst>
      <p:ext uri="{BB962C8B-B14F-4D97-AF65-F5344CB8AC3E}">
        <p14:creationId xmlns:p14="http://schemas.microsoft.com/office/powerpoint/2010/main" val="20290309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GT"/>
              <a:t>Presentación de Presidencia 07/06. L5</a:t>
            </a:r>
          </a:p>
        </p:txBody>
      </p:sp>
      <p:sp>
        <p:nvSpPr>
          <p:cNvPr id="4" name="Marcador de número de diapositiva 3"/>
          <p:cNvSpPr>
            <a:spLocks noGrp="1"/>
          </p:cNvSpPr>
          <p:nvPr>
            <p:ph type="sldNum" sz="quarter" idx="5"/>
          </p:nvPr>
        </p:nvSpPr>
        <p:spPr/>
        <p:txBody>
          <a:bodyPr/>
          <a:lstStyle/>
          <a:p>
            <a:pPr defTabSz="465887">
              <a:defRPr/>
            </a:pPr>
            <a:fld id="{0B1D4B6E-96FC-B844-8D73-82D109539DE3}" type="slidenum">
              <a:rPr lang="es-GT">
                <a:solidFill>
                  <a:prstClr val="black"/>
                </a:solidFill>
                <a:latin typeface="Calibri" panose="020F0502020204030204"/>
              </a:rPr>
              <a:pPr defTabSz="465887">
                <a:defRPr/>
              </a:pPr>
              <a:t>24</a:t>
            </a:fld>
            <a:endParaRPr lang="es-GT">
              <a:solidFill>
                <a:prstClr val="black"/>
              </a:solidFill>
              <a:latin typeface="Calibri" panose="020F0502020204030204"/>
            </a:endParaRPr>
          </a:p>
        </p:txBody>
      </p:sp>
    </p:spTree>
    <p:extLst>
      <p:ext uri="{BB962C8B-B14F-4D97-AF65-F5344CB8AC3E}">
        <p14:creationId xmlns:p14="http://schemas.microsoft.com/office/powerpoint/2010/main" val="35658540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GT"/>
              <a:t>Presentación de Presidencia 07/06. L5</a:t>
            </a:r>
          </a:p>
        </p:txBody>
      </p:sp>
      <p:sp>
        <p:nvSpPr>
          <p:cNvPr id="4" name="Marcador de número de diapositiva 3"/>
          <p:cNvSpPr>
            <a:spLocks noGrp="1"/>
          </p:cNvSpPr>
          <p:nvPr>
            <p:ph type="sldNum" sz="quarter" idx="5"/>
          </p:nvPr>
        </p:nvSpPr>
        <p:spPr/>
        <p:txBody>
          <a:bodyPr/>
          <a:lstStyle/>
          <a:p>
            <a:pPr defTabSz="465887">
              <a:defRPr/>
            </a:pPr>
            <a:fld id="{0B1D4B6E-96FC-B844-8D73-82D109539DE3}" type="slidenum">
              <a:rPr lang="es-GT">
                <a:solidFill>
                  <a:prstClr val="black"/>
                </a:solidFill>
                <a:latin typeface="Calibri" panose="020F0502020204030204"/>
              </a:rPr>
              <a:pPr defTabSz="465887">
                <a:defRPr/>
              </a:pPr>
              <a:t>4</a:t>
            </a:fld>
            <a:endParaRPr lang="es-GT">
              <a:solidFill>
                <a:prstClr val="black"/>
              </a:solidFill>
              <a:latin typeface="Calibri" panose="020F0502020204030204"/>
            </a:endParaRPr>
          </a:p>
        </p:txBody>
      </p:sp>
    </p:spTree>
    <p:extLst>
      <p:ext uri="{BB962C8B-B14F-4D97-AF65-F5344CB8AC3E}">
        <p14:creationId xmlns:p14="http://schemas.microsoft.com/office/powerpoint/2010/main" val="17654997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GT"/>
              <a:t>Presentación de Presidencia 07/06. L5</a:t>
            </a:r>
          </a:p>
        </p:txBody>
      </p:sp>
      <p:sp>
        <p:nvSpPr>
          <p:cNvPr id="4" name="Marcador de número de diapositiva 3"/>
          <p:cNvSpPr>
            <a:spLocks noGrp="1"/>
          </p:cNvSpPr>
          <p:nvPr>
            <p:ph type="sldNum" sz="quarter" idx="5"/>
          </p:nvPr>
        </p:nvSpPr>
        <p:spPr/>
        <p:txBody>
          <a:bodyPr/>
          <a:lstStyle/>
          <a:p>
            <a:pPr defTabSz="465887">
              <a:defRPr/>
            </a:pPr>
            <a:fld id="{0B1D4B6E-96FC-B844-8D73-82D109539DE3}" type="slidenum">
              <a:rPr lang="es-GT">
                <a:solidFill>
                  <a:prstClr val="black"/>
                </a:solidFill>
                <a:latin typeface="Calibri" panose="020F0502020204030204"/>
              </a:rPr>
              <a:pPr defTabSz="465887">
                <a:defRPr/>
              </a:pPr>
              <a:t>25</a:t>
            </a:fld>
            <a:endParaRPr lang="es-GT">
              <a:solidFill>
                <a:prstClr val="black"/>
              </a:solidFill>
              <a:latin typeface="Calibri" panose="020F0502020204030204"/>
            </a:endParaRPr>
          </a:p>
        </p:txBody>
      </p:sp>
    </p:spTree>
    <p:extLst>
      <p:ext uri="{BB962C8B-B14F-4D97-AF65-F5344CB8AC3E}">
        <p14:creationId xmlns:p14="http://schemas.microsoft.com/office/powerpoint/2010/main" val="4509389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GT"/>
              <a:t>Presentación de Presidencia 07/06. L5</a:t>
            </a:r>
          </a:p>
        </p:txBody>
      </p:sp>
      <p:sp>
        <p:nvSpPr>
          <p:cNvPr id="4" name="Marcador de número de diapositiva 3"/>
          <p:cNvSpPr>
            <a:spLocks noGrp="1"/>
          </p:cNvSpPr>
          <p:nvPr>
            <p:ph type="sldNum" sz="quarter" idx="5"/>
          </p:nvPr>
        </p:nvSpPr>
        <p:spPr/>
        <p:txBody>
          <a:bodyPr/>
          <a:lstStyle/>
          <a:p>
            <a:pPr defTabSz="465887">
              <a:defRPr/>
            </a:pPr>
            <a:fld id="{0B1D4B6E-96FC-B844-8D73-82D109539DE3}" type="slidenum">
              <a:rPr lang="es-GT">
                <a:solidFill>
                  <a:prstClr val="black"/>
                </a:solidFill>
                <a:latin typeface="Calibri" panose="020F0502020204030204"/>
              </a:rPr>
              <a:pPr defTabSz="465887">
                <a:defRPr/>
              </a:pPr>
              <a:t>26</a:t>
            </a:fld>
            <a:endParaRPr lang="es-GT">
              <a:solidFill>
                <a:prstClr val="black"/>
              </a:solidFill>
              <a:latin typeface="Calibri" panose="020F0502020204030204"/>
            </a:endParaRPr>
          </a:p>
        </p:txBody>
      </p:sp>
    </p:spTree>
    <p:extLst>
      <p:ext uri="{BB962C8B-B14F-4D97-AF65-F5344CB8AC3E}">
        <p14:creationId xmlns:p14="http://schemas.microsoft.com/office/powerpoint/2010/main" val="42551137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GT"/>
              <a:t>Presentación de Presidencia 07/06. L5</a:t>
            </a:r>
          </a:p>
        </p:txBody>
      </p:sp>
      <p:sp>
        <p:nvSpPr>
          <p:cNvPr id="4" name="Marcador de número de diapositiva 3"/>
          <p:cNvSpPr>
            <a:spLocks noGrp="1"/>
          </p:cNvSpPr>
          <p:nvPr>
            <p:ph type="sldNum" sz="quarter" idx="5"/>
          </p:nvPr>
        </p:nvSpPr>
        <p:spPr/>
        <p:txBody>
          <a:bodyPr/>
          <a:lstStyle/>
          <a:p>
            <a:pPr defTabSz="465887">
              <a:defRPr/>
            </a:pPr>
            <a:fld id="{0B1D4B6E-96FC-B844-8D73-82D109539DE3}" type="slidenum">
              <a:rPr lang="es-GT">
                <a:solidFill>
                  <a:prstClr val="black"/>
                </a:solidFill>
                <a:latin typeface="Calibri" panose="020F0502020204030204"/>
              </a:rPr>
              <a:pPr defTabSz="465887">
                <a:defRPr/>
              </a:pPr>
              <a:t>27</a:t>
            </a:fld>
            <a:endParaRPr lang="es-GT">
              <a:solidFill>
                <a:prstClr val="black"/>
              </a:solidFill>
              <a:latin typeface="Calibri" panose="020F0502020204030204"/>
            </a:endParaRPr>
          </a:p>
        </p:txBody>
      </p:sp>
    </p:spTree>
    <p:extLst>
      <p:ext uri="{BB962C8B-B14F-4D97-AF65-F5344CB8AC3E}">
        <p14:creationId xmlns:p14="http://schemas.microsoft.com/office/powerpoint/2010/main" val="32308821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GT"/>
              <a:t>Presentación de Presidencia 07/06. L5</a:t>
            </a:r>
          </a:p>
        </p:txBody>
      </p:sp>
      <p:sp>
        <p:nvSpPr>
          <p:cNvPr id="4" name="Marcador de número de diapositiva 3"/>
          <p:cNvSpPr>
            <a:spLocks noGrp="1"/>
          </p:cNvSpPr>
          <p:nvPr>
            <p:ph type="sldNum" sz="quarter" idx="5"/>
          </p:nvPr>
        </p:nvSpPr>
        <p:spPr/>
        <p:txBody>
          <a:bodyPr/>
          <a:lstStyle/>
          <a:p>
            <a:pPr defTabSz="465887">
              <a:defRPr/>
            </a:pPr>
            <a:fld id="{0B1D4B6E-96FC-B844-8D73-82D109539DE3}" type="slidenum">
              <a:rPr lang="es-GT">
                <a:solidFill>
                  <a:prstClr val="black"/>
                </a:solidFill>
                <a:latin typeface="Calibri" panose="020F0502020204030204"/>
              </a:rPr>
              <a:pPr defTabSz="465887">
                <a:defRPr/>
              </a:pPr>
              <a:t>29</a:t>
            </a:fld>
            <a:endParaRPr lang="es-GT">
              <a:solidFill>
                <a:prstClr val="black"/>
              </a:solidFill>
              <a:latin typeface="Calibri" panose="020F0502020204030204"/>
            </a:endParaRPr>
          </a:p>
        </p:txBody>
      </p:sp>
    </p:spTree>
    <p:extLst>
      <p:ext uri="{BB962C8B-B14F-4D97-AF65-F5344CB8AC3E}">
        <p14:creationId xmlns:p14="http://schemas.microsoft.com/office/powerpoint/2010/main" val="23985921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GT"/>
              <a:t>Presentación de Presidencia 07/06. L5</a:t>
            </a:r>
          </a:p>
        </p:txBody>
      </p:sp>
      <p:sp>
        <p:nvSpPr>
          <p:cNvPr id="4" name="Marcador de número de diapositiva 3"/>
          <p:cNvSpPr>
            <a:spLocks noGrp="1"/>
          </p:cNvSpPr>
          <p:nvPr>
            <p:ph type="sldNum" sz="quarter" idx="5"/>
          </p:nvPr>
        </p:nvSpPr>
        <p:spPr/>
        <p:txBody>
          <a:bodyPr/>
          <a:lstStyle/>
          <a:p>
            <a:pPr defTabSz="465887">
              <a:defRPr/>
            </a:pPr>
            <a:fld id="{0B1D4B6E-96FC-B844-8D73-82D109539DE3}" type="slidenum">
              <a:rPr lang="es-GT">
                <a:solidFill>
                  <a:prstClr val="black"/>
                </a:solidFill>
                <a:latin typeface="Calibri" panose="020F0502020204030204"/>
              </a:rPr>
              <a:pPr defTabSz="465887">
                <a:defRPr/>
              </a:pPr>
              <a:t>30</a:t>
            </a:fld>
            <a:endParaRPr lang="es-GT">
              <a:solidFill>
                <a:prstClr val="black"/>
              </a:solidFill>
              <a:latin typeface="Calibri" panose="020F0502020204030204"/>
            </a:endParaRPr>
          </a:p>
        </p:txBody>
      </p:sp>
    </p:spTree>
    <p:extLst>
      <p:ext uri="{BB962C8B-B14F-4D97-AF65-F5344CB8AC3E}">
        <p14:creationId xmlns:p14="http://schemas.microsoft.com/office/powerpoint/2010/main" val="757070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GT"/>
              <a:t>Presentación de Presidencia 07/06. L5</a:t>
            </a:r>
          </a:p>
        </p:txBody>
      </p:sp>
      <p:sp>
        <p:nvSpPr>
          <p:cNvPr id="4" name="Marcador de número de diapositiva 3"/>
          <p:cNvSpPr>
            <a:spLocks noGrp="1"/>
          </p:cNvSpPr>
          <p:nvPr>
            <p:ph type="sldNum" sz="quarter" idx="5"/>
          </p:nvPr>
        </p:nvSpPr>
        <p:spPr/>
        <p:txBody>
          <a:bodyPr/>
          <a:lstStyle/>
          <a:p>
            <a:pPr defTabSz="465887">
              <a:defRPr/>
            </a:pPr>
            <a:fld id="{0B1D4B6E-96FC-B844-8D73-82D109539DE3}" type="slidenum">
              <a:rPr lang="es-GT">
                <a:solidFill>
                  <a:prstClr val="black"/>
                </a:solidFill>
                <a:latin typeface="Calibri" panose="020F0502020204030204"/>
              </a:rPr>
              <a:pPr defTabSz="465887">
                <a:defRPr/>
              </a:pPr>
              <a:t>31</a:t>
            </a:fld>
            <a:endParaRPr lang="es-GT">
              <a:solidFill>
                <a:prstClr val="black"/>
              </a:solidFill>
              <a:latin typeface="Calibri" panose="020F0502020204030204"/>
            </a:endParaRPr>
          </a:p>
        </p:txBody>
      </p:sp>
    </p:spTree>
    <p:extLst>
      <p:ext uri="{BB962C8B-B14F-4D97-AF65-F5344CB8AC3E}">
        <p14:creationId xmlns:p14="http://schemas.microsoft.com/office/powerpoint/2010/main" val="29500701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GT"/>
              <a:t>Presentación de Presidencia 07/06. L5</a:t>
            </a:r>
          </a:p>
        </p:txBody>
      </p:sp>
      <p:sp>
        <p:nvSpPr>
          <p:cNvPr id="4" name="Marcador de número de diapositiva 3"/>
          <p:cNvSpPr>
            <a:spLocks noGrp="1"/>
          </p:cNvSpPr>
          <p:nvPr>
            <p:ph type="sldNum" sz="quarter" idx="5"/>
          </p:nvPr>
        </p:nvSpPr>
        <p:spPr/>
        <p:txBody>
          <a:bodyPr/>
          <a:lstStyle/>
          <a:p>
            <a:pPr defTabSz="465887">
              <a:defRPr/>
            </a:pPr>
            <a:fld id="{0B1D4B6E-96FC-B844-8D73-82D109539DE3}" type="slidenum">
              <a:rPr lang="es-GT">
                <a:solidFill>
                  <a:prstClr val="black"/>
                </a:solidFill>
                <a:latin typeface="Calibri" panose="020F0502020204030204"/>
              </a:rPr>
              <a:pPr defTabSz="465887">
                <a:defRPr/>
              </a:pPr>
              <a:t>5</a:t>
            </a:fld>
            <a:endParaRPr lang="es-GT">
              <a:solidFill>
                <a:prstClr val="black"/>
              </a:solidFill>
              <a:latin typeface="Calibri" panose="020F0502020204030204"/>
            </a:endParaRPr>
          </a:p>
        </p:txBody>
      </p:sp>
    </p:spTree>
    <p:extLst>
      <p:ext uri="{BB962C8B-B14F-4D97-AF65-F5344CB8AC3E}">
        <p14:creationId xmlns:p14="http://schemas.microsoft.com/office/powerpoint/2010/main" val="40816888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GT"/>
              <a:t>Presentación de Presidencia 07/06. L5</a:t>
            </a:r>
          </a:p>
        </p:txBody>
      </p:sp>
      <p:sp>
        <p:nvSpPr>
          <p:cNvPr id="4" name="Marcador de número de diapositiva 3"/>
          <p:cNvSpPr>
            <a:spLocks noGrp="1"/>
          </p:cNvSpPr>
          <p:nvPr>
            <p:ph type="sldNum" sz="quarter" idx="5"/>
          </p:nvPr>
        </p:nvSpPr>
        <p:spPr/>
        <p:txBody>
          <a:bodyPr/>
          <a:lstStyle/>
          <a:p>
            <a:pPr defTabSz="465887">
              <a:defRPr/>
            </a:pPr>
            <a:fld id="{0B1D4B6E-96FC-B844-8D73-82D109539DE3}" type="slidenum">
              <a:rPr lang="es-GT">
                <a:solidFill>
                  <a:prstClr val="black"/>
                </a:solidFill>
                <a:latin typeface="Calibri" panose="020F0502020204030204"/>
              </a:rPr>
              <a:pPr defTabSz="465887">
                <a:defRPr/>
              </a:pPr>
              <a:t>6</a:t>
            </a:fld>
            <a:endParaRPr lang="es-GT">
              <a:solidFill>
                <a:prstClr val="black"/>
              </a:solidFill>
              <a:latin typeface="Calibri" panose="020F0502020204030204"/>
            </a:endParaRPr>
          </a:p>
        </p:txBody>
      </p:sp>
    </p:spTree>
    <p:extLst>
      <p:ext uri="{BB962C8B-B14F-4D97-AF65-F5344CB8AC3E}">
        <p14:creationId xmlns:p14="http://schemas.microsoft.com/office/powerpoint/2010/main" val="6318381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GT"/>
              <a:t>Presentación de Presidencia 07/06. L5</a:t>
            </a:r>
          </a:p>
        </p:txBody>
      </p:sp>
      <p:sp>
        <p:nvSpPr>
          <p:cNvPr id="4" name="Marcador de número de diapositiva 3"/>
          <p:cNvSpPr>
            <a:spLocks noGrp="1"/>
          </p:cNvSpPr>
          <p:nvPr>
            <p:ph type="sldNum" sz="quarter" idx="5"/>
          </p:nvPr>
        </p:nvSpPr>
        <p:spPr/>
        <p:txBody>
          <a:bodyPr/>
          <a:lstStyle/>
          <a:p>
            <a:pPr defTabSz="465887">
              <a:defRPr/>
            </a:pPr>
            <a:fld id="{0B1D4B6E-96FC-B844-8D73-82D109539DE3}" type="slidenum">
              <a:rPr lang="es-GT">
                <a:solidFill>
                  <a:prstClr val="black"/>
                </a:solidFill>
                <a:latin typeface="Calibri" panose="020F0502020204030204"/>
              </a:rPr>
              <a:pPr defTabSz="465887">
                <a:defRPr/>
              </a:pPr>
              <a:t>7</a:t>
            </a:fld>
            <a:endParaRPr lang="es-GT">
              <a:solidFill>
                <a:prstClr val="black"/>
              </a:solidFill>
              <a:latin typeface="Calibri" panose="020F0502020204030204"/>
            </a:endParaRPr>
          </a:p>
        </p:txBody>
      </p:sp>
    </p:spTree>
    <p:extLst>
      <p:ext uri="{BB962C8B-B14F-4D97-AF65-F5344CB8AC3E}">
        <p14:creationId xmlns:p14="http://schemas.microsoft.com/office/powerpoint/2010/main" val="25397529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GT"/>
              <a:t>Presentación de Presidencia 07/06. L5</a:t>
            </a:r>
          </a:p>
        </p:txBody>
      </p:sp>
      <p:sp>
        <p:nvSpPr>
          <p:cNvPr id="4" name="Marcador de número de diapositiva 3"/>
          <p:cNvSpPr>
            <a:spLocks noGrp="1"/>
          </p:cNvSpPr>
          <p:nvPr>
            <p:ph type="sldNum" sz="quarter" idx="5"/>
          </p:nvPr>
        </p:nvSpPr>
        <p:spPr/>
        <p:txBody>
          <a:bodyPr/>
          <a:lstStyle/>
          <a:p>
            <a:pPr defTabSz="465887">
              <a:defRPr/>
            </a:pPr>
            <a:fld id="{0B1D4B6E-96FC-B844-8D73-82D109539DE3}" type="slidenum">
              <a:rPr lang="es-GT">
                <a:solidFill>
                  <a:prstClr val="black"/>
                </a:solidFill>
                <a:latin typeface="Calibri" panose="020F0502020204030204"/>
              </a:rPr>
              <a:pPr defTabSz="465887">
                <a:defRPr/>
              </a:pPr>
              <a:t>8</a:t>
            </a:fld>
            <a:endParaRPr lang="es-GT">
              <a:solidFill>
                <a:prstClr val="black"/>
              </a:solidFill>
              <a:latin typeface="Calibri" panose="020F0502020204030204"/>
            </a:endParaRPr>
          </a:p>
        </p:txBody>
      </p:sp>
    </p:spTree>
    <p:extLst>
      <p:ext uri="{BB962C8B-B14F-4D97-AF65-F5344CB8AC3E}">
        <p14:creationId xmlns:p14="http://schemas.microsoft.com/office/powerpoint/2010/main" val="14972410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GT"/>
              <a:t>Presentación de Presidencia 07/06. L5</a:t>
            </a:r>
          </a:p>
        </p:txBody>
      </p:sp>
      <p:sp>
        <p:nvSpPr>
          <p:cNvPr id="4" name="Marcador de número de diapositiva 3"/>
          <p:cNvSpPr>
            <a:spLocks noGrp="1"/>
          </p:cNvSpPr>
          <p:nvPr>
            <p:ph type="sldNum" sz="quarter" idx="5"/>
          </p:nvPr>
        </p:nvSpPr>
        <p:spPr/>
        <p:txBody>
          <a:bodyPr/>
          <a:lstStyle/>
          <a:p>
            <a:pPr defTabSz="465887">
              <a:defRPr/>
            </a:pPr>
            <a:fld id="{0B1D4B6E-96FC-B844-8D73-82D109539DE3}" type="slidenum">
              <a:rPr lang="es-GT">
                <a:solidFill>
                  <a:prstClr val="black"/>
                </a:solidFill>
                <a:latin typeface="Calibri" panose="020F0502020204030204"/>
              </a:rPr>
              <a:pPr defTabSz="465887">
                <a:defRPr/>
              </a:pPr>
              <a:t>9</a:t>
            </a:fld>
            <a:endParaRPr lang="es-GT">
              <a:solidFill>
                <a:prstClr val="black"/>
              </a:solidFill>
              <a:latin typeface="Calibri" panose="020F0502020204030204"/>
            </a:endParaRPr>
          </a:p>
        </p:txBody>
      </p:sp>
    </p:spTree>
    <p:extLst>
      <p:ext uri="{BB962C8B-B14F-4D97-AF65-F5344CB8AC3E}">
        <p14:creationId xmlns:p14="http://schemas.microsoft.com/office/powerpoint/2010/main" val="19188262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GT"/>
              <a:t>Presentación de Presidencia 07/06. L5</a:t>
            </a:r>
          </a:p>
        </p:txBody>
      </p:sp>
      <p:sp>
        <p:nvSpPr>
          <p:cNvPr id="4" name="Marcador de número de diapositiva 3"/>
          <p:cNvSpPr>
            <a:spLocks noGrp="1"/>
          </p:cNvSpPr>
          <p:nvPr>
            <p:ph type="sldNum" sz="quarter" idx="5"/>
          </p:nvPr>
        </p:nvSpPr>
        <p:spPr/>
        <p:txBody>
          <a:bodyPr/>
          <a:lstStyle/>
          <a:p>
            <a:pPr defTabSz="465887">
              <a:defRPr/>
            </a:pPr>
            <a:fld id="{0B1D4B6E-96FC-B844-8D73-82D109539DE3}" type="slidenum">
              <a:rPr lang="es-GT">
                <a:solidFill>
                  <a:prstClr val="black"/>
                </a:solidFill>
                <a:latin typeface="Calibri" panose="020F0502020204030204"/>
              </a:rPr>
              <a:pPr defTabSz="465887">
                <a:defRPr/>
              </a:pPr>
              <a:t>10</a:t>
            </a:fld>
            <a:endParaRPr lang="es-GT">
              <a:solidFill>
                <a:prstClr val="black"/>
              </a:solidFill>
              <a:latin typeface="Calibri" panose="020F0502020204030204"/>
            </a:endParaRPr>
          </a:p>
        </p:txBody>
      </p:sp>
    </p:spTree>
    <p:extLst>
      <p:ext uri="{BB962C8B-B14F-4D97-AF65-F5344CB8AC3E}">
        <p14:creationId xmlns:p14="http://schemas.microsoft.com/office/powerpoint/2010/main" val="26923818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GT"/>
              <a:t>Presentación de Presidencia 07/06. L5</a:t>
            </a:r>
          </a:p>
        </p:txBody>
      </p:sp>
      <p:sp>
        <p:nvSpPr>
          <p:cNvPr id="4" name="Marcador de número de diapositiva 3"/>
          <p:cNvSpPr>
            <a:spLocks noGrp="1"/>
          </p:cNvSpPr>
          <p:nvPr>
            <p:ph type="sldNum" sz="quarter" idx="5"/>
          </p:nvPr>
        </p:nvSpPr>
        <p:spPr/>
        <p:txBody>
          <a:bodyPr/>
          <a:lstStyle/>
          <a:p>
            <a:pPr defTabSz="465887">
              <a:defRPr/>
            </a:pPr>
            <a:fld id="{0B1D4B6E-96FC-B844-8D73-82D109539DE3}" type="slidenum">
              <a:rPr lang="es-GT">
                <a:solidFill>
                  <a:prstClr val="black"/>
                </a:solidFill>
                <a:latin typeface="Calibri" panose="020F0502020204030204"/>
              </a:rPr>
              <a:pPr defTabSz="465887">
                <a:defRPr/>
              </a:pPr>
              <a:t>11</a:t>
            </a:fld>
            <a:endParaRPr lang="es-GT">
              <a:solidFill>
                <a:prstClr val="black"/>
              </a:solidFill>
              <a:latin typeface="Calibri" panose="020F0502020204030204"/>
            </a:endParaRPr>
          </a:p>
        </p:txBody>
      </p:sp>
    </p:spTree>
    <p:extLst>
      <p:ext uri="{BB962C8B-B14F-4D97-AF65-F5344CB8AC3E}">
        <p14:creationId xmlns:p14="http://schemas.microsoft.com/office/powerpoint/2010/main" val="31140949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pic>
        <p:nvPicPr>
          <p:cNvPr id="7" name="Picture 10">
            <a:extLst>
              <a:ext uri="{FF2B5EF4-FFF2-40B4-BE49-F238E27FC236}">
                <a16:creationId xmlns:a16="http://schemas.microsoft.com/office/drawing/2014/main" id="{43439D12-0361-8E4C-94CE-D2B0F2DACD7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19215"/>
          <a:stretch/>
        </p:blipFill>
        <p:spPr>
          <a:xfrm>
            <a:off x="0" y="2432"/>
            <a:ext cx="12192000" cy="5540239"/>
          </a:xfrm>
          <a:prstGeom prst="rect">
            <a:avLst/>
          </a:prstGeom>
        </p:spPr>
      </p:pic>
      <p:pic>
        <p:nvPicPr>
          <p:cNvPr id="8" name="Imagen 7">
            <a:extLst>
              <a:ext uri="{FF2B5EF4-FFF2-40B4-BE49-F238E27FC236}">
                <a16:creationId xmlns:a16="http://schemas.microsoft.com/office/drawing/2014/main" id="{B1118570-1955-8944-86BF-7365ACE7D2C7}"/>
              </a:ext>
            </a:extLst>
          </p:cNvPr>
          <p:cNvPicPr>
            <a:picLocks noChangeAspect="1"/>
          </p:cNvPicPr>
          <p:nvPr userDrawn="1"/>
        </p:nvPicPr>
        <p:blipFill>
          <a:blip r:embed="rId3"/>
          <a:stretch>
            <a:fillRect/>
          </a:stretch>
        </p:blipFill>
        <p:spPr>
          <a:xfrm>
            <a:off x="7181824" y="5760427"/>
            <a:ext cx="4474050" cy="778485"/>
          </a:xfrm>
          <a:prstGeom prst="rect">
            <a:avLst/>
          </a:prstGeom>
        </p:spPr>
      </p:pic>
      <p:sp>
        <p:nvSpPr>
          <p:cNvPr id="2" name="Título 1">
            <a:extLst>
              <a:ext uri="{FF2B5EF4-FFF2-40B4-BE49-F238E27FC236}">
                <a16:creationId xmlns:a16="http://schemas.microsoft.com/office/drawing/2014/main" id="{687723E6-4D98-45E1-994D-B89AC7AAA85E}"/>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GT"/>
          </a:p>
        </p:txBody>
      </p:sp>
      <p:sp>
        <p:nvSpPr>
          <p:cNvPr id="3" name="Subtítulo 2">
            <a:extLst>
              <a:ext uri="{FF2B5EF4-FFF2-40B4-BE49-F238E27FC236}">
                <a16:creationId xmlns:a16="http://schemas.microsoft.com/office/drawing/2014/main" id="{0C89EF3B-6357-4E6D-B15E-4D7B070D728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GT"/>
          </a:p>
        </p:txBody>
      </p:sp>
      <p:sp>
        <p:nvSpPr>
          <p:cNvPr id="4" name="Marcador de fecha 3">
            <a:extLst>
              <a:ext uri="{FF2B5EF4-FFF2-40B4-BE49-F238E27FC236}">
                <a16:creationId xmlns:a16="http://schemas.microsoft.com/office/drawing/2014/main" id="{6E586851-6D11-4101-AF0A-7B8FECA1B8A7}"/>
              </a:ext>
            </a:extLst>
          </p:cNvPr>
          <p:cNvSpPr>
            <a:spLocks noGrp="1"/>
          </p:cNvSpPr>
          <p:nvPr>
            <p:ph type="dt" sz="half" idx="10"/>
          </p:nvPr>
        </p:nvSpPr>
        <p:spPr/>
        <p:txBody>
          <a:bodyPr/>
          <a:lstStyle/>
          <a:p>
            <a:fld id="{C74EA8B2-A77E-4F32-BCDF-2F6A6B583195}" type="datetimeFigureOut">
              <a:rPr lang="es-GT" smtClean="0"/>
              <a:t>25/08/21</a:t>
            </a:fld>
            <a:endParaRPr lang="es-GT"/>
          </a:p>
        </p:txBody>
      </p:sp>
      <p:sp>
        <p:nvSpPr>
          <p:cNvPr id="5" name="Marcador de pie de página 4">
            <a:extLst>
              <a:ext uri="{FF2B5EF4-FFF2-40B4-BE49-F238E27FC236}">
                <a16:creationId xmlns:a16="http://schemas.microsoft.com/office/drawing/2014/main" id="{FDE4AF98-1106-4C9E-9027-D18096742B95}"/>
              </a:ext>
            </a:extLst>
          </p:cNvPr>
          <p:cNvSpPr>
            <a:spLocks noGrp="1"/>
          </p:cNvSpPr>
          <p:nvPr>
            <p:ph type="ftr" sz="quarter" idx="11"/>
          </p:nvPr>
        </p:nvSpPr>
        <p:spPr/>
        <p:txBody>
          <a:bodyPr/>
          <a:lstStyle/>
          <a:p>
            <a:endParaRPr lang="es-GT"/>
          </a:p>
        </p:txBody>
      </p:sp>
      <p:sp>
        <p:nvSpPr>
          <p:cNvPr id="6" name="Marcador de número de diapositiva 5">
            <a:extLst>
              <a:ext uri="{FF2B5EF4-FFF2-40B4-BE49-F238E27FC236}">
                <a16:creationId xmlns:a16="http://schemas.microsoft.com/office/drawing/2014/main" id="{A0A171CB-26F6-42BB-BD19-55CB9C3B12A6}"/>
              </a:ext>
            </a:extLst>
          </p:cNvPr>
          <p:cNvSpPr>
            <a:spLocks noGrp="1"/>
          </p:cNvSpPr>
          <p:nvPr>
            <p:ph type="sldNum" sz="quarter" idx="12"/>
          </p:nvPr>
        </p:nvSpPr>
        <p:spPr/>
        <p:txBody>
          <a:bodyPr/>
          <a:lstStyle/>
          <a:p>
            <a:fld id="{5FBDD7CB-53A7-4829-941C-8DAA4D563E41}" type="slidenum">
              <a:rPr lang="es-GT" smtClean="0"/>
              <a:t>‹Nº›</a:t>
            </a:fld>
            <a:endParaRPr lang="es-GT"/>
          </a:p>
        </p:txBody>
      </p:sp>
    </p:spTree>
    <p:extLst>
      <p:ext uri="{BB962C8B-B14F-4D97-AF65-F5344CB8AC3E}">
        <p14:creationId xmlns:p14="http://schemas.microsoft.com/office/powerpoint/2010/main" val="33480902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1_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7C01A09-CDBE-0C48-8D77-535AB0339D83}"/>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s-MX"/>
              <a:t>Haz clic para modificar el estilo de título del patrón</a:t>
            </a:r>
            <a:endParaRPr lang="es-GT"/>
          </a:p>
        </p:txBody>
      </p:sp>
      <p:sp>
        <p:nvSpPr>
          <p:cNvPr id="3" name="Marcador de texto 2">
            <a:extLst>
              <a:ext uri="{FF2B5EF4-FFF2-40B4-BE49-F238E27FC236}">
                <a16:creationId xmlns:a16="http://schemas.microsoft.com/office/drawing/2014/main" id="{29242685-E06C-9E4C-87D9-11C608EA5C9C}"/>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MX"/>
              <a:t>Haga clic para modificar los estilos de texto del patrón</a:t>
            </a:r>
          </a:p>
        </p:txBody>
      </p:sp>
    </p:spTree>
    <p:extLst>
      <p:ext uri="{BB962C8B-B14F-4D97-AF65-F5344CB8AC3E}">
        <p14:creationId xmlns:p14="http://schemas.microsoft.com/office/powerpoint/2010/main" val="1212276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1_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E455360-EEF1-384E-A28F-04E949FFCEF4}"/>
              </a:ext>
            </a:extLst>
          </p:cNvPr>
          <p:cNvSpPr>
            <a:spLocks noGrp="1"/>
          </p:cNvSpPr>
          <p:nvPr>
            <p:ph type="title"/>
          </p:nvPr>
        </p:nvSpPr>
        <p:spPr>
          <a:xfrm>
            <a:off x="838200" y="365125"/>
            <a:ext cx="10515600" cy="1325563"/>
          </a:xfrm>
          <a:prstGeom prst="rect">
            <a:avLst/>
          </a:prstGeom>
        </p:spPr>
        <p:txBody>
          <a:bodyPr/>
          <a:lstStyle/>
          <a:p>
            <a:r>
              <a:rPr lang="es-MX"/>
              <a:t>Haz clic para modificar el estilo de título del patrón</a:t>
            </a:r>
            <a:endParaRPr lang="es-GT"/>
          </a:p>
        </p:txBody>
      </p:sp>
      <p:sp>
        <p:nvSpPr>
          <p:cNvPr id="3" name="Marcador de contenido 2">
            <a:extLst>
              <a:ext uri="{FF2B5EF4-FFF2-40B4-BE49-F238E27FC236}">
                <a16:creationId xmlns:a16="http://schemas.microsoft.com/office/drawing/2014/main" id="{A814EECE-8F56-ED42-A33F-DBBE7F6C8F5B}"/>
              </a:ext>
            </a:extLst>
          </p:cNvPr>
          <p:cNvSpPr>
            <a:spLocks noGrp="1"/>
          </p:cNvSpPr>
          <p:nvPr>
            <p:ph sz="half" idx="1"/>
          </p:nvPr>
        </p:nvSpPr>
        <p:spPr>
          <a:xfrm>
            <a:off x="838200" y="1825625"/>
            <a:ext cx="5181600" cy="4351338"/>
          </a:xfrm>
          <a:prstGeom prst="rect">
            <a:avLst/>
          </a:prstGeo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GT"/>
          </a:p>
        </p:txBody>
      </p:sp>
      <p:sp>
        <p:nvSpPr>
          <p:cNvPr id="4" name="Marcador de contenido 3">
            <a:extLst>
              <a:ext uri="{FF2B5EF4-FFF2-40B4-BE49-F238E27FC236}">
                <a16:creationId xmlns:a16="http://schemas.microsoft.com/office/drawing/2014/main" id="{D61995CF-93A1-8D40-924E-C484DBAF09A6}"/>
              </a:ext>
            </a:extLst>
          </p:cNvPr>
          <p:cNvSpPr>
            <a:spLocks noGrp="1"/>
          </p:cNvSpPr>
          <p:nvPr>
            <p:ph sz="half" idx="2"/>
          </p:nvPr>
        </p:nvSpPr>
        <p:spPr>
          <a:xfrm>
            <a:off x="6172200" y="1825625"/>
            <a:ext cx="5181600" cy="4351338"/>
          </a:xfrm>
          <a:prstGeom prst="rect">
            <a:avLst/>
          </a:prstGeo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GT"/>
          </a:p>
        </p:txBody>
      </p:sp>
    </p:spTree>
    <p:extLst>
      <p:ext uri="{BB962C8B-B14F-4D97-AF65-F5344CB8AC3E}">
        <p14:creationId xmlns:p14="http://schemas.microsoft.com/office/powerpoint/2010/main" val="13997887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1_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F205271-EDA8-124D-A876-24957ECD12B1}"/>
              </a:ext>
            </a:extLst>
          </p:cNvPr>
          <p:cNvSpPr>
            <a:spLocks noGrp="1"/>
          </p:cNvSpPr>
          <p:nvPr>
            <p:ph type="title"/>
          </p:nvPr>
        </p:nvSpPr>
        <p:spPr>
          <a:xfrm>
            <a:off x="839788" y="365125"/>
            <a:ext cx="10515600" cy="1325563"/>
          </a:xfrm>
          <a:prstGeom prst="rect">
            <a:avLst/>
          </a:prstGeom>
        </p:spPr>
        <p:txBody>
          <a:bodyPr/>
          <a:lstStyle/>
          <a:p>
            <a:r>
              <a:rPr lang="es-MX"/>
              <a:t>Haz clic para modificar el estilo de título del patrón</a:t>
            </a:r>
            <a:endParaRPr lang="es-GT"/>
          </a:p>
        </p:txBody>
      </p:sp>
      <p:sp>
        <p:nvSpPr>
          <p:cNvPr id="3" name="Marcador de texto 2">
            <a:extLst>
              <a:ext uri="{FF2B5EF4-FFF2-40B4-BE49-F238E27FC236}">
                <a16:creationId xmlns:a16="http://schemas.microsoft.com/office/drawing/2014/main" id="{3819B6FC-9C8E-884D-929E-66A0ED4FC0E0}"/>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MX"/>
              <a:t>Haga clic para modificar los estilos de texto del patrón</a:t>
            </a:r>
          </a:p>
        </p:txBody>
      </p:sp>
      <p:sp>
        <p:nvSpPr>
          <p:cNvPr id="4" name="Marcador de contenido 3">
            <a:extLst>
              <a:ext uri="{FF2B5EF4-FFF2-40B4-BE49-F238E27FC236}">
                <a16:creationId xmlns:a16="http://schemas.microsoft.com/office/drawing/2014/main" id="{EF23C253-6D38-1F49-9C75-21E6682007B8}"/>
              </a:ext>
            </a:extLst>
          </p:cNvPr>
          <p:cNvSpPr>
            <a:spLocks noGrp="1"/>
          </p:cNvSpPr>
          <p:nvPr>
            <p:ph sz="half" idx="2"/>
          </p:nvPr>
        </p:nvSpPr>
        <p:spPr>
          <a:xfrm>
            <a:off x="839788" y="2505075"/>
            <a:ext cx="5157787" cy="3684588"/>
          </a:xfrm>
          <a:prstGeom prst="rect">
            <a:avLst/>
          </a:prstGeo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GT"/>
          </a:p>
        </p:txBody>
      </p:sp>
      <p:sp>
        <p:nvSpPr>
          <p:cNvPr id="5" name="Marcador de texto 4">
            <a:extLst>
              <a:ext uri="{FF2B5EF4-FFF2-40B4-BE49-F238E27FC236}">
                <a16:creationId xmlns:a16="http://schemas.microsoft.com/office/drawing/2014/main" id="{D28608E3-7BA3-4A4E-907A-0B84A9D2C87B}"/>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MX"/>
              <a:t>Haga clic para modificar los estilos de texto del patrón</a:t>
            </a:r>
          </a:p>
        </p:txBody>
      </p:sp>
      <p:sp>
        <p:nvSpPr>
          <p:cNvPr id="6" name="Marcador de contenido 5">
            <a:extLst>
              <a:ext uri="{FF2B5EF4-FFF2-40B4-BE49-F238E27FC236}">
                <a16:creationId xmlns:a16="http://schemas.microsoft.com/office/drawing/2014/main" id="{CC625F0C-4B6F-D347-8DF8-E03BE3102CE2}"/>
              </a:ext>
            </a:extLst>
          </p:cNvPr>
          <p:cNvSpPr>
            <a:spLocks noGrp="1"/>
          </p:cNvSpPr>
          <p:nvPr>
            <p:ph sz="quarter" idx="4"/>
          </p:nvPr>
        </p:nvSpPr>
        <p:spPr>
          <a:xfrm>
            <a:off x="6172200" y="2505075"/>
            <a:ext cx="5183188" cy="3684588"/>
          </a:xfrm>
          <a:prstGeom prst="rect">
            <a:avLst/>
          </a:prstGeo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GT"/>
          </a:p>
        </p:txBody>
      </p:sp>
    </p:spTree>
    <p:extLst>
      <p:ext uri="{BB962C8B-B14F-4D97-AF65-F5344CB8AC3E}">
        <p14:creationId xmlns:p14="http://schemas.microsoft.com/office/powerpoint/2010/main" val="42420889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1_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E255869-085C-0D43-BD30-C6D79DEE0D5E}"/>
              </a:ext>
            </a:extLst>
          </p:cNvPr>
          <p:cNvSpPr>
            <a:spLocks noGrp="1"/>
          </p:cNvSpPr>
          <p:nvPr>
            <p:ph type="title"/>
          </p:nvPr>
        </p:nvSpPr>
        <p:spPr>
          <a:xfrm>
            <a:off x="838200" y="365125"/>
            <a:ext cx="10515600" cy="1325563"/>
          </a:xfrm>
          <a:prstGeom prst="rect">
            <a:avLst/>
          </a:prstGeom>
        </p:spPr>
        <p:txBody>
          <a:bodyPr/>
          <a:lstStyle/>
          <a:p>
            <a:r>
              <a:rPr lang="es-MX"/>
              <a:t>Haz clic para modificar el estilo de título del patrón</a:t>
            </a:r>
            <a:endParaRPr lang="es-GT"/>
          </a:p>
        </p:txBody>
      </p:sp>
    </p:spTree>
    <p:extLst>
      <p:ext uri="{BB962C8B-B14F-4D97-AF65-F5344CB8AC3E}">
        <p14:creationId xmlns:p14="http://schemas.microsoft.com/office/powerpoint/2010/main" val="7451726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1_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8948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1_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FF79ECF-539A-4348-97BA-34A816CB3FBA}"/>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s-MX"/>
              <a:t>Haz clic para modificar el estilo de título del patrón</a:t>
            </a:r>
            <a:endParaRPr lang="es-GT"/>
          </a:p>
        </p:txBody>
      </p:sp>
      <p:sp>
        <p:nvSpPr>
          <p:cNvPr id="3" name="Marcador de contenido 2">
            <a:extLst>
              <a:ext uri="{FF2B5EF4-FFF2-40B4-BE49-F238E27FC236}">
                <a16:creationId xmlns:a16="http://schemas.microsoft.com/office/drawing/2014/main" id="{3F4A9AC8-D4C1-2749-A7C5-1BA74F2E54DC}"/>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GT"/>
          </a:p>
        </p:txBody>
      </p:sp>
      <p:sp>
        <p:nvSpPr>
          <p:cNvPr id="4" name="Marcador de texto 3">
            <a:extLst>
              <a:ext uri="{FF2B5EF4-FFF2-40B4-BE49-F238E27FC236}">
                <a16:creationId xmlns:a16="http://schemas.microsoft.com/office/drawing/2014/main" id="{DFF1250B-A0C9-E543-8C36-C3FE9571FA01}"/>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MX"/>
              <a:t>Haga clic para modificar los estilos de texto del patrón</a:t>
            </a:r>
          </a:p>
        </p:txBody>
      </p:sp>
    </p:spTree>
    <p:extLst>
      <p:ext uri="{BB962C8B-B14F-4D97-AF65-F5344CB8AC3E}">
        <p14:creationId xmlns:p14="http://schemas.microsoft.com/office/powerpoint/2010/main" val="3822136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1_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FB80800-5A9A-ED45-A036-47FF917B8BAF}"/>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s-MX"/>
              <a:t>Haz clic para modificar el estilo de título del patrón</a:t>
            </a:r>
            <a:endParaRPr lang="es-GT"/>
          </a:p>
        </p:txBody>
      </p:sp>
      <p:sp>
        <p:nvSpPr>
          <p:cNvPr id="3" name="Marcador de posición de imagen 2">
            <a:extLst>
              <a:ext uri="{FF2B5EF4-FFF2-40B4-BE49-F238E27FC236}">
                <a16:creationId xmlns:a16="http://schemas.microsoft.com/office/drawing/2014/main" id="{025C1F9C-6CE5-0040-9398-CE5362E467A7}"/>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GT"/>
          </a:p>
        </p:txBody>
      </p:sp>
      <p:sp>
        <p:nvSpPr>
          <p:cNvPr id="4" name="Marcador de texto 3">
            <a:extLst>
              <a:ext uri="{FF2B5EF4-FFF2-40B4-BE49-F238E27FC236}">
                <a16:creationId xmlns:a16="http://schemas.microsoft.com/office/drawing/2014/main" id="{AACE8F4E-308A-1748-B14F-F4DAE916782B}"/>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MX"/>
              <a:t>Haga clic para modificar los estilos de texto del patrón</a:t>
            </a:r>
          </a:p>
        </p:txBody>
      </p:sp>
    </p:spTree>
    <p:extLst>
      <p:ext uri="{BB962C8B-B14F-4D97-AF65-F5344CB8AC3E}">
        <p14:creationId xmlns:p14="http://schemas.microsoft.com/office/powerpoint/2010/main" val="7543813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1_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EBD2018-0826-FE4D-AFE5-282327857A6C}"/>
              </a:ext>
            </a:extLst>
          </p:cNvPr>
          <p:cNvSpPr>
            <a:spLocks noGrp="1"/>
          </p:cNvSpPr>
          <p:nvPr>
            <p:ph type="title"/>
          </p:nvPr>
        </p:nvSpPr>
        <p:spPr>
          <a:xfrm>
            <a:off x="838200" y="365125"/>
            <a:ext cx="10515600" cy="1325563"/>
          </a:xfrm>
          <a:prstGeom prst="rect">
            <a:avLst/>
          </a:prstGeom>
        </p:spPr>
        <p:txBody>
          <a:bodyPr/>
          <a:lstStyle/>
          <a:p>
            <a:r>
              <a:rPr lang="es-MX"/>
              <a:t>Haz clic para modificar el estilo de título del patrón</a:t>
            </a:r>
            <a:endParaRPr lang="es-GT"/>
          </a:p>
        </p:txBody>
      </p:sp>
      <p:sp>
        <p:nvSpPr>
          <p:cNvPr id="3" name="Marcador de texto vertical 2">
            <a:extLst>
              <a:ext uri="{FF2B5EF4-FFF2-40B4-BE49-F238E27FC236}">
                <a16:creationId xmlns:a16="http://schemas.microsoft.com/office/drawing/2014/main" id="{0E2C11DC-66F7-F540-B7A1-A517620399C5}"/>
              </a:ext>
            </a:extLst>
          </p:cNvPr>
          <p:cNvSpPr>
            <a:spLocks noGrp="1"/>
          </p:cNvSpPr>
          <p:nvPr>
            <p:ph type="body" orient="vert" idx="1"/>
          </p:nvPr>
        </p:nvSpPr>
        <p:spPr>
          <a:xfrm>
            <a:off x="838200" y="1825625"/>
            <a:ext cx="10515600" cy="4351338"/>
          </a:xfrm>
          <a:prstGeom prst="rect">
            <a:avLst/>
          </a:prstGeom>
        </p:spPr>
        <p:txBody>
          <a:bodyPr vert="eaVert"/>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GT"/>
          </a:p>
        </p:txBody>
      </p:sp>
    </p:spTree>
    <p:extLst>
      <p:ext uri="{BB962C8B-B14F-4D97-AF65-F5344CB8AC3E}">
        <p14:creationId xmlns:p14="http://schemas.microsoft.com/office/powerpoint/2010/main" val="262663372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1_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C9BAFC13-FC11-CF4A-89E1-53A858CC3364}"/>
              </a:ext>
            </a:extLst>
          </p:cNvPr>
          <p:cNvSpPr>
            <a:spLocks noGrp="1"/>
          </p:cNvSpPr>
          <p:nvPr>
            <p:ph type="title" orient="vert"/>
          </p:nvPr>
        </p:nvSpPr>
        <p:spPr>
          <a:xfrm>
            <a:off x="8724900" y="365125"/>
            <a:ext cx="2628900" cy="5811838"/>
          </a:xfrm>
          <a:prstGeom prst="rect">
            <a:avLst/>
          </a:prstGeom>
        </p:spPr>
        <p:txBody>
          <a:bodyPr vert="eaVert"/>
          <a:lstStyle/>
          <a:p>
            <a:r>
              <a:rPr lang="es-MX"/>
              <a:t>Haz clic para modificar el estilo de título del patrón</a:t>
            </a:r>
            <a:endParaRPr lang="es-GT"/>
          </a:p>
        </p:txBody>
      </p:sp>
      <p:sp>
        <p:nvSpPr>
          <p:cNvPr id="3" name="Marcador de texto vertical 2">
            <a:extLst>
              <a:ext uri="{FF2B5EF4-FFF2-40B4-BE49-F238E27FC236}">
                <a16:creationId xmlns:a16="http://schemas.microsoft.com/office/drawing/2014/main" id="{FA270F0C-260A-D448-ACF8-458D326A51CB}"/>
              </a:ext>
            </a:extLst>
          </p:cNvPr>
          <p:cNvSpPr>
            <a:spLocks noGrp="1"/>
          </p:cNvSpPr>
          <p:nvPr>
            <p:ph type="body" orient="vert" idx="1"/>
          </p:nvPr>
        </p:nvSpPr>
        <p:spPr>
          <a:xfrm>
            <a:off x="838200" y="365125"/>
            <a:ext cx="7734300" cy="5811838"/>
          </a:xfrm>
          <a:prstGeom prst="rect">
            <a:avLst/>
          </a:prstGeom>
        </p:spPr>
        <p:txBody>
          <a:bodyPr vert="eaVert"/>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GT"/>
          </a:p>
        </p:txBody>
      </p:sp>
    </p:spTree>
    <p:extLst>
      <p:ext uri="{BB962C8B-B14F-4D97-AF65-F5344CB8AC3E}">
        <p14:creationId xmlns:p14="http://schemas.microsoft.com/office/powerpoint/2010/main" val="15459022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Contenido con título">
    <p:spTree>
      <p:nvGrpSpPr>
        <p:cNvPr id="1" name=""/>
        <p:cNvGrpSpPr/>
        <p:nvPr/>
      </p:nvGrpSpPr>
      <p:grpSpPr>
        <a:xfrm>
          <a:off x="0" y="0"/>
          <a:ext cx="0" cy="0"/>
          <a:chOff x="0" y="0"/>
          <a:chExt cx="0" cy="0"/>
        </a:xfrm>
      </p:grpSpPr>
      <p:pic>
        <p:nvPicPr>
          <p:cNvPr id="8" name="Picture 4">
            <a:extLst>
              <a:ext uri="{FF2B5EF4-FFF2-40B4-BE49-F238E27FC236}">
                <a16:creationId xmlns:a16="http://schemas.microsoft.com/office/drawing/2014/main" id="{77942CF1-8F1A-4B46-B803-18A36D63A2A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Marcador de fecha 4">
            <a:extLst>
              <a:ext uri="{FF2B5EF4-FFF2-40B4-BE49-F238E27FC236}">
                <a16:creationId xmlns:a16="http://schemas.microsoft.com/office/drawing/2014/main" id="{F7B565AE-8E7F-4176-A09A-3B54019A6559}"/>
              </a:ext>
            </a:extLst>
          </p:cNvPr>
          <p:cNvSpPr>
            <a:spLocks noGrp="1"/>
          </p:cNvSpPr>
          <p:nvPr>
            <p:ph type="dt" sz="half" idx="10"/>
          </p:nvPr>
        </p:nvSpPr>
        <p:spPr/>
        <p:txBody>
          <a:bodyPr/>
          <a:lstStyle/>
          <a:p>
            <a:fld id="{745C0EE7-B709-42A2-99E5-A4E10CC4BFD4}" type="datetimeFigureOut">
              <a:rPr lang="es-GT" smtClean="0"/>
              <a:t>25/08/21</a:t>
            </a:fld>
            <a:endParaRPr lang="es-GT"/>
          </a:p>
        </p:txBody>
      </p:sp>
      <p:sp>
        <p:nvSpPr>
          <p:cNvPr id="6" name="Marcador de pie de página 5">
            <a:extLst>
              <a:ext uri="{FF2B5EF4-FFF2-40B4-BE49-F238E27FC236}">
                <a16:creationId xmlns:a16="http://schemas.microsoft.com/office/drawing/2014/main" id="{77D2EF86-D7D2-42AB-B56B-A46EB78AB288}"/>
              </a:ext>
            </a:extLst>
          </p:cNvPr>
          <p:cNvSpPr>
            <a:spLocks noGrp="1"/>
          </p:cNvSpPr>
          <p:nvPr>
            <p:ph type="ftr" sz="quarter" idx="11"/>
          </p:nvPr>
        </p:nvSpPr>
        <p:spPr/>
        <p:txBody>
          <a:bodyPr/>
          <a:lstStyle/>
          <a:p>
            <a:endParaRPr lang="es-GT"/>
          </a:p>
        </p:txBody>
      </p:sp>
      <p:sp>
        <p:nvSpPr>
          <p:cNvPr id="7" name="Marcador de número de diapositiva 6">
            <a:extLst>
              <a:ext uri="{FF2B5EF4-FFF2-40B4-BE49-F238E27FC236}">
                <a16:creationId xmlns:a16="http://schemas.microsoft.com/office/drawing/2014/main" id="{1DE4F8DB-87D8-4675-B7BF-F9B72A20FFB8}"/>
              </a:ext>
            </a:extLst>
          </p:cNvPr>
          <p:cNvSpPr>
            <a:spLocks noGrp="1"/>
          </p:cNvSpPr>
          <p:nvPr>
            <p:ph type="sldNum" sz="quarter" idx="12"/>
          </p:nvPr>
        </p:nvSpPr>
        <p:spPr/>
        <p:txBody>
          <a:bodyPr/>
          <a:lstStyle/>
          <a:p>
            <a:fld id="{C8E8F757-C0F5-4898-B07E-BD3AFAAE9F3A}" type="slidenum">
              <a:rPr lang="es-GT" smtClean="0"/>
              <a:t>‹Nº›</a:t>
            </a:fld>
            <a:endParaRPr lang="es-GT"/>
          </a:p>
        </p:txBody>
      </p:sp>
    </p:spTree>
    <p:extLst>
      <p:ext uri="{BB962C8B-B14F-4D97-AF65-F5344CB8AC3E}">
        <p14:creationId xmlns:p14="http://schemas.microsoft.com/office/powerpoint/2010/main" val="27208608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819F80A-AEFD-4863-9A3F-AFEDE1DDBA92}"/>
              </a:ext>
            </a:extLst>
          </p:cNvPr>
          <p:cNvSpPr>
            <a:spLocks noGrp="1"/>
          </p:cNvSpPr>
          <p:nvPr>
            <p:ph type="title"/>
          </p:nvPr>
        </p:nvSpPr>
        <p:spPr/>
        <p:txBody>
          <a:bodyPr/>
          <a:lstStyle/>
          <a:p>
            <a:r>
              <a:rPr lang="es-ES"/>
              <a:t>Haga clic para modificar el estilo de título del patrón</a:t>
            </a:r>
            <a:endParaRPr lang="es-GT"/>
          </a:p>
        </p:txBody>
      </p:sp>
      <p:sp>
        <p:nvSpPr>
          <p:cNvPr id="3" name="Marcador de contenido 2">
            <a:extLst>
              <a:ext uri="{FF2B5EF4-FFF2-40B4-BE49-F238E27FC236}">
                <a16:creationId xmlns:a16="http://schemas.microsoft.com/office/drawing/2014/main" id="{F21931CF-01DC-49A2-BA76-2B6EE9C6BA95}"/>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GT"/>
          </a:p>
        </p:txBody>
      </p:sp>
      <p:sp>
        <p:nvSpPr>
          <p:cNvPr id="4" name="Marcador de fecha 3">
            <a:extLst>
              <a:ext uri="{FF2B5EF4-FFF2-40B4-BE49-F238E27FC236}">
                <a16:creationId xmlns:a16="http://schemas.microsoft.com/office/drawing/2014/main" id="{2F8AEDE1-F7B2-4C94-9D2B-1F49B94867DD}"/>
              </a:ext>
            </a:extLst>
          </p:cNvPr>
          <p:cNvSpPr>
            <a:spLocks noGrp="1"/>
          </p:cNvSpPr>
          <p:nvPr>
            <p:ph type="dt" sz="half" idx="10"/>
          </p:nvPr>
        </p:nvSpPr>
        <p:spPr/>
        <p:txBody>
          <a:bodyPr/>
          <a:lstStyle/>
          <a:p>
            <a:fld id="{C74EA8B2-A77E-4F32-BCDF-2F6A6B583195}" type="datetimeFigureOut">
              <a:rPr lang="es-GT" smtClean="0"/>
              <a:t>25/08/21</a:t>
            </a:fld>
            <a:endParaRPr lang="es-GT"/>
          </a:p>
        </p:txBody>
      </p:sp>
      <p:sp>
        <p:nvSpPr>
          <p:cNvPr id="5" name="Marcador de pie de página 4">
            <a:extLst>
              <a:ext uri="{FF2B5EF4-FFF2-40B4-BE49-F238E27FC236}">
                <a16:creationId xmlns:a16="http://schemas.microsoft.com/office/drawing/2014/main" id="{2669D092-122B-4490-8451-F2D4C97527B7}"/>
              </a:ext>
            </a:extLst>
          </p:cNvPr>
          <p:cNvSpPr>
            <a:spLocks noGrp="1"/>
          </p:cNvSpPr>
          <p:nvPr>
            <p:ph type="ftr" sz="quarter" idx="11"/>
          </p:nvPr>
        </p:nvSpPr>
        <p:spPr/>
        <p:txBody>
          <a:bodyPr/>
          <a:lstStyle/>
          <a:p>
            <a:endParaRPr lang="es-GT"/>
          </a:p>
        </p:txBody>
      </p:sp>
      <p:sp>
        <p:nvSpPr>
          <p:cNvPr id="6" name="Marcador de número de diapositiva 5">
            <a:extLst>
              <a:ext uri="{FF2B5EF4-FFF2-40B4-BE49-F238E27FC236}">
                <a16:creationId xmlns:a16="http://schemas.microsoft.com/office/drawing/2014/main" id="{1FE0010C-DE45-4A4A-83A1-6AE979FFC897}"/>
              </a:ext>
            </a:extLst>
          </p:cNvPr>
          <p:cNvSpPr>
            <a:spLocks noGrp="1"/>
          </p:cNvSpPr>
          <p:nvPr>
            <p:ph type="sldNum" sz="quarter" idx="12"/>
          </p:nvPr>
        </p:nvSpPr>
        <p:spPr/>
        <p:txBody>
          <a:bodyPr/>
          <a:lstStyle/>
          <a:p>
            <a:fld id="{5FBDD7CB-53A7-4829-941C-8DAA4D563E41}" type="slidenum">
              <a:rPr lang="es-GT" smtClean="0"/>
              <a:t>‹Nº›</a:t>
            </a:fld>
            <a:endParaRPr lang="es-GT"/>
          </a:p>
        </p:txBody>
      </p:sp>
    </p:spTree>
    <p:extLst>
      <p:ext uri="{BB962C8B-B14F-4D97-AF65-F5344CB8AC3E}">
        <p14:creationId xmlns:p14="http://schemas.microsoft.com/office/powerpoint/2010/main" val="348078127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C6C3B88-6C66-4983-BFAC-544F47251B74}"/>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GT"/>
          </a:p>
        </p:txBody>
      </p:sp>
      <p:sp>
        <p:nvSpPr>
          <p:cNvPr id="3" name="Marcador de contenido 2">
            <a:extLst>
              <a:ext uri="{FF2B5EF4-FFF2-40B4-BE49-F238E27FC236}">
                <a16:creationId xmlns:a16="http://schemas.microsoft.com/office/drawing/2014/main" id="{A299D98C-EC69-43AB-A313-8DC2622C8CF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GT"/>
          </a:p>
        </p:txBody>
      </p:sp>
      <p:sp>
        <p:nvSpPr>
          <p:cNvPr id="4" name="Marcador de texto 3">
            <a:extLst>
              <a:ext uri="{FF2B5EF4-FFF2-40B4-BE49-F238E27FC236}">
                <a16:creationId xmlns:a16="http://schemas.microsoft.com/office/drawing/2014/main" id="{F7DBAE16-D797-4E96-8902-D5441A17F30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1849CCD5-1A02-4885-867B-40114038EF21}"/>
              </a:ext>
            </a:extLst>
          </p:cNvPr>
          <p:cNvSpPr>
            <a:spLocks noGrp="1"/>
          </p:cNvSpPr>
          <p:nvPr>
            <p:ph type="dt" sz="half" idx="10"/>
          </p:nvPr>
        </p:nvSpPr>
        <p:spPr/>
        <p:txBody>
          <a:bodyPr/>
          <a:lstStyle/>
          <a:p>
            <a:fld id="{C74EA8B2-A77E-4F32-BCDF-2F6A6B583195}" type="datetimeFigureOut">
              <a:rPr lang="es-GT" smtClean="0"/>
              <a:t>25/08/21</a:t>
            </a:fld>
            <a:endParaRPr lang="es-GT"/>
          </a:p>
        </p:txBody>
      </p:sp>
      <p:sp>
        <p:nvSpPr>
          <p:cNvPr id="6" name="Marcador de pie de página 5">
            <a:extLst>
              <a:ext uri="{FF2B5EF4-FFF2-40B4-BE49-F238E27FC236}">
                <a16:creationId xmlns:a16="http://schemas.microsoft.com/office/drawing/2014/main" id="{11482A59-D0DA-4520-9DBA-D36338BD9ECA}"/>
              </a:ext>
            </a:extLst>
          </p:cNvPr>
          <p:cNvSpPr>
            <a:spLocks noGrp="1"/>
          </p:cNvSpPr>
          <p:nvPr>
            <p:ph type="ftr" sz="quarter" idx="11"/>
          </p:nvPr>
        </p:nvSpPr>
        <p:spPr/>
        <p:txBody>
          <a:bodyPr/>
          <a:lstStyle/>
          <a:p>
            <a:endParaRPr lang="es-GT"/>
          </a:p>
        </p:txBody>
      </p:sp>
      <p:sp>
        <p:nvSpPr>
          <p:cNvPr id="7" name="Marcador de número de diapositiva 6">
            <a:extLst>
              <a:ext uri="{FF2B5EF4-FFF2-40B4-BE49-F238E27FC236}">
                <a16:creationId xmlns:a16="http://schemas.microsoft.com/office/drawing/2014/main" id="{ECF45348-07EF-43BD-8486-B6F96B97B3AF}"/>
              </a:ext>
            </a:extLst>
          </p:cNvPr>
          <p:cNvSpPr>
            <a:spLocks noGrp="1"/>
          </p:cNvSpPr>
          <p:nvPr>
            <p:ph type="sldNum" sz="quarter" idx="12"/>
          </p:nvPr>
        </p:nvSpPr>
        <p:spPr/>
        <p:txBody>
          <a:bodyPr/>
          <a:lstStyle/>
          <a:p>
            <a:fld id="{5FBDD7CB-53A7-4829-941C-8DAA4D563E41}" type="slidenum">
              <a:rPr lang="es-GT" smtClean="0"/>
              <a:t>‹Nº›</a:t>
            </a:fld>
            <a:endParaRPr lang="es-GT"/>
          </a:p>
        </p:txBody>
      </p:sp>
    </p:spTree>
    <p:extLst>
      <p:ext uri="{BB962C8B-B14F-4D97-AF65-F5344CB8AC3E}">
        <p14:creationId xmlns:p14="http://schemas.microsoft.com/office/powerpoint/2010/main" val="36222063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A1F8545-1EDE-4C4D-8729-9B8858E7268B}"/>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GT"/>
          </a:p>
        </p:txBody>
      </p:sp>
      <p:sp>
        <p:nvSpPr>
          <p:cNvPr id="3" name="Marcador de posición de imagen 2">
            <a:extLst>
              <a:ext uri="{FF2B5EF4-FFF2-40B4-BE49-F238E27FC236}">
                <a16:creationId xmlns:a16="http://schemas.microsoft.com/office/drawing/2014/main" id="{D312EFFC-68E3-4246-8995-8FCE3B8776A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GT"/>
          </a:p>
        </p:txBody>
      </p:sp>
      <p:sp>
        <p:nvSpPr>
          <p:cNvPr id="4" name="Marcador de texto 3">
            <a:extLst>
              <a:ext uri="{FF2B5EF4-FFF2-40B4-BE49-F238E27FC236}">
                <a16:creationId xmlns:a16="http://schemas.microsoft.com/office/drawing/2014/main" id="{B6E07804-A2F2-4C4E-A65E-6FD1251B72A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72427BDA-D0F7-4565-AE31-F8963371B0B0}"/>
              </a:ext>
            </a:extLst>
          </p:cNvPr>
          <p:cNvSpPr>
            <a:spLocks noGrp="1"/>
          </p:cNvSpPr>
          <p:nvPr>
            <p:ph type="dt" sz="half" idx="10"/>
          </p:nvPr>
        </p:nvSpPr>
        <p:spPr/>
        <p:txBody>
          <a:bodyPr/>
          <a:lstStyle/>
          <a:p>
            <a:fld id="{C74EA8B2-A77E-4F32-BCDF-2F6A6B583195}" type="datetimeFigureOut">
              <a:rPr lang="es-GT" smtClean="0"/>
              <a:t>25/08/21</a:t>
            </a:fld>
            <a:endParaRPr lang="es-GT"/>
          </a:p>
        </p:txBody>
      </p:sp>
      <p:sp>
        <p:nvSpPr>
          <p:cNvPr id="6" name="Marcador de pie de página 5">
            <a:extLst>
              <a:ext uri="{FF2B5EF4-FFF2-40B4-BE49-F238E27FC236}">
                <a16:creationId xmlns:a16="http://schemas.microsoft.com/office/drawing/2014/main" id="{5C7C94D1-DA48-47F1-B0D4-A7C847C6A65C}"/>
              </a:ext>
            </a:extLst>
          </p:cNvPr>
          <p:cNvSpPr>
            <a:spLocks noGrp="1"/>
          </p:cNvSpPr>
          <p:nvPr>
            <p:ph type="ftr" sz="quarter" idx="11"/>
          </p:nvPr>
        </p:nvSpPr>
        <p:spPr/>
        <p:txBody>
          <a:bodyPr/>
          <a:lstStyle/>
          <a:p>
            <a:endParaRPr lang="es-GT"/>
          </a:p>
        </p:txBody>
      </p:sp>
      <p:sp>
        <p:nvSpPr>
          <p:cNvPr id="7" name="Marcador de número de diapositiva 6">
            <a:extLst>
              <a:ext uri="{FF2B5EF4-FFF2-40B4-BE49-F238E27FC236}">
                <a16:creationId xmlns:a16="http://schemas.microsoft.com/office/drawing/2014/main" id="{A4DC3CEE-B327-4EFC-8BAE-B568E7C11DF1}"/>
              </a:ext>
            </a:extLst>
          </p:cNvPr>
          <p:cNvSpPr>
            <a:spLocks noGrp="1"/>
          </p:cNvSpPr>
          <p:nvPr>
            <p:ph type="sldNum" sz="quarter" idx="12"/>
          </p:nvPr>
        </p:nvSpPr>
        <p:spPr/>
        <p:txBody>
          <a:bodyPr/>
          <a:lstStyle/>
          <a:p>
            <a:fld id="{5FBDD7CB-53A7-4829-941C-8DAA4D563E41}" type="slidenum">
              <a:rPr lang="es-GT" smtClean="0"/>
              <a:t>‹Nº›</a:t>
            </a:fld>
            <a:endParaRPr lang="es-GT"/>
          </a:p>
        </p:txBody>
      </p:sp>
    </p:spTree>
    <p:extLst>
      <p:ext uri="{BB962C8B-B14F-4D97-AF65-F5344CB8AC3E}">
        <p14:creationId xmlns:p14="http://schemas.microsoft.com/office/powerpoint/2010/main" val="774664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5C2A3F1-6E8A-4B79-B835-3B5956D6F530}"/>
              </a:ext>
            </a:extLst>
          </p:cNvPr>
          <p:cNvSpPr>
            <a:spLocks noGrp="1"/>
          </p:cNvSpPr>
          <p:nvPr>
            <p:ph type="title"/>
          </p:nvPr>
        </p:nvSpPr>
        <p:spPr/>
        <p:txBody>
          <a:bodyPr/>
          <a:lstStyle/>
          <a:p>
            <a:r>
              <a:rPr lang="es-ES"/>
              <a:t>Haga clic para modificar el estilo de título del patrón</a:t>
            </a:r>
            <a:endParaRPr lang="es-GT"/>
          </a:p>
        </p:txBody>
      </p:sp>
      <p:sp>
        <p:nvSpPr>
          <p:cNvPr id="3" name="Marcador de texto vertical 2">
            <a:extLst>
              <a:ext uri="{FF2B5EF4-FFF2-40B4-BE49-F238E27FC236}">
                <a16:creationId xmlns:a16="http://schemas.microsoft.com/office/drawing/2014/main" id="{13C622FA-D76F-4479-86CC-16D09659DE47}"/>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GT"/>
          </a:p>
        </p:txBody>
      </p:sp>
      <p:sp>
        <p:nvSpPr>
          <p:cNvPr id="4" name="Marcador de fecha 3">
            <a:extLst>
              <a:ext uri="{FF2B5EF4-FFF2-40B4-BE49-F238E27FC236}">
                <a16:creationId xmlns:a16="http://schemas.microsoft.com/office/drawing/2014/main" id="{624E9613-CF81-4F2A-8D25-56E464D2AF4E}"/>
              </a:ext>
            </a:extLst>
          </p:cNvPr>
          <p:cNvSpPr>
            <a:spLocks noGrp="1"/>
          </p:cNvSpPr>
          <p:nvPr>
            <p:ph type="dt" sz="half" idx="10"/>
          </p:nvPr>
        </p:nvSpPr>
        <p:spPr/>
        <p:txBody>
          <a:bodyPr/>
          <a:lstStyle/>
          <a:p>
            <a:fld id="{C74EA8B2-A77E-4F32-BCDF-2F6A6B583195}" type="datetimeFigureOut">
              <a:rPr lang="es-GT" smtClean="0"/>
              <a:t>25/08/21</a:t>
            </a:fld>
            <a:endParaRPr lang="es-GT"/>
          </a:p>
        </p:txBody>
      </p:sp>
      <p:sp>
        <p:nvSpPr>
          <p:cNvPr id="5" name="Marcador de pie de página 4">
            <a:extLst>
              <a:ext uri="{FF2B5EF4-FFF2-40B4-BE49-F238E27FC236}">
                <a16:creationId xmlns:a16="http://schemas.microsoft.com/office/drawing/2014/main" id="{EF3ECB81-4438-4256-9D4E-D3578A22098B}"/>
              </a:ext>
            </a:extLst>
          </p:cNvPr>
          <p:cNvSpPr>
            <a:spLocks noGrp="1"/>
          </p:cNvSpPr>
          <p:nvPr>
            <p:ph type="ftr" sz="quarter" idx="11"/>
          </p:nvPr>
        </p:nvSpPr>
        <p:spPr/>
        <p:txBody>
          <a:bodyPr/>
          <a:lstStyle/>
          <a:p>
            <a:endParaRPr lang="es-GT"/>
          </a:p>
        </p:txBody>
      </p:sp>
      <p:sp>
        <p:nvSpPr>
          <p:cNvPr id="6" name="Marcador de número de diapositiva 5">
            <a:extLst>
              <a:ext uri="{FF2B5EF4-FFF2-40B4-BE49-F238E27FC236}">
                <a16:creationId xmlns:a16="http://schemas.microsoft.com/office/drawing/2014/main" id="{FA2BF32D-EFC6-4536-91FC-16D6E9E70225}"/>
              </a:ext>
            </a:extLst>
          </p:cNvPr>
          <p:cNvSpPr>
            <a:spLocks noGrp="1"/>
          </p:cNvSpPr>
          <p:nvPr>
            <p:ph type="sldNum" sz="quarter" idx="12"/>
          </p:nvPr>
        </p:nvSpPr>
        <p:spPr/>
        <p:txBody>
          <a:bodyPr/>
          <a:lstStyle/>
          <a:p>
            <a:fld id="{5FBDD7CB-53A7-4829-941C-8DAA4D563E41}" type="slidenum">
              <a:rPr lang="es-GT" smtClean="0"/>
              <a:t>‹Nº›</a:t>
            </a:fld>
            <a:endParaRPr lang="es-GT"/>
          </a:p>
        </p:txBody>
      </p:sp>
    </p:spTree>
    <p:extLst>
      <p:ext uri="{BB962C8B-B14F-4D97-AF65-F5344CB8AC3E}">
        <p14:creationId xmlns:p14="http://schemas.microsoft.com/office/powerpoint/2010/main" val="23312561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788BE378-D41D-4106-946D-A960C5D488B1}"/>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GT"/>
          </a:p>
        </p:txBody>
      </p:sp>
      <p:sp>
        <p:nvSpPr>
          <p:cNvPr id="3" name="Marcador de texto vertical 2">
            <a:extLst>
              <a:ext uri="{FF2B5EF4-FFF2-40B4-BE49-F238E27FC236}">
                <a16:creationId xmlns:a16="http://schemas.microsoft.com/office/drawing/2014/main" id="{35FFAB1F-EE34-431A-BBB6-1BF03E22135D}"/>
              </a:ext>
            </a:extLst>
          </p:cNvPr>
          <p:cNvSpPr>
            <a:spLocks noGrp="1"/>
          </p:cNvSpPr>
          <p:nvPr>
            <p:ph type="body" orient="vert" idx="1"/>
          </p:nvPr>
        </p:nvSpPr>
        <p:spPr>
          <a:xfrm>
            <a:off x="838200" y="365125"/>
            <a:ext cx="7734300"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GT"/>
          </a:p>
        </p:txBody>
      </p:sp>
      <p:sp>
        <p:nvSpPr>
          <p:cNvPr id="4" name="Marcador de fecha 3">
            <a:extLst>
              <a:ext uri="{FF2B5EF4-FFF2-40B4-BE49-F238E27FC236}">
                <a16:creationId xmlns:a16="http://schemas.microsoft.com/office/drawing/2014/main" id="{66AA16E5-C620-44EC-BD54-6FF07C533FEF}"/>
              </a:ext>
            </a:extLst>
          </p:cNvPr>
          <p:cNvSpPr>
            <a:spLocks noGrp="1"/>
          </p:cNvSpPr>
          <p:nvPr>
            <p:ph type="dt" sz="half" idx="10"/>
          </p:nvPr>
        </p:nvSpPr>
        <p:spPr/>
        <p:txBody>
          <a:bodyPr/>
          <a:lstStyle/>
          <a:p>
            <a:fld id="{C74EA8B2-A77E-4F32-BCDF-2F6A6B583195}" type="datetimeFigureOut">
              <a:rPr lang="es-GT" smtClean="0"/>
              <a:t>25/08/21</a:t>
            </a:fld>
            <a:endParaRPr lang="es-GT"/>
          </a:p>
        </p:txBody>
      </p:sp>
      <p:sp>
        <p:nvSpPr>
          <p:cNvPr id="5" name="Marcador de pie de página 4">
            <a:extLst>
              <a:ext uri="{FF2B5EF4-FFF2-40B4-BE49-F238E27FC236}">
                <a16:creationId xmlns:a16="http://schemas.microsoft.com/office/drawing/2014/main" id="{12317EA8-8B1A-4A55-B68C-700C95F61716}"/>
              </a:ext>
            </a:extLst>
          </p:cNvPr>
          <p:cNvSpPr>
            <a:spLocks noGrp="1"/>
          </p:cNvSpPr>
          <p:nvPr>
            <p:ph type="ftr" sz="quarter" idx="11"/>
          </p:nvPr>
        </p:nvSpPr>
        <p:spPr/>
        <p:txBody>
          <a:bodyPr/>
          <a:lstStyle/>
          <a:p>
            <a:endParaRPr lang="es-GT"/>
          </a:p>
        </p:txBody>
      </p:sp>
      <p:sp>
        <p:nvSpPr>
          <p:cNvPr id="6" name="Marcador de número de diapositiva 5">
            <a:extLst>
              <a:ext uri="{FF2B5EF4-FFF2-40B4-BE49-F238E27FC236}">
                <a16:creationId xmlns:a16="http://schemas.microsoft.com/office/drawing/2014/main" id="{D510ABCB-E010-4E09-AEB8-38236723E458}"/>
              </a:ext>
            </a:extLst>
          </p:cNvPr>
          <p:cNvSpPr>
            <a:spLocks noGrp="1"/>
          </p:cNvSpPr>
          <p:nvPr>
            <p:ph type="sldNum" sz="quarter" idx="12"/>
          </p:nvPr>
        </p:nvSpPr>
        <p:spPr/>
        <p:txBody>
          <a:bodyPr/>
          <a:lstStyle/>
          <a:p>
            <a:fld id="{5FBDD7CB-53A7-4829-941C-8DAA4D563E41}" type="slidenum">
              <a:rPr lang="es-GT" smtClean="0"/>
              <a:t>‹Nº›</a:t>
            </a:fld>
            <a:endParaRPr lang="es-GT"/>
          </a:p>
        </p:txBody>
      </p:sp>
    </p:spTree>
    <p:extLst>
      <p:ext uri="{BB962C8B-B14F-4D97-AF65-F5344CB8AC3E}">
        <p14:creationId xmlns:p14="http://schemas.microsoft.com/office/powerpoint/2010/main" val="42017932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5733C36-330B-410A-833C-76142BD8141F}"/>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GT"/>
          </a:p>
        </p:txBody>
      </p:sp>
      <p:sp>
        <p:nvSpPr>
          <p:cNvPr id="3" name="Marcador de texto 2">
            <a:extLst>
              <a:ext uri="{FF2B5EF4-FFF2-40B4-BE49-F238E27FC236}">
                <a16:creationId xmlns:a16="http://schemas.microsoft.com/office/drawing/2014/main" id="{17200F0F-2D2A-49BB-AFE2-87734E7631B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FF09EB70-71F6-46AC-9A6F-546E14C4C784}"/>
              </a:ext>
            </a:extLst>
          </p:cNvPr>
          <p:cNvSpPr>
            <a:spLocks noGrp="1"/>
          </p:cNvSpPr>
          <p:nvPr>
            <p:ph type="dt" sz="half" idx="10"/>
          </p:nvPr>
        </p:nvSpPr>
        <p:spPr/>
        <p:txBody>
          <a:bodyPr/>
          <a:lstStyle/>
          <a:p>
            <a:fld id="{C74EA8B2-A77E-4F32-BCDF-2F6A6B583195}" type="datetimeFigureOut">
              <a:rPr lang="es-GT" smtClean="0"/>
              <a:t>25/08/21</a:t>
            </a:fld>
            <a:endParaRPr lang="es-GT"/>
          </a:p>
        </p:txBody>
      </p:sp>
      <p:sp>
        <p:nvSpPr>
          <p:cNvPr id="5" name="Marcador de pie de página 4">
            <a:extLst>
              <a:ext uri="{FF2B5EF4-FFF2-40B4-BE49-F238E27FC236}">
                <a16:creationId xmlns:a16="http://schemas.microsoft.com/office/drawing/2014/main" id="{052DC111-FF5C-4885-84F2-8438E049AB11}"/>
              </a:ext>
            </a:extLst>
          </p:cNvPr>
          <p:cNvSpPr>
            <a:spLocks noGrp="1"/>
          </p:cNvSpPr>
          <p:nvPr>
            <p:ph type="ftr" sz="quarter" idx="11"/>
          </p:nvPr>
        </p:nvSpPr>
        <p:spPr/>
        <p:txBody>
          <a:bodyPr/>
          <a:lstStyle/>
          <a:p>
            <a:endParaRPr lang="es-GT"/>
          </a:p>
        </p:txBody>
      </p:sp>
      <p:sp>
        <p:nvSpPr>
          <p:cNvPr id="6" name="Marcador de número de diapositiva 5">
            <a:extLst>
              <a:ext uri="{FF2B5EF4-FFF2-40B4-BE49-F238E27FC236}">
                <a16:creationId xmlns:a16="http://schemas.microsoft.com/office/drawing/2014/main" id="{68F36B32-1CD8-4198-B946-1D88734AFFB5}"/>
              </a:ext>
            </a:extLst>
          </p:cNvPr>
          <p:cNvSpPr>
            <a:spLocks noGrp="1"/>
          </p:cNvSpPr>
          <p:nvPr>
            <p:ph type="sldNum" sz="quarter" idx="12"/>
          </p:nvPr>
        </p:nvSpPr>
        <p:spPr/>
        <p:txBody>
          <a:bodyPr/>
          <a:lstStyle/>
          <a:p>
            <a:fld id="{5FBDD7CB-53A7-4829-941C-8DAA4D563E41}" type="slidenum">
              <a:rPr lang="es-GT" smtClean="0"/>
              <a:t>‹Nº›</a:t>
            </a:fld>
            <a:endParaRPr lang="es-GT"/>
          </a:p>
        </p:txBody>
      </p:sp>
    </p:spTree>
    <p:extLst>
      <p:ext uri="{BB962C8B-B14F-4D97-AF65-F5344CB8AC3E}">
        <p14:creationId xmlns:p14="http://schemas.microsoft.com/office/powerpoint/2010/main" val="42529145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F8D69EC-B990-49EA-A10B-97A5447D0471}"/>
              </a:ext>
            </a:extLst>
          </p:cNvPr>
          <p:cNvSpPr>
            <a:spLocks noGrp="1"/>
          </p:cNvSpPr>
          <p:nvPr>
            <p:ph type="title"/>
          </p:nvPr>
        </p:nvSpPr>
        <p:spPr/>
        <p:txBody>
          <a:bodyPr/>
          <a:lstStyle/>
          <a:p>
            <a:r>
              <a:rPr lang="es-ES"/>
              <a:t>Haga clic para modificar el estilo de título del patrón</a:t>
            </a:r>
            <a:endParaRPr lang="es-GT"/>
          </a:p>
        </p:txBody>
      </p:sp>
      <p:sp>
        <p:nvSpPr>
          <p:cNvPr id="3" name="Marcador de contenido 2">
            <a:extLst>
              <a:ext uri="{FF2B5EF4-FFF2-40B4-BE49-F238E27FC236}">
                <a16:creationId xmlns:a16="http://schemas.microsoft.com/office/drawing/2014/main" id="{2E4C2CA0-BF70-4043-BE04-157C991D4DB0}"/>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GT"/>
          </a:p>
        </p:txBody>
      </p:sp>
      <p:sp>
        <p:nvSpPr>
          <p:cNvPr id="4" name="Marcador de contenido 3">
            <a:extLst>
              <a:ext uri="{FF2B5EF4-FFF2-40B4-BE49-F238E27FC236}">
                <a16:creationId xmlns:a16="http://schemas.microsoft.com/office/drawing/2014/main" id="{F76BDCF4-354F-47FE-95D8-B761672D37E8}"/>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GT"/>
          </a:p>
        </p:txBody>
      </p:sp>
      <p:sp>
        <p:nvSpPr>
          <p:cNvPr id="5" name="Marcador de fecha 4">
            <a:extLst>
              <a:ext uri="{FF2B5EF4-FFF2-40B4-BE49-F238E27FC236}">
                <a16:creationId xmlns:a16="http://schemas.microsoft.com/office/drawing/2014/main" id="{DD49E84C-5104-419B-862C-50B9C59747BC}"/>
              </a:ext>
            </a:extLst>
          </p:cNvPr>
          <p:cNvSpPr>
            <a:spLocks noGrp="1"/>
          </p:cNvSpPr>
          <p:nvPr>
            <p:ph type="dt" sz="half" idx="10"/>
          </p:nvPr>
        </p:nvSpPr>
        <p:spPr/>
        <p:txBody>
          <a:bodyPr/>
          <a:lstStyle/>
          <a:p>
            <a:fld id="{C74EA8B2-A77E-4F32-BCDF-2F6A6B583195}" type="datetimeFigureOut">
              <a:rPr lang="es-GT" smtClean="0"/>
              <a:t>25/08/21</a:t>
            </a:fld>
            <a:endParaRPr lang="es-GT"/>
          </a:p>
        </p:txBody>
      </p:sp>
      <p:sp>
        <p:nvSpPr>
          <p:cNvPr id="6" name="Marcador de pie de página 5">
            <a:extLst>
              <a:ext uri="{FF2B5EF4-FFF2-40B4-BE49-F238E27FC236}">
                <a16:creationId xmlns:a16="http://schemas.microsoft.com/office/drawing/2014/main" id="{35440B55-2A45-4E54-9A13-F71DC5377E72}"/>
              </a:ext>
            </a:extLst>
          </p:cNvPr>
          <p:cNvSpPr>
            <a:spLocks noGrp="1"/>
          </p:cNvSpPr>
          <p:nvPr>
            <p:ph type="ftr" sz="quarter" idx="11"/>
          </p:nvPr>
        </p:nvSpPr>
        <p:spPr/>
        <p:txBody>
          <a:bodyPr/>
          <a:lstStyle/>
          <a:p>
            <a:endParaRPr lang="es-GT"/>
          </a:p>
        </p:txBody>
      </p:sp>
      <p:sp>
        <p:nvSpPr>
          <p:cNvPr id="7" name="Marcador de número de diapositiva 6">
            <a:extLst>
              <a:ext uri="{FF2B5EF4-FFF2-40B4-BE49-F238E27FC236}">
                <a16:creationId xmlns:a16="http://schemas.microsoft.com/office/drawing/2014/main" id="{0CF8DAE8-DA8E-4E92-A8B5-84A5BDA0ADD1}"/>
              </a:ext>
            </a:extLst>
          </p:cNvPr>
          <p:cNvSpPr>
            <a:spLocks noGrp="1"/>
          </p:cNvSpPr>
          <p:nvPr>
            <p:ph type="sldNum" sz="quarter" idx="12"/>
          </p:nvPr>
        </p:nvSpPr>
        <p:spPr/>
        <p:txBody>
          <a:bodyPr/>
          <a:lstStyle/>
          <a:p>
            <a:fld id="{5FBDD7CB-53A7-4829-941C-8DAA4D563E41}" type="slidenum">
              <a:rPr lang="es-GT" smtClean="0"/>
              <a:t>‹Nº›</a:t>
            </a:fld>
            <a:endParaRPr lang="es-GT"/>
          </a:p>
        </p:txBody>
      </p:sp>
    </p:spTree>
    <p:extLst>
      <p:ext uri="{BB962C8B-B14F-4D97-AF65-F5344CB8AC3E}">
        <p14:creationId xmlns:p14="http://schemas.microsoft.com/office/powerpoint/2010/main" val="28937376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629907A-C0BC-46E0-8843-D0D779E928B6}"/>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s-GT"/>
          </a:p>
        </p:txBody>
      </p:sp>
      <p:sp>
        <p:nvSpPr>
          <p:cNvPr id="3" name="Marcador de texto 2">
            <a:extLst>
              <a:ext uri="{FF2B5EF4-FFF2-40B4-BE49-F238E27FC236}">
                <a16:creationId xmlns:a16="http://schemas.microsoft.com/office/drawing/2014/main" id="{45B96CAC-6410-475F-AF71-4E921F2F68D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01D2E3E1-CD26-4766-8AED-E57BDC736939}"/>
              </a:ext>
            </a:extLst>
          </p:cNvPr>
          <p:cNvSpPr>
            <a:spLocks noGrp="1"/>
          </p:cNvSpPr>
          <p:nvPr>
            <p:ph sz="half" idx="2"/>
          </p:nvPr>
        </p:nvSpPr>
        <p:spPr>
          <a:xfrm>
            <a:off x="839788"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GT"/>
          </a:p>
        </p:txBody>
      </p:sp>
      <p:sp>
        <p:nvSpPr>
          <p:cNvPr id="5" name="Marcador de texto 4">
            <a:extLst>
              <a:ext uri="{FF2B5EF4-FFF2-40B4-BE49-F238E27FC236}">
                <a16:creationId xmlns:a16="http://schemas.microsoft.com/office/drawing/2014/main" id="{C21A4CAC-DAFE-4417-9427-C1D229192F4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C9E3FDE9-CF9B-4B3E-BAC9-15E13974D77F}"/>
              </a:ext>
            </a:extLst>
          </p:cNvPr>
          <p:cNvSpPr>
            <a:spLocks noGrp="1"/>
          </p:cNvSpPr>
          <p:nvPr>
            <p:ph sz="quarter" idx="4"/>
          </p:nvPr>
        </p:nvSpPr>
        <p:spPr>
          <a:xfrm>
            <a:off x="6172200"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GT"/>
          </a:p>
        </p:txBody>
      </p:sp>
      <p:sp>
        <p:nvSpPr>
          <p:cNvPr id="7" name="Marcador de fecha 6">
            <a:extLst>
              <a:ext uri="{FF2B5EF4-FFF2-40B4-BE49-F238E27FC236}">
                <a16:creationId xmlns:a16="http://schemas.microsoft.com/office/drawing/2014/main" id="{D8DE5B55-AB5C-4B1D-8A70-60A23D329E55}"/>
              </a:ext>
            </a:extLst>
          </p:cNvPr>
          <p:cNvSpPr>
            <a:spLocks noGrp="1"/>
          </p:cNvSpPr>
          <p:nvPr>
            <p:ph type="dt" sz="half" idx="10"/>
          </p:nvPr>
        </p:nvSpPr>
        <p:spPr/>
        <p:txBody>
          <a:bodyPr/>
          <a:lstStyle/>
          <a:p>
            <a:fld id="{C74EA8B2-A77E-4F32-BCDF-2F6A6B583195}" type="datetimeFigureOut">
              <a:rPr lang="es-GT" smtClean="0"/>
              <a:t>25/08/21</a:t>
            </a:fld>
            <a:endParaRPr lang="es-GT"/>
          </a:p>
        </p:txBody>
      </p:sp>
      <p:sp>
        <p:nvSpPr>
          <p:cNvPr id="8" name="Marcador de pie de página 7">
            <a:extLst>
              <a:ext uri="{FF2B5EF4-FFF2-40B4-BE49-F238E27FC236}">
                <a16:creationId xmlns:a16="http://schemas.microsoft.com/office/drawing/2014/main" id="{D05B36D6-7F63-4858-90FF-87A48311316E}"/>
              </a:ext>
            </a:extLst>
          </p:cNvPr>
          <p:cNvSpPr>
            <a:spLocks noGrp="1"/>
          </p:cNvSpPr>
          <p:nvPr>
            <p:ph type="ftr" sz="quarter" idx="11"/>
          </p:nvPr>
        </p:nvSpPr>
        <p:spPr/>
        <p:txBody>
          <a:bodyPr/>
          <a:lstStyle/>
          <a:p>
            <a:endParaRPr lang="es-GT"/>
          </a:p>
        </p:txBody>
      </p:sp>
      <p:sp>
        <p:nvSpPr>
          <p:cNvPr id="9" name="Marcador de número de diapositiva 8">
            <a:extLst>
              <a:ext uri="{FF2B5EF4-FFF2-40B4-BE49-F238E27FC236}">
                <a16:creationId xmlns:a16="http://schemas.microsoft.com/office/drawing/2014/main" id="{0827B359-96A7-4ECC-9507-5472D874DA92}"/>
              </a:ext>
            </a:extLst>
          </p:cNvPr>
          <p:cNvSpPr>
            <a:spLocks noGrp="1"/>
          </p:cNvSpPr>
          <p:nvPr>
            <p:ph type="sldNum" sz="quarter" idx="12"/>
          </p:nvPr>
        </p:nvSpPr>
        <p:spPr/>
        <p:txBody>
          <a:bodyPr/>
          <a:lstStyle/>
          <a:p>
            <a:fld id="{5FBDD7CB-53A7-4829-941C-8DAA4D563E41}" type="slidenum">
              <a:rPr lang="es-GT" smtClean="0"/>
              <a:t>‹Nº›</a:t>
            </a:fld>
            <a:endParaRPr lang="es-GT"/>
          </a:p>
        </p:txBody>
      </p:sp>
    </p:spTree>
    <p:extLst>
      <p:ext uri="{BB962C8B-B14F-4D97-AF65-F5344CB8AC3E}">
        <p14:creationId xmlns:p14="http://schemas.microsoft.com/office/powerpoint/2010/main" val="41774078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475ED3B-11EE-404D-B2B0-8FE3EC04784F}"/>
              </a:ext>
            </a:extLst>
          </p:cNvPr>
          <p:cNvSpPr>
            <a:spLocks noGrp="1"/>
          </p:cNvSpPr>
          <p:nvPr>
            <p:ph type="title"/>
          </p:nvPr>
        </p:nvSpPr>
        <p:spPr/>
        <p:txBody>
          <a:bodyPr/>
          <a:lstStyle/>
          <a:p>
            <a:r>
              <a:rPr lang="es-ES"/>
              <a:t>Haga clic para modificar el estilo de título del patrón</a:t>
            </a:r>
            <a:endParaRPr lang="es-GT"/>
          </a:p>
        </p:txBody>
      </p:sp>
      <p:sp>
        <p:nvSpPr>
          <p:cNvPr id="3" name="Marcador de fecha 2">
            <a:extLst>
              <a:ext uri="{FF2B5EF4-FFF2-40B4-BE49-F238E27FC236}">
                <a16:creationId xmlns:a16="http://schemas.microsoft.com/office/drawing/2014/main" id="{E4DAA34F-6E35-4C2F-A856-33EC9C184B1D}"/>
              </a:ext>
            </a:extLst>
          </p:cNvPr>
          <p:cNvSpPr>
            <a:spLocks noGrp="1"/>
          </p:cNvSpPr>
          <p:nvPr>
            <p:ph type="dt" sz="half" idx="10"/>
          </p:nvPr>
        </p:nvSpPr>
        <p:spPr/>
        <p:txBody>
          <a:bodyPr/>
          <a:lstStyle/>
          <a:p>
            <a:fld id="{C74EA8B2-A77E-4F32-BCDF-2F6A6B583195}" type="datetimeFigureOut">
              <a:rPr lang="es-GT" smtClean="0"/>
              <a:t>25/08/21</a:t>
            </a:fld>
            <a:endParaRPr lang="es-GT"/>
          </a:p>
        </p:txBody>
      </p:sp>
      <p:sp>
        <p:nvSpPr>
          <p:cNvPr id="4" name="Marcador de pie de página 3">
            <a:extLst>
              <a:ext uri="{FF2B5EF4-FFF2-40B4-BE49-F238E27FC236}">
                <a16:creationId xmlns:a16="http://schemas.microsoft.com/office/drawing/2014/main" id="{E6CEA174-DDDC-4BA0-8E93-0AFC3D3F9DDA}"/>
              </a:ext>
            </a:extLst>
          </p:cNvPr>
          <p:cNvSpPr>
            <a:spLocks noGrp="1"/>
          </p:cNvSpPr>
          <p:nvPr>
            <p:ph type="ftr" sz="quarter" idx="11"/>
          </p:nvPr>
        </p:nvSpPr>
        <p:spPr/>
        <p:txBody>
          <a:bodyPr/>
          <a:lstStyle/>
          <a:p>
            <a:endParaRPr lang="es-GT"/>
          </a:p>
        </p:txBody>
      </p:sp>
      <p:sp>
        <p:nvSpPr>
          <p:cNvPr id="5" name="Marcador de número de diapositiva 4">
            <a:extLst>
              <a:ext uri="{FF2B5EF4-FFF2-40B4-BE49-F238E27FC236}">
                <a16:creationId xmlns:a16="http://schemas.microsoft.com/office/drawing/2014/main" id="{61B5C84A-5401-45EC-8D86-AA50F0052144}"/>
              </a:ext>
            </a:extLst>
          </p:cNvPr>
          <p:cNvSpPr>
            <a:spLocks noGrp="1"/>
          </p:cNvSpPr>
          <p:nvPr>
            <p:ph type="sldNum" sz="quarter" idx="12"/>
          </p:nvPr>
        </p:nvSpPr>
        <p:spPr/>
        <p:txBody>
          <a:bodyPr/>
          <a:lstStyle/>
          <a:p>
            <a:fld id="{5FBDD7CB-53A7-4829-941C-8DAA4D563E41}" type="slidenum">
              <a:rPr lang="es-GT" smtClean="0"/>
              <a:t>‹Nº›</a:t>
            </a:fld>
            <a:endParaRPr lang="es-GT"/>
          </a:p>
        </p:txBody>
      </p:sp>
    </p:spTree>
    <p:extLst>
      <p:ext uri="{BB962C8B-B14F-4D97-AF65-F5344CB8AC3E}">
        <p14:creationId xmlns:p14="http://schemas.microsoft.com/office/powerpoint/2010/main" val="12513957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F86A1EE8-5698-490F-A84F-646E41DEDB08}"/>
              </a:ext>
            </a:extLst>
          </p:cNvPr>
          <p:cNvSpPr>
            <a:spLocks noGrp="1"/>
          </p:cNvSpPr>
          <p:nvPr>
            <p:ph type="dt" sz="half" idx="10"/>
          </p:nvPr>
        </p:nvSpPr>
        <p:spPr/>
        <p:txBody>
          <a:bodyPr/>
          <a:lstStyle/>
          <a:p>
            <a:fld id="{C74EA8B2-A77E-4F32-BCDF-2F6A6B583195}" type="datetimeFigureOut">
              <a:rPr lang="es-GT" smtClean="0"/>
              <a:t>25/08/21</a:t>
            </a:fld>
            <a:endParaRPr lang="es-GT"/>
          </a:p>
        </p:txBody>
      </p:sp>
      <p:sp>
        <p:nvSpPr>
          <p:cNvPr id="3" name="Marcador de pie de página 2">
            <a:extLst>
              <a:ext uri="{FF2B5EF4-FFF2-40B4-BE49-F238E27FC236}">
                <a16:creationId xmlns:a16="http://schemas.microsoft.com/office/drawing/2014/main" id="{51E6EB50-87E9-400E-B471-B2230A90C5AC}"/>
              </a:ext>
            </a:extLst>
          </p:cNvPr>
          <p:cNvSpPr>
            <a:spLocks noGrp="1"/>
          </p:cNvSpPr>
          <p:nvPr>
            <p:ph type="ftr" sz="quarter" idx="11"/>
          </p:nvPr>
        </p:nvSpPr>
        <p:spPr/>
        <p:txBody>
          <a:bodyPr/>
          <a:lstStyle/>
          <a:p>
            <a:endParaRPr lang="es-GT"/>
          </a:p>
        </p:txBody>
      </p:sp>
      <p:sp>
        <p:nvSpPr>
          <p:cNvPr id="4" name="Marcador de número de diapositiva 3">
            <a:extLst>
              <a:ext uri="{FF2B5EF4-FFF2-40B4-BE49-F238E27FC236}">
                <a16:creationId xmlns:a16="http://schemas.microsoft.com/office/drawing/2014/main" id="{68960A7E-EE4F-4B91-81EA-56528FAA036D}"/>
              </a:ext>
            </a:extLst>
          </p:cNvPr>
          <p:cNvSpPr>
            <a:spLocks noGrp="1"/>
          </p:cNvSpPr>
          <p:nvPr>
            <p:ph type="sldNum" sz="quarter" idx="12"/>
          </p:nvPr>
        </p:nvSpPr>
        <p:spPr/>
        <p:txBody>
          <a:bodyPr/>
          <a:lstStyle/>
          <a:p>
            <a:fld id="{5FBDD7CB-53A7-4829-941C-8DAA4D563E41}" type="slidenum">
              <a:rPr lang="es-GT" smtClean="0"/>
              <a:t>‹Nº›</a:t>
            </a:fld>
            <a:endParaRPr lang="es-GT"/>
          </a:p>
        </p:txBody>
      </p:sp>
    </p:spTree>
    <p:extLst>
      <p:ext uri="{BB962C8B-B14F-4D97-AF65-F5344CB8AC3E}">
        <p14:creationId xmlns:p14="http://schemas.microsoft.com/office/powerpoint/2010/main" val="6215888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0EAC0D6-7621-814F-9E0B-857F1399D5D7}"/>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s-MX"/>
              <a:t>Haz clic para modificar el estilo de título del patrón</a:t>
            </a:r>
            <a:endParaRPr lang="es-GT"/>
          </a:p>
        </p:txBody>
      </p:sp>
      <p:sp>
        <p:nvSpPr>
          <p:cNvPr id="3" name="Subtítulo 2">
            <a:extLst>
              <a:ext uri="{FF2B5EF4-FFF2-40B4-BE49-F238E27FC236}">
                <a16:creationId xmlns:a16="http://schemas.microsoft.com/office/drawing/2014/main" id="{8B5B7402-0547-AF4F-A879-BF98852EE1B0}"/>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a:t>Haz clic para editar el estilo de subtítulo del patrón</a:t>
            </a:r>
            <a:endParaRPr lang="es-GT"/>
          </a:p>
        </p:txBody>
      </p:sp>
    </p:spTree>
    <p:extLst>
      <p:ext uri="{BB962C8B-B14F-4D97-AF65-F5344CB8AC3E}">
        <p14:creationId xmlns:p14="http://schemas.microsoft.com/office/powerpoint/2010/main" val="18476290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1_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98F3C87-033E-D64E-8E67-D6E4A5F16FF4}"/>
              </a:ext>
            </a:extLst>
          </p:cNvPr>
          <p:cNvSpPr>
            <a:spLocks noGrp="1"/>
          </p:cNvSpPr>
          <p:nvPr>
            <p:ph type="title"/>
          </p:nvPr>
        </p:nvSpPr>
        <p:spPr>
          <a:xfrm>
            <a:off x="838200" y="365125"/>
            <a:ext cx="10515600" cy="1325563"/>
          </a:xfrm>
          <a:prstGeom prst="rect">
            <a:avLst/>
          </a:prstGeom>
        </p:spPr>
        <p:txBody>
          <a:bodyPr/>
          <a:lstStyle/>
          <a:p>
            <a:r>
              <a:rPr lang="es-MX"/>
              <a:t>Haz clic para modificar el estilo de título del patrón</a:t>
            </a:r>
            <a:endParaRPr lang="es-GT"/>
          </a:p>
        </p:txBody>
      </p:sp>
      <p:sp>
        <p:nvSpPr>
          <p:cNvPr id="3" name="Marcador de contenido 2">
            <a:extLst>
              <a:ext uri="{FF2B5EF4-FFF2-40B4-BE49-F238E27FC236}">
                <a16:creationId xmlns:a16="http://schemas.microsoft.com/office/drawing/2014/main" id="{996E0291-6642-C743-BE27-230483DFDA34}"/>
              </a:ext>
            </a:extLst>
          </p:cNvPr>
          <p:cNvSpPr>
            <a:spLocks noGrp="1"/>
          </p:cNvSpPr>
          <p:nvPr>
            <p:ph idx="1"/>
          </p:nvPr>
        </p:nvSpPr>
        <p:spPr>
          <a:xfrm>
            <a:off x="838200" y="1825625"/>
            <a:ext cx="10515600" cy="4351338"/>
          </a:xfrm>
          <a:prstGeom prst="rect">
            <a:avLst/>
          </a:prstGeom>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GT"/>
          </a:p>
        </p:txBody>
      </p:sp>
    </p:spTree>
    <p:extLst>
      <p:ext uri="{BB962C8B-B14F-4D97-AF65-F5344CB8AC3E}">
        <p14:creationId xmlns:p14="http://schemas.microsoft.com/office/powerpoint/2010/main" val="21754291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ángulo 6">
            <a:extLst>
              <a:ext uri="{FF2B5EF4-FFF2-40B4-BE49-F238E27FC236}">
                <a16:creationId xmlns:a16="http://schemas.microsoft.com/office/drawing/2014/main" id="{25365E53-749D-ED48-9C51-783DCCE05A9B}"/>
              </a:ext>
            </a:extLst>
          </p:cNvPr>
          <p:cNvSpPr/>
          <p:nvPr userDrawn="1"/>
        </p:nvSpPr>
        <p:spPr>
          <a:xfrm>
            <a:off x="0" y="-1"/>
            <a:ext cx="8036312" cy="1003610"/>
          </a:xfrm>
          <a:prstGeom prst="rect">
            <a:avLst/>
          </a:prstGeom>
          <a:solidFill>
            <a:srgbClr val="0D396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GT" dirty="0"/>
          </a:p>
        </p:txBody>
      </p:sp>
      <p:pic>
        <p:nvPicPr>
          <p:cNvPr id="8" name="Imagen 7">
            <a:extLst>
              <a:ext uri="{FF2B5EF4-FFF2-40B4-BE49-F238E27FC236}">
                <a16:creationId xmlns:a16="http://schemas.microsoft.com/office/drawing/2014/main" id="{DD36802F-C51D-0F43-94EC-85A23D9E0974}"/>
              </a:ext>
            </a:extLst>
          </p:cNvPr>
          <p:cNvPicPr>
            <a:picLocks noChangeAspect="1"/>
          </p:cNvPicPr>
          <p:nvPr userDrawn="1"/>
        </p:nvPicPr>
        <p:blipFill>
          <a:blip r:embed="rId25"/>
          <a:stretch>
            <a:fillRect/>
          </a:stretch>
        </p:blipFill>
        <p:spPr>
          <a:xfrm>
            <a:off x="8275095" y="180771"/>
            <a:ext cx="3628832" cy="631417"/>
          </a:xfrm>
          <a:prstGeom prst="rect">
            <a:avLst/>
          </a:prstGeom>
        </p:spPr>
      </p:pic>
      <p:sp>
        <p:nvSpPr>
          <p:cNvPr id="2" name="Marcador de título 1">
            <a:extLst>
              <a:ext uri="{FF2B5EF4-FFF2-40B4-BE49-F238E27FC236}">
                <a16:creationId xmlns:a16="http://schemas.microsoft.com/office/drawing/2014/main" id="{CFBEC96A-2D37-4C15-BF98-1BB06BF5D080}"/>
              </a:ext>
            </a:extLst>
          </p:cNvPr>
          <p:cNvSpPr>
            <a:spLocks noGrp="1"/>
          </p:cNvSpPr>
          <p:nvPr>
            <p:ph type="title"/>
          </p:nvPr>
        </p:nvSpPr>
        <p:spPr>
          <a:xfrm>
            <a:off x="416472" y="271614"/>
            <a:ext cx="7244256" cy="818845"/>
          </a:xfrm>
          <a:prstGeom prst="rect">
            <a:avLst/>
          </a:prstGeom>
        </p:spPr>
        <p:txBody>
          <a:bodyPr vert="horz" lIns="91440" tIns="45720" rIns="91440" bIns="45720" rtlCol="0" anchor="ctr">
            <a:normAutofit/>
          </a:bodyPr>
          <a:lstStyle/>
          <a:p>
            <a:r>
              <a:rPr lang="es-ES" dirty="0"/>
              <a:t>Haga clic para modificar el estilo de título del patrón</a:t>
            </a:r>
            <a:endParaRPr lang="es-GT" dirty="0"/>
          </a:p>
        </p:txBody>
      </p:sp>
      <p:sp>
        <p:nvSpPr>
          <p:cNvPr id="3" name="Marcador de texto 2">
            <a:extLst>
              <a:ext uri="{FF2B5EF4-FFF2-40B4-BE49-F238E27FC236}">
                <a16:creationId xmlns:a16="http://schemas.microsoft.com/office/drawing/2014/main" id="{A87BEBA5-7CCB-4D52-9C3E-1A72AB006F1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GT"/>
          </a:p>
        </p:txBody>
      </p:sp>
      <p:sp>
        <p:nvSpPr>
          <p:cNvPr id="4" name="Marcador de fecha 3">
            <a:extLst>
              <a:ext uri="{FF2B5EF4-FFF2-40B4-BE49-F238E27FC236}">
                <a16:creationId xmlns:a16="http://schemas.microsoft.com/office/drawing/2014/main" id="{6F08F4E3-7BD7-4A6B-BD20-B4F80E9B50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4EA8B2-A77E-4F32-BCDF-2F6A6B583195}" type="datetimeFigureOut">
              <a:rPr lang="es-GT" smtClean="0"/>
              <a:t>25/08/21</a:t>
            </a:fld>
            <a:endParaRPr lang="es-GT"/>
          </a:p>
        </p:txBody>
      </p:sp>
      <p:sp>
        <p:nvSpPr>
          <p:cNvPr id="5" name="Marcador de pie de página 4">
            <a:extLst>
              <a:ext uri="{FF2B5EF4-FFF2-40B4-BE49-F238E27FC236}">
                <a16:creationId xmlns:a16="http://schemas.microsoft.com/office/drawing/2014/main" id="{1DE9ACFF-B025-45F6-BF45-C06C6F448A8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GT"/>
          </a:p>
        </p:txBody>
      </p:sp>
      <p:sp>
        <p:nvSpPr>
          <p:cNvPr id="6" name="Marcador de número de diapositiva 5">
            <a:extLst>
              <a:ext uri="{FF2B5EF4-FFF2-40B4-BE49-F238E27FC236}">
                <a16:creationId xmlns:a16="http://schemas.microsoft.com/office/drawing/2014/main" id="{8BA93E07-F21D-42C2-B79F-9A371B299DC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FBDD7CB-53A7-4829-941C-8DAA4D563E41}" type="slidenum">
              <a:rPr lang="es-GT" smtClean="0"/>
              <a:t>‹Nº›</a:t>
            </a:fld>
            <a:endParaRPr lang="es-GT"/>
          </a:p>
        </p:txBody>
      </p:sp>
    </p:spTree>
    <p:extLst>
      <p:ext uri="{BB962C8B-B14F-4D97-AF65-F5344CB8AC3E}">
        <p14:creationId xmlns:p14="http://schemas.microsoft.com/office/powerpoint/2010/main" val="408042505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60" r:id="rId8"/>
    <p:sldLayoutId id="2147483661" r:id="rId9"/>
    <p:sldLayoutId id="2147483662" r:id="rId10"/>
    <p:sldLayoutId id="2147483663" r:id="rId11"/>
    <p:sldLayoutId id="2147483664" r:id="rId12"/>
    <p:sldLayoutId id="2147483665" r:id="rId13"/>
    <p:sldLayoutId id="2147483666" r:id="rId14"/>
    <p:sldLayoutId id="2147483667" r:id="rId15"/>
    <p:sldLayoutId id="2147483668" r:id="rId16"/>
    <p:sldLayoutId id="2147483669" r:id="rId17"/>
    <p:sldLayoutId id="2147483670" r:id="rId18"/>
    <p:sldLayoutId id="2147483671" r:id="rId19"/>
    <p:sldLayoutId id="2147483656" r:id="rId20"/>
    <p:sldLayoutId id="2147483657" r:id="rId21"/>
    <p:sldLayoutId id="2147483658" r:id="rId22"/>
    <p:sldLayoutId id="2147483659" r:id="rId23"/>
  </p:sldLayoutIdLst>
  <p:txStyles>
    <p:titleStyle>
      <a:lvl1pPr algn="l" defTabSz="914400" rtl="0" eaLnBrk="1" latinLnBrk="0" hangingPunct="1">
        <a:lnSpc>
          <a:spcPct val="90000"/>
        </a:lnSpc>
        <a:spcBef>
          <a:spcPct val="0"/>
        </a:spcBef>
        <a:buNone/>
        <a:defRPr sz="3600" b="1" kern="1200">
          <a:solidFill>
            <a:schemeClr val="bg1"/>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G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tags" Target="../tags/tag18.xml"/><Relationship Id="rId7" Type="http://schemas.openxmlformats.org/officeDocument/2006/relationships/image" Target="../media/image4.emf"/><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8.xml"/><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chart" Target="../charts/chart7.xml"/><Relationship Id="rId3" Type="http://schemas.openxmlformats.org/officeDocument/2006/relationships/tags" Target="../tags/tag20.xml"/><Relationship Id="rId7" Type="http://schemas.openxmlformats.org/officeDocument/2006/relationships/image" Target="../media/image4.emf"/><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9.xml"/><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tags" Target="../tags/tag22.xml"/><Relationship Id="rId7" Type="http://schemas.openxmlformats.org/officeDocument/2006/relationships/image" Target="../media/image4.emf"/><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oleObject" Target="../embeddings/oleObject11.bin"/><Relationship Id="rId11" Type="http://schemas.openxmlformats.org/officeDocument/2006/relationships/chart" Target="../charts/chart11.xml"/><Relationship Id="rId5" Type="http://schemas.openxmlformats.org/officeDocument/2006/relationships/notesSlide" Target="../notesSlides/notesSlide10.xml"/><Relationship Id="rId10" Type="http://schemas.openxmlformats.org/officeDocument/2006/relationships/chart" Target="../charts/chart10.xml"/><Relationship Id="rId4" Type="http://schemas.openxmlformats.org/officeDocument/2006/relationships/slideLayout" Target="../slideLayouts/slideLayout2.xml"/><Relationship Id="rId9" Type="http://schemas.openxmlformats.org/officeDocument/2006/relationships/chart" Target="../charts/chart9.xml"/></Relationships>
</file>

<file path=ppt/slides/_rels/slide13.xml.rels><?xml version="1.0" encoding="UTF-8" standalone="yes"?>
<Relationships xmlns="http://schemas.openxmlformats.org/package/2006/relationships"><Relationship Id="rId8" Type="http://schemas.openxmlformats.org/officeDocument/2006/relationships/chart" Target="../charts/chart12.xml"/><Relationship Id="rId3" Type="http://schemas.openxmlformats.org/officeDocument/2006/relationships/tags" Target="../tags/tag24.xml"/><Relationship Id="rId7" Type="http://schemas.openxmlformats.org/officeDocument/2006/relationships/image" Target="../media/image4.emf"/><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11.xml"/><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26.xml"/><Relationship Id="rId7" Type="http://schemas.openxmlformats.org/officeDocument/2006/relationships/oleObject" Target="../embeddings/oleObject13.bin"/><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chart" Target="../charts/chart13.xml"/><Relationship Id="rId5" Type="http://schemas.openxmlformats.org/officeDocument/2006/relationships/notesSlide" Target="../notesSlides/notesSlide12.xml"/><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28.xml"/><Relationship Id="rId7" Type="http://schemas.openxmlformats.org/officeDocument/2006/relationships/oleObject" Target="../embeddings/oleObject14.bin"/><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chart" Target="../charts/chart14.xml"/><Relationship Id="rId11" Type="http://schemas.openxmlformats.org/officeDocument/2006/relationships/chart" Target="../charts/chart17.xml"/><Relationship Id="rId5" Type="http://schemas.openxmlformats.org/officeDocument/2006/relationships/notesSlide" Target="../notesSlides/notesSlide13.xml"/><Relationship Id="rId10" Type="http://schemas.openxmlformats.org/officeDocument/2006/relationships/chart" Target="../charts/chart16.xml"/><Relationship Id="rId4" Type="http://schemas.openxmlformats.org/officeDocument/2006/relationships/slideLayout" Target="../slideLayouts/slideLayout2.xml"/><Relationship Id="rId9" Type="http://schemas.openxmlformats.org/officeDocument/2006/relationships/chart" Target="../charts/chart15.xml"/></Relationships>
</file>

<file path=ppt/slides/_rels/slide17.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chart" Target="../charts/chart18.xml"/><Relationship Id="rId7" Type="http://schemas.openxmlformats.org/officeDocument/2006/relationships/image" Target="../media/image13.png"/><Relationship Id="rId12" Type="http://schemas.openxmlformats.org/officeDocument/2006/relationships/image" Target="../media/image18.sv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12.svg"/><Relationship Id="rId11" Type="http://schemas.openxmlformats.org/officeDocument/2006/relationships/image" Target="../media/image17.png"/><Relationship Id="rId5" Type="http://schemas.openxmlformats.org/officeDocument/2006/relationships/image" Target="../media/image11.png"/><Relationship Id="rId10" Type="http://schemas.openxmlformats.org/officeDocument/2006/relationships/image" Target="../media/image16.svg"/><Relationship Id="rId4" Type="http://schemas.openxmlformats.org/officeDocument/2006/relationships/chart" Target="../charts/chart19.xml"/><Relationship Id="rId9" Type="http://schemas.openxmlformats.org/officeDocument/2006/relationships/image" Target="../media/image15.png"/></Relationships>
</file>

<file path=ppt/slides/_rels/slide18.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chart" Target="../charts/chart20.xml"/><Relationship Id="rId1" Type="http://schemas.openxmlformats.org/officeDocument/2006/relationships/slideLayout" Target="../slideLayouts/slideLayout2.xml"/><Relationship Id="rId4" Type="http://schemas.openxmlformats.org/officeDocument/2006/relationships/chart" Target="../charts/chart2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4.emf"/><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5.xml"/><Relationship Id="rId4"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4.emf"/><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16.xml"/><Relationship Id="rId4"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chart" Target="../charts/chart23.xml"/><Relationship Id="rId3" Type="http://schemas.openxmlformats.org/officeDocument/2006/relationships/tags" Target="../tags/tag34.xml"/><Relationship Id="rId7" Type="http://schemas.openxmlformats.org/officeDocument/2006/relationships/image" Target="../media/image4.emf"/><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17.xml"/><Relationship Id="rId4" Type="http://schemas.openxmlformats.org/officeDocument/2006/relationships/slideLayout" Target="../slideLayouts/slideLayout2.xml"/><Relationship Id="rId9" Type="http://schemas.openxmlformats.org/officeDocument/2006/relationships/chart" Target="../charts/chart24.xml"/></Relationships>
</file>

<file path=ppt/slides/_rels/slide23.xml.rels><?xml version="1.0" encoding="UTF-8" standalone="yes"?>
<Relationships xmlns="http://schemas.openxmlformats.org/package/2006/relationships"><Relationship Id="rId8" Type="http://schemas.openxmlformats.org/officeDocument/2006/relationships/chart" Target="../charts/chart25.xml"/><Relationship Id="rId3" Type="http://schemas.openxmlformats.org/officeDocument/2006/relationships/tags" Target="../tags/tag36.xml"/><Relationship Id="rId7" Type="http://schemas.openxmlformats.org/officeDocument/2006/relationships/image" Target="../media/image4.emf"/><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18.xml"/><Relationship Id="rId4"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openxmlformats.org/officeDocument/2006/relationships/chart" Target="../charts/chart26.xml"/><Relationship Id="rId3" Type="http://schemas.openxmlformats.org/officeDocument/2006/relationships/tags" Target="../tags/tag38.xml"/><Relationship Id="rId7" Type="http://schemas.openxmlformats.org/officeDocument/2006/relationships/image" Target="../media/image4.emf"/><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19.xml"/><Relationship Id="rId4"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chart" Target="../charts/chart27.xml"/><Relationship Id="rId3" Type="http://schemas.openxmlformats.org/officeDocument/2006/relationships/tags" Target="../tags/tag40.xml"/><Relationship Id="rId7" Type="http://schemas.openxmlformats.org/officeDocument/2006/relationships/image" Target="../media/image4.emf"/><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20.xml"/><Relationship Id="rId4"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4.emf"/><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21.xml"/><Relationship Id="rId4"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8" Type="http://schemas.openxmlformats.org/officeDocument/2006/relationships/chart" Target="../charts/chart28.xml"/><Relationship Id="rId3" Type="http://schemas.openxmlformats.org/officeDocument/2006/relationships/tags" Target="../tags/tag44.xml"/><Relationship Id="rId7" Type="http://schemas.openxmlformats.org/officeDocument/2006/relationships/image" Target="../media/image4.emf"/><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22.xml"/><Relationship Id="rId4"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4.emf"/><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oleObject" Target="../embeddings/oleObject16.bin"/><Relationship Id="rId5" Type="http://schemas.openxmlformats.org/officeDocument/2006/relationships/notesSlide" Target="../notesSlides/notesSlide23.xml"/><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1.xml"/><Relationship Id="rId3" Type="http://schemas.openxmlformats.org/officeDocument/2006/relationships/tags" Target="../tags/tag4.xml"/><Relationship Id="rId7" Type="http://schemas.openxmlformats.org/officeDocument/2006/relationships/image" Target="../media/image4.emf"/><Relationship Id="rId12" Type="http://schemas.microsoft.com/office/2007/relationships/diagramDrawing" Target="../diagrams/drawing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diagramColors" Target="../diagrams/colors1.xml"/><Relationship Id="rId5" Type="http://schemas.openxmlformats.org/officeDocument/2006/relationships/notesSlide" Target="../notesSlides/notesSlide1.xml"/><Relationship Id="rId10" Type="http://schemas.openxmlformats.org/officeDocument/2006/relationships/diagramQuickStyle" Target="../diagrams/quickStyle1.xml"/><Relationship Id="rId4" Type="http://schemas.openxmlformats.org/officeDocument/2006/relationships/slideLayout" Target="../slideLayouts/slideLayout2.xml"/><Relationship Id="rId9"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8" Type="http://schemas.openxmlformats.org/officeDocument/2006/relationships/chart" Target="../charts/chart29.xml"/><Relationship Id="rId3" Type="http://schemas.openxmlformats.org/officeDocument/2006/relationships/tags" Target="../tags/tag48.xml"/><Relationship Id="rId7" Type="http://schemas.openxmlformats.org/officeDocument/2006/relationships/image" Target="../media/image4.emf"/><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oleObject" Target="../embeddings/oleObject23.bin"/><Relationship Id="rId5" Type="http://schemas.openxmlformats.org/officeDocument/2006/relationships/notesSlide" Target="../notesSlides/notesSlide24.xml"/><Relationship Id="rId4"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8" Type="http://schemas.openxmlformats.org/officeDocument/2006/relationships/chart" Target="../charts/chart30.xml"/><Relationship Id="rId3" Type="http://schemas.openxmlformats.org/officeDocument/2006/relationships/tags" Target="../tags/tag50.xml"/><Relationship Id="rId7" Type="http://schemas.openxmlformats.org/officeDocument/2006/relationships/image" Target="../media/image4.emf"/><Relationship Id="rId2" Type="http://schemas.openxmlformats.org/officeDocument/2006/relationships/tags" Target="../tags/tag49.xml"/><Relationship Id="rId1" Type="http://schemas.openxmlformats.org/officeDocument/2006/relationships/vmlDrawing" Target="../drawings/vmlDrawing25.vml"/><Relationship Id="rId6" Type="http://schemas.openxmlformats.org/officeDocument/2006/relationships/oleObject" Target="../embeddings/oleObject24.bin"/><Relationship Id="rId5" Type="http://schemas.openxmlformats.org/officeDocument/2006/relationships/notesSlide" Target="../notesSlides/notesSlide25.xml"/><Relationship Id="rId4"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chart" Target="../charts/chart3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chart" Target="../charts/chart32.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4.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8.xml"/><Relationship Id="rId7" Type="http://schemas.openxmlformats.org/officeDocument/2006/relationships/image" Target="../media/image4.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3.xml"/><Relationship Id="rId4" Type="http://schemas.openxmlformats.org/officeDocument/2006/relationships/slideLayout" Target="../slideLayouts/slideLayout2.xml"/><Relationship Id="rId9" Type="http://schemas.openxmlformats.org/officeDocument/2006/relationships/chart" Target="../charts/chart2.xml"/></Relationships>
</file>

<file path=ppt/slides/_rels/slide6.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tags" Target="../tags/tag10.xml"/><Relationship Id="rId7" Type="http://schemas.openxmlformats.org/officeDocument/2006/relationships/image" Target="../media/image4.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chart" Target="../charts/chart4.xml"/><Relationship Id="rId13" Type="http://schemas.microsoft.com/office/2007/relationships/diagramDrawing" Target="../diagrams/drawing2.xml"/><Relationship Id="rId3" Type="http://schemas.openxmlformats.org/officeDocument/2006/relationships/tags" Target="../tags/tag12.xml"/><Relationship Id="rId7" Type="http://schemas.openxmlformats.org/officeDocument/2006/relationships/image" Target="../media/image4.emf"/><Relationship Id="rId12" Type="http://schemas.openxmlformats.org/officeDocument/2006/relationships/diagramColors" Target="../diagrams/colors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6.bin"/><Relationship Id="rId11" Type="http://schemas.openxmlformats.org/officeDocument/2006/relationships/diagramQuickStyle" Target="../diagrams/quickStyle2.xml"/><Relationship Id="rId5" Type="http://schemas.openxmlformats.org/officeDocument/2006/relationships/notesSlide" Target="../notesSlides/notesSlide5.xml"/><Relationship Id="rId10" Type="http://schemas.openxmlformats.org/officeDocument/2006/relationships/diagramLayout" Target="../diagrams/layout2.xml"/><Relationship Id="rId4" Type="http://schemas.openxmlformats.org/officeDocument/2006/relationships/slideLayout" Target="../slideLayouts/slideLayout2.xml"/><Relationship Id="rId9" Type="http://schemas.openxmlformats.org/officeDocument/2006/relationships/diagramData" Target="../diagrams/data2.xml"/></Relationships>
</file>

<file path=ppt/slides/_rels/slide8.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4.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tags" Target="../tags/tag16.xml"/><Relationship Id="rId7" Type="http://schemas.openxmlformats.org/officeDocument/2006/relationships/image" Target="../media/image4.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CF1D0622-7165-4548-8340-D9840B920A9F}"/>
              </a:ext>
            </a:extLst>
          </p:cNvPr>
          <p:cNvGraphicFramePr>
            <a:graphicFrameLocks noChangeAspect="1"/>
          </p:cNvGraphicFramePr>
          <p:nvPr>
            <p:custDataLst>
              <p:tags r:id="rId3"/>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6147" name="Diapositiva de think-cell" r:id="rId5" imgW="395" imgH="394" progId="TCLayout.ActiveDocument.1">
                  <p:embed/>
                </p:oleObj>
              </mc:Choice>
              <mc:Fallback>
                <p:oleObj name="Diapositiva de think-cell" r:id="rId5" imgW="395" imgH="394" progId="TCLayout.ActiveDocument.1">
                  <p:embed/>
                  <p:pic>
                    <p:nvPicPr>
                      <p:cNvPr id="4" name="Objeto 3" hidden="1">
                        <a:extLst>
                          <a:ext uri="{FF2B5EF4-FFF2-40B4-BE49-F238E27FC236}">
                            <a16:creationId xmlns:a16="http://schemas.microsoft.com/office/drawing/2014/main" id="{CF1D0622-7165-4548-8340-D9840B920A9F}"/>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86C56AFF-141D-934D-9545-BE676E3F3029}"/>
              </a:ext>
            </a:extLst>
          </p:cNvPr>
          <p:cNvSpPr>
            <a:spLocks noGrp="1"/>
          </p:cNvSpPr>
          <p:nvPr>
            <p:ph type="ctrTitle"/>
          </p:nvPr>
        </p:nvSpPr>
        <p:spPr>
          <a:xfrm>
            <a:off x="1569488" y="1508760"/>
            <a:ext cx="9053024" cy="1952625"/>
          </a:xfrm>
        </p:spPr>
        <p:txBody>
          <a:bodyPr vert="horz">
            <a:normAutofit/>
          </a:bodyPr>
          <a:lstStyle/>
          <a:p>
            <a:pPr algn="l"/>
            <a:r>
              <a:rPr lang="es-ES" sz="4900" b="1" dirty="0">
                <a:solidFill>
                  <a:schemeClr val="bg1"/>
                </a:solidFill>
              </a:rPr>
              <a:t>FORO</a:t>
            </a:r>
            <a:br>
              <a:rPr lang="es-ES" sz="2200" b="1" dirty="0">
                <a:solidFill>
                  <a:schemeClr val="bg1"/>
                </a:solidFill>
              </a:rPr>
            </a:br>
            <a:br>
              <a:rPr lang="es-ES" sz="2200" b="1" dirty="0">
                <a:solidFill>
                  <a:schemeClr val="bg1"/>
                </a:solidFill>
              </a:rPr>
            </a:br>
            <a:r>
              <a:rPr lang="es-ES" b="1" dirty="0">
                <a:solidFill>
                  <a:schemeClr val="bg1"/>
                </a:solidFill>
              </a:rPr>
              <a:t>Macroeconómico y Fiscal</a:t>
            </a:r>
            <a:endParaRPr lang="es-GT" sz="4800" b="1" dirty="0">
              <a:solidFill>
                <a:schemeClr val="bg1"/>
              </a:solidFill>
            </a:endParaRPr>
          </a:p>
        </p:txBody>
      </p:sp>
      <p:sp>
        <p:nvSpPr>
          <p:cNvPr id="3" name="CuadroTexto 2">
            <a:extLst>
              <a:ext uri="{FF2B5EF4-FFF2-40B4-BE49-F238E27FC236}">
                <a16:creationId xmlns:a16="http://schemas.microsoft.com/office/drawing/2014/main" id="{E6D39F06-5C03-49B8-B51D-D418FDD6FFD3}"/>
              </a:ext>
            </a:extLst>
          </p:cNvPr>
          <p:cNvSpPr txBox="1"/>
          <p:nvPr/>
        </p:nvSpPr>
        <p:spPr>
          <a:xfrm>
            <a:off x="4886325" y="4905375"/>
            <a:ext cx="3333750" cy="369332"/>
          </a:xfrm>
          <a:prstGeom prst="rect">
            <a:avLst/>
          </a:prstGeom>
          <a:noFill/>
        </p:spPr>
        <p:txBody>
          <a:bodyPr wrap="square" rtlCol="0">
            <a:spAutoFit/>
          </a:bodyPr>
          <a:lstStyle/>
          <a:p>
            <a:pPr algn="ctr"/>
            <a:r>
              <a:rPr lang="es-GT" b="1" dirty="0">
                <a:solidFill>
                  <a:schemeClr val="bg1"/>
                </a:solidFill>
              </a:rPr>
              <a:t>Guatemala, Agosto de 2021</a:t>
            </a:r>
          </a:p>
        </p:txBody>
      </p:sp>
    </p:spTree>
    <p:custDataLst>
      <p:tags r:id="rId2"/>
    </p:custDataLst>
    <p:extLst>
      <p:ext uri="{BB962C8B-B14F-4D97-AF65-F5344CB8AC3E}">
        <p14:creationId xmlns:p14="http://schemas.microsoft.com/office/powerpoint/2010/main" val="18524828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612C927D-3748-4A4E-816E-96996793B4E7}"/>
              </a:ext>
            </a:extLst>
          </p:cNvPr>
          <p:cNvGraphicFramePr>
            <a:graphicFrameLocks noChangeAspect="1"/>
          </p:cNvGraphicFramePr>
          <p:nvPr>
            <p:custDataLst>
              <p:tags r:id="rId3"/>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4339" name="Diapositiva de think-cell" r:id="rId6" imgW="395" imgH="394" progId="TCLayout.ActiveDocument.1">
                  <p:embed/>
                </p:oleObj>
              </mc:Choice>
              <mc:Fallback>
                <p:oleObj name="Diapositiva de think-cell" r:id="rId6" imgW="395" imgH="394" progId="TCLayout.ActiveDocument.1">
                  <p:embed/>
                  <p:pic>
                    <p:nvPicPr>
                      <p:cNvPr id="4" name="Objeto 3" hidden="1">
                        <a:extLst>
                          <a:ext uri="{FF2B5EF4-FFF2-40B4-BE49-F238E27FC236}">
                            <a16:creationId xmlns:a16="http://schemas.microsoft.com/office/drawing/2014/main" id="{612C927D-3748-4A4E-816E-96996793B4E7}"/>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11" name="Rectángulo 10" hidden="1">
            <a:extLst>
              <a:ext uri="{FF2B5EF4-FFF2-40B4-BE49-F238E27FC236}">
                <a16:creationId xmlns:a16="http://schemas.microsoft.com/office/drawing/2014/main" id="{5CEDD324-C245-420B-A8DC-2EEF4B0D7FE7}"/>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sym typeface="Arial" panose="020B0604020202020204" pitchFamily="34" charset="0"/>
            </a:endParaRPr>
          </a:p>
        </p:txBody>
      </p:sp>
      <p:sp>
        <p:nvSpPr>
          <p:cNvPr id="16" name="Rectángulo 15" hidden="1">
            <a:extLst>
              <a:ext uri="{FF2B5EF4-FFF2-40B4-BE49-F238E27FC236}">
                <a16:creationId xmlns:a16="http://schemas.microsoft.com/office/drawing/2014/main" id="{A70850B7-190D-46D7-A7EC-2EC403037B82}"/>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endParaRPr>
          </a:p>
        </p:txBody>
      </p:sp>
      <p:sp>
        <p:nvSpPr>
          <p:cNvPr id="12" name="Título 1">
            <a:extLst>
              <a:ext uri="{FF2B5EF4-FFF2-40B4-BE49-F238E27FC236}">
                <a16:creationId xmlns:a16="http://schemas.microsoft.com/office/drawing/2014/main" id="{AC816F7C-C4E0-4936-9568-36996F5BE48D}"/>
              </a:ext>
            </a:extLst>
          </p:cNvPr>
          <p:cNvSpPr>
            <a:spLocks noGrp="1"/>
          </p:cNvSpPr>
          <p:nvPr>
            <p:ph type="title"/>
          </p:nvPr>
        </p:nvSpPr>
        <p:spPr>
          <a:xfrm>
            <a:off x="347565" y="96008"/>
            <a:ext cx="5883418" cy="892833"/>
          </a:xfrm>
          <a:noFill/>
        </p:spPr>
        <p:txBody>
          <a:bodyPr vert="horz"/>
          <a:lstStyle/>
          <a:p>
            <a:pPr algn="just"/>
            <a:r>
              <a:rPr lang="es-US" sz="2400" b="1" dirty="0">
                <a:solidFill>
                  <a:schemeClr val="bg1"/>
                </a:solidFill>
                <a:latin typeface="+mn-lt"/>
              </a:rPr>
              <a:t>Evolución de la recaudación en 2020-2021</a:t>
            </a:r>
            <a:endParaRPr lang="es-GT" sz="2400" b="1" dirty="0">
              <a:solidFill>
                <a:schemeClr val="bg1"/>
              </a:solidFill>
              <a:latin typeface="+mn-lt"/>
            </a:endParaRPr>
          </a:p>
        </p:txBody>
      </p:sp>
      <p:sp>
        <p:nvSpPr>
          <p:cNvPr id="14" name="Título 3">
            <a:extLst>
              <a:ext uri="{FF2B5EF4-FFF2-40B4-BE49-F238E27FC236}">
                <a16:creationId xmlns:a16="http://schemas.microsoft.com/office/drawing/2014/main" id="{076AD484-7695-4366-84C2-F0F5AB689756}"/>
              </a:ext>
            </a:extLst>
          </p:cNvPr>
          <p:cNvSpPr>
            <a:spLocks noGrp="1"/>
          </p:cNvSpPr>
          <p:nvPr/>
        </p:nvSpPr>
        <p:spPr>
          <a:xfrm>
            <a:off x="1008017" y="988841"/>
            <a:ext cx="10515600" cy="769188"/>
          </a:xfrm>
          <a:prstGeom prst="rect">
            <a:avLst/>
          </a:prstGeom>
        </p:spPr>
        <p:txBody>
          <a:bodyPr vert="horz" lIns="91440" tIns="45720" rIns="91440" bIns="45720" rtlCol="0" anchor="ctr">
            <a:norm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s-GT" sz="2200" b="1" dirty="0">
                <a:solidFill>
                  <a:srgbClr val="0B3963"/>
                </a:solidFill>
                <a:latin typeface="+mn-lt"/>
              </a:rPr>
              <a:t>Variación interanual de recaudación tributaria</a:t>
            </a:r>
            <a:br>
              <a:rPr lang="es-GT" sz="2200" b="1" dirty="0">
                <a:solidFill>
                  <a:srgbClr val="0B3963"/>
                </a:solidFill>
                <a:latin typeface="+mn-lt"/>
              </a:rPr>
            </a:br>
            <a:r>
              <a:rPr lang="es-GT" sz="2200" b="1" dirty="0">
                <a:solidFill>
                  <a:srgbClr val="0B3963"/>
                </a:solidFill>
                <a:latin typeface="+mn-lt"/>
              </a:rPr>
              <a:t>Porcentajes 2021/2020</a:t>
            </a:r>
          </a:p>
        </p:txBody>
      </p:sp>
      <p:graphicFrame>
        <p:nvGraphicFramePr>
          <p:cNvPr id="17" name="Marcador de contenido 7">
            <a:extLst>
              <a:ext uri="{FF2B5EF4-FFF2-40B4-BE49-F238E27FC236}">
                <a16:creationId xmlns:a16="http://schemas.microsoft.com/office/drawing/2014/main" id="{C181E7B0-5B70-43D3-ACAD-62D5319E93DC}"/>
              </a:ext>
            </a:extLst>
          </p:cNvPr>
          <p:cNvGraphicFramePr>
            <a:graphicFrameLocks noGrp="1"/>
          </p:cNvGraphicFramePr>
          <p:nvPr>
            <p:ph idx="1"/>
            <p:extLst>
              <p:ext uri="{D42A27DB-BD31-4B8C-83A1-F6EECF244321}">
                <p14:modId xmlns:p14="http://schemas.microsoft.com/office/powerpoint/2010/main" val="3370182635"/>
              </p:ext>
            </p:extLst>
          </p:nvPr>
        </p:nvGraphicFramePr>
        <p:xfrm>
          <a:off x="973183" y="1968051"/>
          <a:ext cx="10515600" cy="4793941"/>
        </p:xfrm>
        <a:graphic>
          <a:graphicData uri="http://schemas.openxmlformats.org/drawingml/2006/chart">
            <c:chart xmlns:c="http://schemas.openxmlformats.org/drawingml/2006/chart" xmlns:r="http://schemas.openxmlformats.org/officeDocument/2006/relationships" r:id="rId8"/>
          </a:graphicData>
        </a:graphic>
      </p:graphicFrame>
    </p:spTree>
    <p:custDataLst>
      <p:tags r:id="rId2"/>
    </p:custDataLst>
    <p:extLst>
      <p:ext uri="{BB962C8B-B14F-4D97-AF65-F5344CB8AC3E}">
        <p14:creationId xmlns:p14="http://schemas.microsoft.com/office/powerpoint/2010/main" val="5237726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612C927D-3748-4A4E-816E-96996793B4E7}"/>
              </a:ext>
            </a:extLst>
          </p:cNvPr>
          <p:cNvGraphicFramePr>
            <a:graphicFrameLocks noChangeAspect="1"/>
          </p:cNvGraphicFramePr>
          <p:nvPr>
            <p:custDataLst>
              <p:tags r:id="rId3"/>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5363" name="Diapositiva de think-cell" r:id="rId6" imgW="395" imgH="394" progId="TCLayout.ActiveDocument.1">
                  <p:embed/>
                </p:oleObj>
              </mc:Choice>
              <mc:Fallback>
                <p:oleObj name="Diapositiva de think-cell" r:id="rId6" imgW="395" imgH="394" progId="TCLayout.ActiveDocument.1">
                  <p:embed/>
                  <p:pic>
                    <p:nvPicPr>
                      <p:cNvPr id="4" name="Objeto 3" hidden="1">
                        <a:extLst>
                          <a:ext uri="{FF2B5EF4-FFF2-40B4-BE49-F238E27FC236}">
                            <a16:creationId xmlns:a16="http://schemas.microsoft.com/office/drawing/2014/main" id="{612C927D-3748-4A4E-816E-96996793B4E7}"/>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11" name="Rectángulo 10" hidden="1">
            <a:extLst>
              <a:ext uri="{FF2B5EF4-FFF2-40B4-BE49-F238E27FC236}">
                <a16:creationId xmlns:a16="http://schemas.microsoft.com/office/drawing/2014/main" id="{5CEDD324-C245-420B-A8DC-2EEF4B0D7FE7}"/>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sym typeface="Arial" panose="020B0604020202020204" pitchFamily="34" charset="0"/>
            </a:endParaRPr>
          </a:p>
        </p:txBody>
      </p:sp>
      <p:sp>
        <p:nvSpPr>
          <p:cNvPr id="16" name="Rectángulo 15" hidden="1">
            <a:extLst>
              <a:ext uri="{FF2B5EF4-FFF2-40B4-BE49-F238E27FC236}">
                <a16:creationId xmlns:a16="http://schemas.microsoft.com/office/drawing/2014/main" id="{A70850B7-190D-46D7-A7EC-2EC403037B82}"/>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endParaRPr>
          </a:p>
        </p:txBody>
      </p:sp>
      <p:sp>
        <p:nvSpPr>
          <p:cNvPr id="12" name="Título 1">
            <a:extLst>
              <a:ext uri="{FF2B5EF4-FFF2-40B4-BE49-F238E27FC236}">
                <a16:creationId xmlns:a16="http://schemas.microsoft.com/office/drawing/2014/main" id="{AC816F7C-C4E0-4936-9568-36996F5BE48D}"/>
              </a:ext>
            </a:extLst>
          </p:cNvPr>
          <p:cNvSpPr>
            <a:spLocks noGrp="1"/>
          </p:cNvSpPr>
          <p:nvPr>
            <p:ph type="title"/>
          </p:nvPr>
        </p:nvSpPr>
        <p:spPr>
          <a:xfrm>
            <a:off x="256124" y="14741"/>
            <a:ext cx="7281145" cy="927250"/>
          </a:xfrm>
          <a:noFill/>
        </p:spPr>
        <p:txBody>
          <a:bodyPr vert="horz"/>
          <a:lstStyle/>
          <a:p>
            <a:r>
              <a:rPr lang="es-GT" sz="2400" b="1" dirty="0">
                <a:solidFill>
                  <a:schemeClr val="bg1"/>
                </a:solidFill>
              </a:rPr>
              <a:t>Gasto público 2021 crece a pesar de la restricción presupuestaria</a:t>
            </a:r>
          </a:p>
        </p:txBody>
      </p:sp>
      <p:graphicFrame>
        <p:nvGraphicFramePr>
          <p:cNvPr id="10" name="Chart 8">
            <a:extLst>
              <a:ext uri="{FF2B5EF4-FFF2-40B4-BE49-F238E27FC236}">
                <a16:creationId xmlns:a16="http://schemas.microsoft.com/office/drawing/2014/main" id="{1375F8FB-11CE-45E9-85D8-CC2254BA56C1}"/>
              </a:ext>
            </a:extLst>
          </p:cNvPr>
          <p:cNvGraphicFramePr/>
          <p:nvPr>
            <p:extLst>
              <p:ext uri="{D42A27DB-BD31-4B8C-83A1-F6EECF244321}">
                <p14:modId xmlns:p14="http://schemas.microsoft.com/office/powerpoint/2010/main" val="1553358253"/>
              </p:ext>
            </p:extLst>
          </p:nvPr>
        </p:nvGraphicFramePr>
        <p:xfrm>
          <a:off x="1140387" y="1189055"/>
          <a:ext cx="9658468" cy="5827438"/>
        </p:xfrm>
        <a:graphic>
          <a:graphicData uri="http://schemas.openxmlformats.org/drawingml/2006/chart">
            <c:chart xmlns:c="http://schemas.openxmlformats.org/drawingml/2006/chart" xmlns:r="http://schemas.openxmlformats.org/officeDocument/2006/relationships" r:id="rId8"/>
          </a:graphicData>
        </a:graphic>
      </p:graphicFrame>
      <p:sp>
        <p:nvSpPr>
          <p:cNvPr id="2" name="Rectángulo 1">
            <a:extLst>
              <a:ext uri="{FF2B5EF4-FFF2-40B4-BE49-F238E27FC236}">
                <a16:creationId xmlns:a16="http://schemas.microsoft.com/office/drawing/2014/main" id="{43DBDBEE-1D94-4392-91E3-06D3DD827FDC}"/>
              </a:ext>
            </a:extLst>
          </p:cNvPr>
          <p:cNvSpPr/>
          <p:nvPr/>
        </p:nvSpPr>
        <p:spPr>
          <a:xfrm>
            <a:off x="9239283" y="1822863"/>
            <a:ext cx="1559572" cy="4862457"/>
          </a:xfrm>
          <a:prstGeom prst="rect">
            <a:avLst/>
          </a:prstGeom>
          <a:solidFill>
            <a:schemeClr val="accent5">
              <a:lumMod val="40000"/>
              <a:lumOff val="60000"/>
              <a:alpha val="37000"/>
            </a:schemeClr>
          </a:solidFill>
          <a:ln w="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GT" dirty="0"/>
          </a:p>
        </p:txBody>
      </p:sp>
    </p:spTree>
    <p:custDataLst>
      <p:tags r:id="rId2"/>
    </p:custDataLst>
    <p:extLst>
      <p:ext uri="{BB962C8B-B14F-4D97-AF65-F5344CB8AC3E}">
        <p14:creationId xmlns:p14="http://schemas.microsoft.com/office/powerpoint/2010/main" val="31695328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612C927D-3748-4A4E-816E-96996793B4E7}"/>
              </a:ext>
            </a:extLst>
          </p:cNvPr>
          <p:cNvGraphicFramePr>
            <a:graphicFrameLocks noChangeAspect="1"/>
          </p:cNvGraphicFramePr>
          <p:nvPr>
            <p:custDataLst>
              <p:tags r:id="rId3"/>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6387" name="Diapositiva de think-cell" r:id="rId6" imgW="395" imgH="394" progId="TCLayout.ActiveDocument.1">
                  <p:embed/>
                </p:oleObj>
              </mc:Choice>
              <mc:Fallback>
                <p:oleObj name="Diapositiva de think-cell" r:id="rId6" imgW="395" imgH="394" progId="TCLayout.ActiveDocument.1">
                  <p:embed/>
                  <p:pic>
                    <p:nvPicPr>
                      <p:cNvPr id="4" name="Objeto 3" hidden="1">
                        <a:extLst>
                          <a:ext uri="{FF2B5EF4-FFF2-40B4-BE49-F238E27FC236}">
                            <a16:creationId xmlns:a16="http://schemas.microsoft.com/office/drawing/2014/main" id="{612C927D-3748-4A4E-816E-96996793B4E7}"/>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11" name="Rectángulo 10" hidden="1">
            <a:extLst>
              <a:ext uri="{FF2B5EF4-FFF2-40B4-BE49-F238E27FC236}">
                <a16:creationId xmlns:a16="http://schemas.microsoft.com/office/drawing/2014/main" id="{5CEDD324-C245-420B-A8DC-2EEF4B0D7FE7}"/>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sym typeface="Arial" panose="020B0604020202020204" pitchFamily="34" charset="0"/>
            </a:endParaRPr>
          </a:p>
        </p:txBody>
      </p:sp>
      <p:sp>
        <p:nvSpPr>
          <p:cNvPr id="16" name="Rectángulo 15" hidden="1">
            <a:extLst>
              <a:ext uri="{FF2B5EF4-FFF2-40B4-BE49-F238E27FC236}">
                <a16:creationId xmlns:a16="http://schemas.microsoft.com/office/drawing/2014/main" id="{A70850B7-190D-46D7-A7EC-2EC403037B82}"/>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endParaRPr>
          </a:p>
        </p:txBody>
      </p:sp>
      <p:sp>
        <p:nvSpPr>
          <p:cNvPr id="12" name="Título 1">
            <a:extLst>
              <a:ext uri="{FF2B5EF4-FFF2-40B4-BE49-F238E27FC236}">
                <a16:creationId xmlns:a16="http://schemas.microsoft.com/office/drawing/2014/main" id="{AC816F7C-C4E0-4936-9568-36996F5BE48D}"/>
              </a:ext>
            </a:extLst>
          </p:cNvPr>
          <p:cNvSpPr>
            <a:spLocks noGrp="1"/>
          </p:cNvSpPr>
          <p:nvPr>
            <p:ph type="title"/>
          </p:nvPr>
        </p:nvSpPr>
        <p:spPr>
          <a:xfrm>
            <a:off x="256125" y="61349"/>
            <a:ext cx="6889258" cy="892833"/>
          </a:xfrm>
          <a:noFill/>
        </p:spPr>
        <p:txBody>
          <a:bodyPr vert="horz"/>
          <a:lstStyle/>
          <a:p>
            <a:pPr lvl="0">
              <a:defRPr/>
            </a:pPr>
            <a:r>
              <a:rPr lang="es-GT" sz="2400" b="1" dirty="0">
                <a:solidFill>
                  <a:schemeClr val="bg1"/>
                </a:solidFill>
              </a:rPr>
              <a:t>Las perspectivas fiscales para 2021 dan señales de consolidación fiscal</a:t>
            </a:r>
          </a:p>
        </p:txBody>
      </p:sp>
      <p:sp>
        <p:nvSpPr>
          <p:cNvPr id="13" name="CuadroTexto 12">
            <a:extLst>
              <a:ext uri="{FF2B5EF4-FFF2-40B4-BE49-F238E27FC236}">
                <a16:creationId xmlns:a16="http://schemas.microsoft.com/office/drawing/2014/main" id="{A7670540-6E94-4CB0-BEA1-2645469723FD}"/>
              </a:ext>
            </a:extLst>
          </p:cNvPr>
          <p:cNvSpPr txBox="1"/>
          <p:nvPr/>
        </p:nvSpPr>
        <p:spPr>
          <a:xfrm>
            <a:off x="4721976" y="1028575"/>
            <a:ext cx="2743200" cy="400110"/>
          </a:xfrm>
          <a:prstGeom prst="rect">
            <a:avLst/>
          </a:prstGeom>
          <a:noFill/>
        </p:spPr>
        <p:txBody>
          <a:bodyPr wrap="square" rtlCol="0">
            <a:spAutoFit/>
          </a:bodyPr>
          <a:lstStyle/>
          <a:p>
            <a:pPr algn="ctr"/>
            <a:r>
              <a:rPr lang="es-GT" sz="2000" b="1" dirty="0">
                <a:solidFill>
                  <a:srgbClr val="0B3963"/>
                </a:solidFill>
              </a:rPr>
              <a:t>Porcentajes del PIB</a:t>
            </a:r>
          </a:p>
        </p:txBody>
      </p:sp>
      <p:graphicFrame>
        <p:nvGraphicFramePr>
          <p:cNvPr id="22" name="Gráfico 21">
            <a:extLst>
              <a:ext uri="{FF2B5EF4-FFF2-40B4-BE49-F238E27FC236}">
                <a16:creationId xmlns:a16="http://schemas.microsoft.com/office/drawing/2014/main" id="{FC54B43A-7A1A-42B4-8CCE-F5B4BC2A7BD3}"/>
              </a:ext>
            </a:extLst>
          </p:cNvPr>
          <p:cNvGraphicFramePr/>
          <p:nvPr>
            <p:extLst>
              <p:ext uri="{D42A27DB-BD31-4B8C-83A1-F6EECF244321}">
                <p14:modId xmlns:p14="http://schemas.microsoft.com/office/powerpoint/2010/main" val="3516196361"/>
              </p:ext>
            </p:extLst>
          </p:nvPr>
        </p:nvGraphicFramePr>
        <p:xfrm>
          <a:off x="1416995" y="1541454"/>
          <a:ext cx="4550302" cy="2495941"/>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3" name="Gráfico 22">
            <a:extLst>
              <a:ext uri="{FF2B5EF4-FFF2-40B4-BE49-F238E27FC236}">
                <a16:creationId xmlns:a16="http://schemas.microsoft.com/office/drawing/2014/main" id="{0265E1D5-12BC-4D05-85E5-BA81E87A9666}"/>
              </a:ext>
            </a:extLst>
          </p:cNvPr>
          <p:cNvGraphicFramePr/>
          <p:nvPr>
            <p:extLst>
              <p:ext uri="{D42A27DB-BD31-4B8C-83A1-F6EECF244321}">
                <p14:modId xmlns:p14="http://schemas.microsoft.com/office/powerpoint/2010/main" val="275233701"/>
              </p:ext>
            </p:extLst>
          </p:nvPr>
        </p:nvGraphicFramePr>
        <p:xfrm>
          <a:off x="6229297" y="1532636"/>
          <a:ext cx="4550303" cy="2674086"/>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4" name="Gráfico 23">
            <a:extLst>
              <a:ext uri="{FF2B5EF4-FFF2-40B4-BE49-F238E27FC236}">
                <a16:creationId xmlns:a16="http://schemas.microsoft.com/office/drawing/2014/main" id="{F3F6D174-4B33-41E2-85B4-2A9AFCF9AD6B}"/>
              </a:ext>
            </a:extLst>
          </p:cNvPr>
          <p:cNvGraphicFramePr/>
          <p:nvPr>
            <p:extLst>
              <p:ext uri="{D42A27DB-BD31-4B8C-83A1-F6EECF244321}">
                <p14:modId xmlns:p14="http://schemas.microsoft.com/office/powerpoint/2010/main" val="2011657966"/>
              </p:ext>
            </p:extLst>
          </p:nvPr>
        </p:nvGraphicFramePr>
        <p:xfrm>
          <a:off x="1569641" y="4228238"/>
          <a:ext cx="4550302" cy="2539761"/>
        </p:xfrm>
        <a:graphic>
          <a:graphicData uri="http://schemas.openxmlformats.org/drawingml/2006/chart">
            <c:chart xmlns:c="http://schemas.openxmlformats.org/drawingml/2006/chart" xmlns:r="http://schemas.openxmlformats.org/officeDocument/2006/relationships" r:id="rId10"/>
          </a:graphicData>
        </a:graphic>
      </p:graphicFrame>
      <p:cxnSp>
        <p:nvCxnSpPr>
          <p:cNvPr id="25" name="Conector recto de flecha 24">
            <a:extLst>
              <a:ext uri="{FF2B5EF4-FFF2-40B4-BE49-F238E27FC236}">
                <a16:creationId xmlns:a16="http://schemas.microsoft.com/office/drawing/2014/main" id="{B987833D-7B04-4B4C-9E9B-3E406D17CDD9}"/>
              </a:ext>
            </a:extLst>
          </p:cNvPr>
          <p:cNvCxnSpPr>
            <a:cxnSpLocks/>
          </p:cNvCxnSpPr>
          <p:nvPr/>
        </p:nvCxnSpPr>
        <p:spPr>
          <a:xfrm>
            <a:off x="4271552" y="4783706"/>
            <a:ext cx="848111" cy="478465"/>
          </a:xfrm>
          <a:prstGeom prst="straightConnector1">
            <a:avLst/>
          </a:prstGeom>
          <a:ln w="12700">
            <a:solidFill>
              <a:schemeClr val="accent2">
                <a:lumMod val="7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graphicFrame>
        <p:nvGraphicFramePr>
          <p:cNvPr id="26" name="Gráfico 25">
            <a:extLst>
              <a:ext uri="{FF2B5EF4-FFF2-40B4-BE49-F238E27FC236}">
                <a16:creationId xmlns:a16="http://schemas.microsoft.com/office/drawing/2014/main" id="{B3F5918D-6EF5-4B19-9568-808C860B6B98}"/>
              </a:ext>
            </a:extLst>
          </p:cNvPr>
          <p:cNvGraphicFramePr/>
          <p:nvPr>
            <p:extLst>
              <p:ext uri="{D42A27DB-BD31-4B8C-83A1-F6EECF244321}">
                <p14:modId xmlns:p14="http://schemas.microsoft.com/office/powerpoint/2010/main" val="1892030078"/>
              </p:ext>
            </p:extLst>
          </p:nvPr>
        </p:nvGraphicFramePr>
        <p:xfrm>
          <a:off x="5967297" y="4228238"/>
          <a:ext cx="4650214" cy="2539761"/>
        </p:xfrm>
        <a:graphic>
          <a:graphicData uri="http://schemas.openxmlformats.org/drawingml/2006/chart">
            <c:chart xmlns:c="http://schemas.openxmlformats.org/drawingml/2006/chart" xmlns:r="http://schemas.openxmlformats.org/officeDocument/2006/relationships" r:id="rId11"/>
          </a:graphicData>
        </a:graphic>
      </p:graphicFrame>
      <p:cxnSp>
        <p:nvCxnSpPr>
          <p:cNvPr id="27" name="Conector recto 26">
            <a:extLst>
              <a:ext uri="{FF2B5EF4-FFF2-40B4-BE49-F238E27FC236}">
                <a16:creationId xmlns:a16="http://schemas.microsoft.com/office/drawing/2014/main" id="{C5B139CE-C96A-435B-B761-EF4E4A5EEEFC}"/>
              </a:ext>
            </a:extLst>
          </p:cNvPr>
          <p:cNvCxnSpPr/>
          <p:nvPr/>
        </p:nvCxnSpPr>
        <p:spPr>
          <a:xfrm>
            <a:off x="6067208" y="1533184"/>
            <a:ext cx="0" cy="5234815"/>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8" name="Conector recto 27">
            <a:extLst>
              <a:ext uri="{FF2B5EF4-FFF2-40B4-BE49-F238E27FC236}">
                <a16:creationId xmlns:a16="http://schemas.microsoft.com/office/drawing/2014/main" id="{056CA90B-5C99-46A9-BCDF-5B1A6D59E78C}"/>
              </a:ext>
            </a:extLst>
          </p:cNvPr>
          <p:cNvCxnSpPr>
            <a:cxnSpLocks/>
          </p:cNvCxnSpPr>
          <p:nvPr/>
        </p:nvCxnSpPr>
        <p:spPr>
          <a:xfrm flipH="1" flipV="1">
            <a:off x="1569641" y="4228238"/>
            <a:ext cx="9047871" cy="6571"/>
          </a:xfrm>
          <a:prstGeom prst="line">
            <a:avLst/>
          </a:prstGeom>
          <a:ln>
            <a:prstDash val="dash"/>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15002894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612C927D-3748-4A4E-816E-96996793B4E7}"/>
              </a:ext>
            </a:extLst>
          </p:cNvPr>
          <p:cNvGraphicFramePr>
            <a:graphicFrameLocks noChangeAspect="1"/>
          </p:cNvGraphicFramePr>
          <p:nvPr>
            <p:custDataLst>
              <p:tags r:id="rId3"/>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7411" name="Diapositiva de think-cell" r:id="rId6" imgW="395" imgH="394" progId="TCLayout.ActiveDocument.1">
                  <p:embed/>
                </p:oleObj>
              </mc:Choice>
              <mc:Fallback>
                <p:oleObj name="Diapositiva de think-cell" r:id="rId6" imgW="395" imgH="394" progId="TCLayout.ActiveDocument.1">
                  <p:embed/>
                  <p:pic>
                    <p:nvPicPr>
                      <p:cNvPr id="4" name="Objeto 3" hidden="1">
                        <a:extLst>
                          <a:ext uri="{FF2B5EF4-FFF2-40B4-BE49-F238E27FC236}">
                            <a16:creationId xmlns:a16="http://schemas.microsoft.com/office/drawing/2014/main" id="{612C927D-3748-4A4E-816E-96996793B4E7}"/>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11" name="Rectángulo 10" hidden="1">
            <a:extLst>
              <a:ext uri="{FF2B5EF4-FFF2-40B4-BE49-F238E27FC236}">
                <a16:creationId xmlns:a16="http://schemas.microsoft.com/office/drawing/2014/main" id="{5CEDD324-C245-420B-A8DC-2EEF4B0D7FE7}"/>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sym typeface="Arial" panose="020B0604020202020204" pitchFamily="34" charset="0"/>
            </a:endParaRPr>
          </a:p>
        </p:txBody>
      </p:sp>
      <p:sp>
        <p:nvSpPr>
          <p:cNvPr id="16" name="Rectángulo 15" hidden="1">
            <a:extLst>
              <a:ext uri="{FF2B5EF4-FFF2-40B4-BE49-F238E27FC236}">
                <a16:creationId xmlns:a16="http://schemas.microsoft.com/office/drawing/2014/main" id="{A70850B7-190D-46D7-A7EC-2EC403037B82}"/>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endParaRPr>
          </a:p>
        </p:txBody>
      </p:sp>
      <p:sp>
        <p:nvSpPr>
          <p:cNvPr id="70" name="Rectángulo 69">
            <a:extLst>
              <a:ext uri="{FF2B5EF4-FFF2-40B4-BE49-F238E27FC236}">
                <a16:creationId xmlns:a16="http://schemas.microsoft.com/office/drawing/2014/main" id="{EB6E8B7F-9F42-4666-8000-893CFEA37FC9}"/>
              </a:ext>
            </a:extLst>
          </p:cNvPr>
          <p:cNvSpPr/>
          <p:nvPr/>
        </p:nvSpPr>
        <p:spPr>
          <a:xfrm>
            <a:off x="565595" y="265637"/>
            <a:ext cx="7652171" cy="461665"/>
          </a:xfrm>
          <a:prstGeom prst="rect">
            <a:avLst/>
          </a:prstGeom>
          <a:noFill/>
        </p:spPr>
        <p:txBody>
          <a:bodyPr wrap="square">
            <a:spAutoFit/>
          </a:bodyPr>
          <a:lstStyle/>
          <a:p>
            <a:pPr algn="just"/>
            <a:r>
              <a:rPr lang="es-ES" sz="2400" b="1" dirty="0">
                <a:solidFill>
                  <a:schemeClr val="bg1"/>
                </a:solidFill>
                <a:latin typeface="Calibri" panose="020F0502020204030204" pitchFamily="34" charset="0"/>
                <a:cs typeface="Calibri" panose="020F0502020204030204" pitchFamily="34" charset="0"/>
              </a:rPr>
              <a:t>Nivel de riesgo de Guatemala es bajo</a:t>
            </a:r>
            <a:endParaRPr lang="es-GT" sz="2400" b="1" dirty="0">
              <a:solidFill>
                <a:schemeClr val="bg1"/>
              </a:solidFill>
              <a:latin typeface="Calibri" panose="020F0502020204030204" pitchFamily="34" charset="0"/>
              <a:cs typeface="Calibri" panose="020F0502020204030204" pitchFamily="34" charset="0"/>
            </a:endParaRPr>
          </a:p>
        </p:txBody>
      </p:sp>
      <p:graphicFrame>
        <p:nvGraphicFramePr>
          <p:cNvPr id="9" name="Gráfico 8">
            <a:extLst>
              <a:ext uri="{FF2B5EF4-FFF2-40B4-BE49-F238E27FC236}">
                <a16:creationId xmlns:a16="http://schemas.microsoft.com/office/drawing/2014/main" id="{1E888A6F-AAAC-424B-8C8B-A8682663022E}"/>
              </a:ext>
            </a:extLst>
          </p:cNvPr>
          <p:cNvGraphicFramePr/>
          <p:nvPr>
            <p:extLst>
              <p:ext uri="{D42A27DB-BD31-4B8C-83A1-F6EECF244321}">
                <p14:modId xmlns:p14="http://schemas.microsoft.com/office/powerpoint/2010/main" val="3785991682"/>
              </p:ext>
            </p:extLst>
          </p:nvPr>
        </p:nvGraphicFramePr>
        <p:xfrm>
          <a:off x="565595" y="1007616"/>
          <a:ext cx="10910656" cy="5850384"/>
        </p:xfrm>
        <a:graphic>
          <a:graphicData uri="http://schemas.openxmlformats.org/drawingml/2006/chart">
            <c:chart xmlns:c="http://schemas.openxmlformats.org/drawingml/2006/chart" xmlns:r="http://schemas.openxmlformats.org/officeDocument/2006/relationships" r:id="rId8"/>
          </a:graphicData>
        </a:graphic>
      </p:graphicFrame>
    </p:spTree>
    <p:custDataLst>
      <p:tags r:id="rId2"/>
    </p:custDataLst>
    <p:extLst>
      <p:ext uri="{BB962C8B-B14F-4D97-AF65-F5344CB8AC3E}">
        <p14:creationId xmlns:p14="http://schemas.microsoft.com/office/powerpoint/2010/main" val="31704370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Gráfico 13">
            <a:extLst>
              <a:ext uri="{FF2B5EF4-FFF2-40B4-BE49-F238E27FC236}">
                <a16:creationId xmlns:a16="http://schemas.microsoft.com/office/drawing/2014/main" id="{3C6BDF25-79A7-46E7-9820-B816AF3F7976}"/>
              </a:ext>
            </a:extLst>
          </p:cNvPr>
          <p:cNvGraphicFramePr/>
          <p:nvPr>
            <p:extLst>
              <p:ext uri="{D42A27DB-BD31-4B8C-83A1-F6EECF244321}">
                <p14:modId xmlns:p14="http://schemas.microsoft.com/office/powerpoint/2010/main" val="3711027820"/>
              </p:ext>
            </p:extLst>
          </p:nvPr>
        </p:nvGraphicFramePr>
        <p:xfrm>
          <a:off x="105059" y="1129939"/>
          <a:ext cx="11002745" cy="615922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Objeto 3" hidden="1">
            <a:extLst>
              <a:ext uri="{FF2B5EF4-FFF2-40B4-BE49-F238E27FC236}">
                <a16:creationId xmlns:a16="http://schemas.microsoft.com/office/drawing/2014/main" id="{612C927D-3748-4A4E-816E-96996793B4E7}"/>
              </a:ext>
            </a:extLst>
          </p:cNvPr>
          <p:cNvGraphicFramePr>
            <a:graphicFrameLocks noChangeAspect="1"/>
          </p:cNvGraphicFramePr>
          <p:nvPr>
            <p:custDataLst>
              <p:tags r:id="rId3"/>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8435" name="Diapositiva de think-cell" r:id="rId7" imgW="395" imgH="394" progId="TCLayout.ActiveDocument.1">
                  <p:embed/>
                </p:oleObj>
              </mc:Choice>
              <mc:Fallback>
                <p:oleObj name="Diapositiva de think-cell" r:id="rId7" imgW="395" imgH="394" progId="TCLayout.ActiveDocument.1">
                  <p:embed/>
                  <p:pic>
                    <p:nvPicPr>
                      <p:cNvPr id="4" name="Objeto 3" hidden="1">
                        <a:extLst>
                          <a:ext uri="{FF2B5EF4-FFF2-40B4-BE49-F238E27FC236}">
                            <a16:creationId xmlns:a16="http://schemas.microsoft.com/office/drawing/2014/main" id="{612C927D-3748-4A4E-816E-96996793B4E7}"/>
                          </a:ext>
                        </a:extLst>
                      </p:cNvPr>
                      <p:cNvPicPr/>
                      <p:nvPr/>
                    </p:nvPicPr>
                    <p:blipFill>
                      <a:blip r:embed="rId8"/>
                      <a:stretch>
                        <a:fillRect/>
                      </a:stretch>
                    </p:blipFill>
                    <p:spPr>
                      <a:xfrm>
                        <a:off x="2118" y="2118"/>
                        <a:ext cx="2117" cy="2117"/>
                      </a:xfrm>
                      <a:prstGeom prst="rect">
                        <a:avLst/>
                      </a:prstGeom>
                    </p:spPr>
                  </p:pic>
                </p:oleObj>
              </mc:Fallback>
            </mc:AlternateContent>
          </a:graphicData>
        </a:graphic>
      </p:graphicFrame>
      <p:sp>
        <p:nvSpPr>
          <p:cNvPr id="11" name="Rectángulo 10" hidden="1">
            <a:extLst>
              <a:ext uri="{FF2B5EF4-FFF2-40B4-BE49-F238E27FC236}">
                <a16:creationId xmlns:a16="http://schemas.microsoft.com/office/drawing/2014/main" id="{5CEDD324-C245-420B-A8DC-2EEF4B0D7FE7}"/>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sym typeface="Arial" panose="020B0604020202020204" pitchFamily="34" charset="0"/>
            </a:endParaRPr>
          </a:p>
        </p:txBody>
      </p:sp>
      <p:sp>
        <p:nvSpPr>
          <p:cNvPr id="16" name="Rectángulo 15" hidden="1">
            <a:extLst>
              <a:ext uri="{FF2B5EF4-FFF2-40B4-BE49-F238E27FC236}">
                <a16:creationId xmlns:a16="http://schemas.microsoft.com/office/drawing/2014/main" id="{A70850B7-190D-46D7-A7EC-2EC403037B82}"/>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endParaRPr>
          </a:p>
        </p:txBody>
      </p:sp>
      <p:sp>
        <p:nvSpPr>
          <p:cNvPr id="70" name="Rectángulo 69">
            <a:extLst>
              <a:ext uri="{FF2B5EF4-FFF2-40B4-BE49-F238E27FC236}">
                <a16:creationId xmlns:a16="http://schemas.microsoft.com/office/drawing/2014/main" id="{EB6E8B7F-9F42-4666-8000-893CFEA37FC9}"/>
              </a:ext>
            </a:extLst>
          </p:cNvPr>
          <p:cNvSpPr/>
          <p:nvPr/>
        </p:nvSpPr>
        <p:spPr>
          <a:xfrm>
            <a:off x="272750" y="322002"/>
            <a:ext cx="6523856" cy="461665"/>
          </a:xfrm>
          <a:prstGeom prst="rect">
            <a:avLst/>
          </a:prstGeom>
          <a:noFill/>
        </p:spPr>
        <p:txBody>
          <a:bodyPr wrap="square">
            <a:spAutoFit/>
          </a:bodyPr>
          <a:lstStyle/>
          <a:p>
            <a:pPr algn="just"/>
            <a:r>
              <a:rPr lang="es-ES" sz="2400" b="1" dirty="0">
                <a:solidFill>
                  <a:schemeClr val="bg1"/>
                </a:solidFill>
                <a:latin typeface="Calibri" panose="020F0502020204030204" pitchFamily="34" charset="0"/>
                <a:cs typeface="Calibri" panose="020F0502020204030204" pitchFamily="34" charset="0"/>
              </a:rPr>
              <a:t>Trayectoria del riesgo país es estable</a:t>
            </a:r>
            <a:endParaRPr lang="es-GT" sz="2400" b="1" dirty="0">
              <a:solidFill>
                <a:schemeClr val="bg1"/>
              </a:solidFill>
              <a:latin typeface="Calibri" panose="020F0502020204030204" pitchFamily="34" charset="0"/>
              <a:cs typeface="Calibri" panose="020F0502020204030204" pitchFamily="34" charset="0"/>
            </a:endParaRPr>
          </a:p>
        </p:txBody>
      </p:sp>
      <p:sp>
        <p:nvSpPr>
          <p:cNvPr id="2" name="CuadroTexto 1">
            <a:extLst>
              <a:ext uri="{FF2B5EF4-FFF2-40B4-BE49-F238E27FC236}">
                <a16:creationId xmlns:a16="http://schemas.microsoft.com/office/drawing/2014/main" id="{A3A4ADB5-6DE1-4547-BBB6-C29B421ACA0B}"/>
              </a:ext>
            </a:extLst>
          </p:cNvPr>
          <p:cNvSpPr txBox="1"/>
          <p:nvPr/>
        </p:nvSpPr>
        <p:spPr>
          <a:xfrm>
            <a:off x="6909771" y="2675876"/>
            <a:ext cx="1000124" cy="584775"/>
          </a:xfrm>
          <a:prstGeom prst="rect">
            <a:avLst/>
          </a:prstGeom>
          <a:solidFill>
            <a:srgbClr val="0385B3"/>
          </a:solidFill>
        </p:spPr>
        <p:txBody>
          <a:bodyPr wrap="square" rtlCol="0">
            <a:spAutoFit/>
          </a:bodyPr>
          <a:lstStyle/>
          <a:p>
            <a:r>
              <a:rPr lang="es-GT" sz="1600" b="1" dirty="0">
                <a:solidFill>
                  <a:schemeClr val="bg1"/>
                </a:solidFill>
              </a:rPr>
              <a:t>Efecto COVID-19</a:t>
            </a:r>
          </a:p>
        </p:txBody>
      </p:sp>
      <p:cxnSp>
        <p:nvCxnSpPr>
          <p:cNvPr id="5" name="Conector recto de flecha 4">
            <a:extLst>
              <a:ext uri="{FF2B5EF4-FFF2-40B4-BE49-F238E27FC236}">
                <a16:creationId xmlns:a16="http://schemas.microsoft.com/office/drawing/2014/main" id="{B53C93EC-9E61-4A55-809B-C2B0221CCC2D}"/>
              </a:ext>
            </a:extLst>
          </p:cNvPr>
          <p:cNvCxnSpPr/>
          <p:nvPr/>
        </p:nvCxnSpPr>
        <p:spPr>
          <a:xfrm>
            <a:off x="7878830" y="2968264"/>
            <a:ext cx="533400" cy="0"/>
          </a:xfrm>
          <a:prstGeom prst="straightConnector1">
            <a:avLst/>
          </a:prstGeom>
          <a:ln w="34925">
            <a:tailEnd type="triangle"/>
          </a:ln>
        </p:spPr>
        <p:style>
          <a:lnRef idx="1">
            <a:schemeClr val="accent1"/>
          </a:lnRef>
          <a:fillRef idx="0">
            <a:schemeClr val="accent1"/>
          </a:fillRef>
          <a:effectRef idx="0">
            <a:schemeClr val="accent1"/>
          </a:effectRef>
          <a:fontRef idx="minor">
            <a:schemeClr val="tx1"/>
          </a:fontRef>
        </p:style>
      </p:cxnSp>
      <p:sp>
        <p:nvSpPr>
          <p:cNvPr id="6" name="CuadroTexto 5">
            <a:extLst>
              <a:ext uri="{FF2B5EF4-FFF2-40B4-BE49-F238E27FC236}">
                <a16:creationId xmlns:a16="http://schemas.microsoft.com/office/drawing/2014/main" id="{E085EAAC-EEDC-4B9D-952E-4C9F445502B8}"/>
              </a:ext>
            </a:extLst>
          </p:cNvPr>
          <p:cNvSpPr txBox="1"/>
          <p:nvPr/>
        </p:nvSpPr>
        <p:spPr>
          <a:xfrm>
            <a:off x="9279004" y="3379885"/>
            <a:ext cx="1828800" cy="830997"/>
          </a:xfrm>
          <a:prstGeom prst="rect">
            <a:avLst/>
          </a:prstGeom>
          <a:solidFill>
            <a:srgbClr val="0385B3"/>
          </a:solidFill>
        </p:spPr>
        <p:txBody>
          <a:bodyPr wrap="square" rtlCol="0">
            <a:spAutoFit/>
          </a:bodyPr>
          <a:lstStyle/>
          <a:p>
            <a:r>
              <a:rPr lang="es-GT" sz="1600" b="1" dirty="0">
                <a:solidFill>
                  <a:schemeClr val="bg1"/>
                </a:solidFill>
              </a:rPr>
              <a:t>Normalización, ahora por debajo del promedio</a:t>
            </a:r>
          </a:p>
        </p:txBody>
      </p:sp>
      <p:cxnSp>
        <p:nvCxnSpPr>
          <p:cNvPr id="8" name="Conector recto de flecha 7">
            <a:extLst>
              <a:ext uri="{FF2B5EF4-FFF2-40B4-BE49-F238E27FC236}">
                <a16:creationId xmlns:a16="http://schemas.microsoft.com/office/drawing/2014/main" id="{C8DD3F12-6AD9-49F4-A542-F41302E8955E}"/>
              </a:ext>
            </a:extLst>
          </p:cNvPr>
          <p:cNvCxnSpPr/>
          <p:nvPr/>
        </p:nvCxnSpPr>
        <p:spPr>
          <a:xfrm>
            <a:off x="10577109" y="4209551"/>
            <a:ext cx="0" cy="56846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5" name="CuadroTexto 14">
            <a:extLst>
              <a:ext uri="{FF2B5EF4-FFF2-40B4-BE49-F238E27FC236}">
                <a16:creationId xmlns:a16="http://schemas.microsoft.com/office/drawing/2014/main" id="{8C846C29-39AC-4725-95D9-1FD1BC373B24}"/>
              </a:ext>
            </a:extLst>
          </p:cNvPr>
          <p:cNvSpPr txBox="1"/>
          <p:nvPr/>
        </p:nvSpPr>
        <p:spPr>
          <a:xfrm>
            <a:off x="10493364" y="5344055"/>
            <a:ext cx="1583499" cy="584775"/>
          </a:xfrm>
          <a:prstGeom prst="rect">
            <a:avLst/>
          </a:prstGeom>
          <a:solidFill>
            <a:srgbClr val="0385B3"/>
          </a:solidFill>
        </p:spPr>
        <p:txBody>
          <a:bodyPr wrap="square" rtlCol="0">
            <a:spAutoFit/>
          </a:bodyPr>
          <a:lstStyle/>
          <a:p>
            <a:r>
              <a:rPr lang="es-GT" sz="1600" b="1" dirty="0">
                <a:solidFill>
                  <a:schemeClr val="bg1"/>
                </a:solidFill>
              </a:rPr>
              <a:t>Efecto Variante Delta</a:t>
            </a:r>
          </a:p>
        </p:txBody>
      </p:sp>
      <p:cxnSp>
        <p:nvCxnSpPr>
          <p:cNvPr id="7" name="Conector: curvado 6">
            <a:extLst>
              <a:ext uri="{FF2B5EF4-FFF2-40B4-BE49-F238E27FC236}">
                <a16:creationId xmlns:a16="http://schemas.microsoft.com/office/drawing/2014/main" id="{5B997347-9805-4149-B2B2-7A5210FCE572}"/>
              </a:ext>
            </a:extLst>
          </p:cNvPr>
          <p:cNvCxnSpPr>
            <a:cxnSpLocks/>
          </p:cNvCxnSpPr>
          <p:nvPr/>
        </p:nvCxnSpPr>
        <p:spPr>
          <a:xfrm>
            <a:off x="11047082" y="4962351"/>
            <a:ext cx="712861" cy="381704"/>
          </a:xfrm>
          <a:prstGeom prst="curvedConnector3">
            <a:avLst>
              <a:gd name="adj1" fmla="val 50000"/>
            </a:avLst>
          </a:prstGeom>
          <a:ln w="41275">
            <a:headEnd type="triangle"/>
            <a:tailEnd type="none"/>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5742765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76DD361-B2CD-054D-A608-18DA6C3E7DA4}"/>
              </a:ext>
            </a:extLst>
          </p:cNvPr>
          <p:cNvSpPr>
            <a:spLocks noGrp="1"/>
          </p:cNvSpPr>
          <p:nvPr>
            <p:ph type="ctrTitle"/>
          </p:nvPr>
        </p:nvSpPr>
        <p:spPr>
          <a:xfrm>
            <a:off x="1288868" y="2546214"/>
            <a:ext cx="9144000" cy="2387600"/>
          </a:xfrm>
        </p:spPr>
        <p:txBody>
          <a:bodyPr>
            <a:normAutofit fontScale="90000"/>
          </a:bodyPr>
          <a:lstStyle/>
          <a:p>
            <a:pPr algn="l"/>
            <a:r>
              <a:rPr lang="es-ES" b="0" dirty="0"/>
              <a:t>Escenario de riesgo por </a:t>
            </a:r>
            <a:r>
              <a:rPr lang="es-ES" dirty="0"/>
              <a:t>variantes de COVID en 2021</a:t>
            </a:r>
            <a:br>
              <a:rPr lang="es-GT" dirty="0"/>
            </a:br>
            <a:endParaRPr lang="es-GT" dirty="0"/>
          </a:p>
        </p:txBody>
      </p:sp>
    </p:spTree>
    <p:extLst>
      <p:ext uri="{BB962C8B-B14F-4D97-AF65-F5344CB8AC3E}">
        <p14:creationId xmlns:p14="http://schemas.microsoft.com/office/powerpoint/2010/main" val="3122030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hart 8">
            <a:extLst>
              <a:ext uri="{FF2B5EF4-FFF2-40B4-BE49-F238E27FC236}">
                <a16:creationId xmlns:a16="http://schemas.microsoft.com/office/drawing/2014/main" id="{B53321C9-96B7-4A58-9FBA-BFAC33A8D35E}"/>
              </a:ext>
            </a:extLst>
          </p:cNvPr>
          <p:cNvGraphicFramePr>
            <a:graphicFrameLocks/>
          </p:cNvGraphicFramePr>
          <p:nvPr>
            <p:extLst>
              <p:ext uri="{D42A27DB-BD31-4B8C-83A1-F6EECF244321}">
                <p14:modId xmlns:p14="http://schemas.microsoft.com/office/powerpoint/2010/main" val="3474515787"/>
              </p:ext>
            </p:extLst>
          </p:nvPr>
        </p:nvGraphicFramePr>
        <p:xfrm>
          <a:off x="6284333" y="3947860"/>
          <a:ext cx="4958603" cy="276193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Objeto 3" hidden="1">
            <a:extLst>
              <a:ext uri="{FF2B5EF4-FFF2-40B4-BE49-F238E27FC236}">
                <a16:creationId xmlns:a16="http://schemas.microsoft.com/office/drawing/2014/main" id="{612C927D-3748-4A4E-816E-96996793B4E7}"/>
              </a:ext>
            </a:extLst>
          </p:cNvPr>
          <p:cNvGraphicFramePr>
            <a:graphicFrameLocks noChangeAspect="1"/>
          </p:cNvGraphicFramePr>
          <p:nvPr>
            <p:custDataLst>
              <p:tags r:id="rId3"/>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9459" name="Diapositiva de think-cell" r:id="rId7" imgW="395" imgH="394" progId="TCLayout.ActiveDocument.1">
                  <p:embed/>
                </p:oleObj>
              </mc:Choice>
              <mc:Fallback>
                <p:oleObj name="Diapositiva de think-cell" r:id="rId7" imgW="395" imgH="394" progId="TCLayout.ActiveDocument.1">
                  <p:embed/>
                  <p:pic>
                    <p:nvPicPr>
                      <p:cNvPr id="4" name="Objeto 3" hidden="1">
                        <a:extLst>
                          <a:ext uri="{FF2B5EF4-FFF2-40B4-BE49-F238E27FC236}">
                            <a16:creationId xmlns:a16="http://schemas.microsoft.com/office/drawing/2014/main" id="{612C927D-3748-4A4E-816E-96996793B4E7}"/>
                          </a:ext>
                        </a:extLst>
                      </p:cNvPr>
                      <p:cNvPicPr/>
                      <p:nvPr/>
                    </p:nvPicPr>
                    <p:blipFill>
                      <a:blip r:embed="rId8"/>
                      <a:stretch>
                        <a:fillRect/>
                      </a:stretch>
                    </p:blipFill>
                    <p:spPr>
                      <a:xfrm>
                        <a:off x="2118" y="2118"/>
                        <a:ext cx="2117" cy="2117"/>
                      </a:xfrm>
                      <a:prstGeom prst="rect">
                        <a:avLst/>
                      </a:prstGeom>
                    </p:spPr>
                  </p:pic>
                </p:oleObj>
              </mc:Fallback>
            </mc:AlternateContent>
          </a:graphicData>
        </a:graphic>
      </p:graphicFrame>
      <p:sp>
        <p:nvSpPr>
          <p:cNvPr id="11" name="Rectángulo 10" hidden="1">
            <a:extLst>
              <a:ext uri="{FF2B5EF4-FFF2-40B4-BE49-F238E27FC236}">
                <a16:creationId xmlns:a16="http://schemas.microsoft.com/office/drawing/2014/main" id="{5CEDD324-C245-420B-A8DC-2EEF4B0D7FE7}"/>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sym typeface="Arial" panose="020B0604020202020204" pitchFamily="34" charset="0"/>
            </a:endParaRPr>
          </a:p>
        </p:txBody>
      </p:sp>
      <p:sp>
        <p:nvSpPr>
          <p:cNvPr id="16" name="Rectángulo 15" hidden="1">
            <a:extLst>
              <a:ext uri="{FF2B5EF4-FFF2-40B4-BE49-F238E27FC236}">
                <a16:creationId xmlns:a16="http://schemas.microsoft.com/office/drawing/2014/main" id="{A70850B7-190D-46D7-A7EC-2EC403037B82}"/>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endParaRPr>
          </a:p>
        </p:txBody>
      </p:sp>
      <p:sp>
        <p:nvSpPr>
          <p:cNvPr id="12" name="Título 1">
            <a:extLst>
              <a:ext uri="{FF2B5EF4-FFF2-40B4-BE49-F238E27FC236}">
                <a16:creationId xmlns:a16="http://schemas.microsoft.com/office/drawing/2014/main" id="{AC816F7C-C4E0-4936-9568-36996F5BE48D}"/>
              </a:ext>
            </a:extLst>
          </p:cNvPr>
          <p:cNvSpPr>
            <a:spLocks noGrp="1"/>
          </p:cNvSpPr>
          <p:nvPr>
            <p:ph type="title"/>
          </p:nvPr>
        </p:nvSpPr>
        <p:spPr>
          <a:xfrm>
            <a:off x="216936" y="46228"/>
            <a:ext cx="7555464" cy="946548"/>
          </a:xfrm>
          <a:noFill/>
        </p:spPr>
        <p:txBody>
          <a:bodyPr vert="horz"/>
          <a:lstStyle/>
          <a:p>
            <a:r>
              <a:rPr lang="es-GT" sz="2400" b="1" dirty="0">
                <a:solidFill>
                  <a:schemeClr val="bg1"/>
                </a:solidFill>
              </a:rPr>
              <a:t>La Pandemia del COVID-19 sigue influyendo en el comportamiento económico</a:t>
            </a:r>
          </a:p>
        </p:txBody>
      </p:sp>
      <p:graphicFrame>
        <p:nvGraphicFramePr>
          <p:cNvPr id="14" name="圖表 3">
            <a:extLst>
              <a:ext uri="{FF2B5EF4-FFF2-40B4-BE49-F238E27FC236}">
                <a16:creationId xmlns:a16="http://schemas.microsoft.com/office/drawing/2014/main" id="{405F0D36-83F2-4544-A575-5BE528369D7C}"/>
              </a:ext>
            </a:extLst>
          </p:cNvPr>
          <p:cNvGraphicFramePr>
            <a:graphicFrameLocks/>
          </p:cNvGraphicFramePr>
          <p:nvPr>
            <p:extLst>
              <p:ext uri="{D42A27DB-BD31-4B8C-83A1-F6EECF244321}">
                <p14:modId xmlns:p14="http://schemas.microsoft.com/office/powerpoint/2010/main" val="234322122"/>
              </p:ext>
            </p:extLst>
          </p:nvPr>
        </p:nvGraphicFramePr>
        <p:xfrm>
          <a:off x="1006037" y="1092198"/>
          <a:ext cx="4920390" cy="275667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5" name="圖表 3">
            <a:extLst>
              <a:ext uri="{FF2B5EF4-FFF2-40B4-BE49-F238E27FC236}">
                <a16:creationId xmlns:a16="http://schemas.microsoft.com/office/drawing/2014/main" id="{19BD802A-D7EA-45FA-8D94-F24C6807495E}"/>
              </a:ext>
            </a:extLst>
          </p:cNvPr>
          <p:cNvGraphicFramePr>
            <a:graphicFrameLocks/>
          </p:cNvGraphicFramePr>
          <p:nvPr>
            <p:extLst>
              <p:ext uri="{D42A27DB-BD31-4B8C-83A1-F6EECF244321}">
                <p14:modId xmlns:p14="http://schemas.microsoft.com/office/powerpoint/2010/main" val="3759411328"/>
              </p:ext>
            </p:extLst>
          </p:nvPr>
        </p:nvGraphicFramePr>
        <p:xfrm>
          <a:off x="6284333" y="1120413"/>
          <a:ext cx="4958603" cy="2761936"/>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7" name="Chart 2">
            <a:extLst>
              <a:ext uri="{FF2B5EF4-FFF2-40B4-BE49-F238E27FC236}">
                <a16:creationId xmlns:a16="http://schemas.microsoft.com/office/drawing/2014/main" id="{F36F2DBA-6FB7-4ABB-88BE-499E3EC819F1}"/>
              </a:ext>
            </a:extLst>
          </p:cNvPr>
          <p:cNvGraphicFramePr>
            <a:graphicFrameLocks/>
          </p:cNvGraphicFramePr>
          <p:nvPr>
            <p:extLst>
              <p:ext uri="{D42A27DB-BD31-4B8C-83A1-F6EECF244321}">
                <p14:modId xmlns:p14="http://schemas.microsoft.com/office/powerpoint/2010/main" val="1100322823"/>
              </p:ext>
            </p:extLst>
          </p:nvPr>
        </p:nvGraphicFramePr>
        <p:xfrm>
          <a:off x="1006037" y="3953126"/>
          <a:ext cx="4920390" cy="2756670"/>
        </p:xfrm>
        <a:graphic>
          <a:graphicData uri="http://schemas.openxmlformats.org/drawingml/2006/chart">
            <c:chart xmlns:c="http://schemas.openxmlformats.org/drawingml/2006/chart" xmlns:r="http://schemas.openxmlformats.org/officeDocument/2006/relationships" r:id="rId11"/>
          </a:graphicData>
        </a:graphic>
      </p:graphicFrame>
    </p:spTree>
    <p:custDataLst>
      <p:tags r:id="rId2"/>
    </p:custDataLst>
    <p:extLst>
      <p:ext uri="{BB962C8B-B14F-4D97-AF65-F5344CB8AC3E}">
        <p14:creationId xmlns:p14="http://schemas.microsoft.com/office/powerpoint/2010/main" val="31899847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79D4E864-CE83-4C56-A21D-2F5A32929A4F}"/>
              </a:ext>
            </a:extLst>
          </p:cNvPr>
          <p:cNvSpPr/>
          <p:nvPr/>
        </p:nvSpPr>
        <p:spPr>
          <a:xfrm>
            <a:off x="392020" y="0"/>
            <a:ext cx="7576323" cy="10454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GT" sz="2000" b="1" dirty="0"/>
          </a:p>
          <a:p>
            <a:r>
              <a:rPr lang="es-GT" sz="2000" b="1" dirty="0"/>
              <a:t>Simulación de la aplicación de medidas de confinamiento por la  variante del COVID-19 “Delta” en 2021 y sus efectos económicos</a:t>
            </a:r>
          </a:p>
          <a:p>
            <a:endParaRPr lang="es-GT" sz="2000" b="1" dirty="0"/>
          </a:p>
        </p:txBody>
      </p:sp>
      <p:graphicFrame>
        <p:nvGraphicFramePr>
          <p:cNvPr id="10" name="Gráfico 9">
            <a:extLst>
              <a:ext uri="{FF2B5EF4-FFF2-40B4-BE49-F238E27FC236}">
                <a16:creationId xmlns:a16="http://schemas.microsoft.com/office/drawing/2014/main" id="{775B7CB0-072B-4142-9608-2B3F357806E6}"/>
              </a:ext>
            </a:extLst>
          </p:cNvPr>
          <p:cNvGraphicFramePr/>
          <p:nvPr>
            <p:extLst>
              <p:ext uri="{D42A27DB-BD31-4B8C-83A1-F6EECF244321}">
                <p14:modId xmlns:p14="http://schemas.microsoft.com/office/powerpoint/2010/main" val="1057372176"/>
              </p:ext>
            </p:extLst>
          </p:nvPr>
        </p:nvGraphicFramePr>
        <p:xfrm>
          <a:off x="250189" y="3978000"/>
          <a:ext cx="5400000" cy="2880000"/>
        </p:xfrm>
        <a:graphic>
          <a:graphicData uri="http://schemas.openxmlformats.org/drawingml/2006/chart">
            <c:chart xmlns:c="http://schemas.openxmlformats.org/drawingml/2006/chart" xmlns:r="http://schemas.openxmlformats.org/officeDocument/2006/relationships" r:id="rId3"/>
          </a:graphicData>
        </a:graphic>
      </p:graphicFrame>
      <p:grpSp>
        <p:nvGrpSpPr>
          <p:cNvPr id="16" name="Grupo 15">
            <a:extLst>
              <a:ext uri="{FF2B5EF4-FFF2-40B4-BE49-F238E27FC236}">
                <a16:creationId xmlns:a16="http://schemas.microsoft.com/office/drawing/2014/main" id="{8DF03987-077E-4853-BB9F-C321FE159E56}"/>
              </a:ext>
            </a:extLst>
          </p:cNvPr>
          <p:cNvGrpSpPr/>
          <p:nvPr/>
        </p:nvGrpSpPr>
        <p:grpSpPr>
          <a:xfrm>
            <a:off x="5750448" y="1089175"/>
            <a:ext cx="6410946" cy="1543725"/>
            <a:chOff x="183904" y="5010459"/>
            <a:chExt cx="6464405" cy="1936762"/>
          </a:xfrm>
        </p:grpSpPr>
        <p:sp>
          <p:nvSpPr>
            <p:cNvPr id="17" name="Rectángulo 16">
              <a:extLst>
                <a:ext uri="{FF2B5EF4-FFF2-40B4-BE49-F238E27FC236}">
                  <a16:creationId xmlns:a16="http://schemas.microsoft.com/office/drawing/2014/main" id="{1C80CBCE-C14D-4959-B047-B96F69B9D045}"/>
                </a:ext>
              </a:extLst>
            </p:cNvPr>
            <p:cNvSpPr/>
            <p:nvPr/>
          </p:nvSpPr>
          <p:spPr>
            <a:xfrm>
              <a:off x="183904" y="5010459"/>
              <a:ext cx="6367187" cy="1878282"/>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GT" dirty="0"/>
            </a:p>
          </p:txBody>
        </p:sp>
        <p:sp>
          <p:nvSpPr>
            <p:cNvPr id="18" name="CuadroTexto 17">
              <a:extLst>
                <a:ext uri="{FF2B5EF4-FFF2-40B4-BE49-F238E27FC236}">
                  <a16:creationId xmlns:a16="http://schemas.microsoft.com/office/drawing/2014/main" id="{320F2CE7-6208-4B85-90D5-9FBE17574A8E}"/>
                </a:ext>
              </a:extLst>
            </p:cNvPr>
            <p:cNvSpPr txBox="1"/>
            <p:nvPr/>
          </p:nvSpPr>
          <p:spPr>
            <a:xfrm>
              <a:off x="990676" y="5093761"/>
              <a:ext cx="5657633" cy="1853460"/>
            </a:xfrm>
            <a:prstGeom prst="rect">
              <a:avLst/>
            </a:prstGeom>
            <a:noFill/>
          </p:spPr>
          <p:txBody>
            <a:bodyPr wrap="square" rtlCol="0">
              <a:spAutoFit/>
            </a:bodyPr>
            <a:lstStyle/>
            <a:p>
              <a:r>
                <a:rPr lang="es-MX" dirty="0">
                  <a:effectLst/>
                  <a:ea typeface="Times New Roman" panose="02020603050405020304" pitchFamily="18" charset="0"/>
                </a:rPr>
                <a:t>El índice de rigor de OXFORD (</a:t>
              </a:r>
              <a:r>
                <a:rPr lang="es-MX" dirty="0" err="1">
                  <a:effectLst/>
                  <a:ea typeface="Times New Roman" panose="02020603050405020304" pitchFamily="18" charset="0"/>
                </a:rPr>
                <a:t>stringency</a:t>
              </a:r>
              <a:r>
                <a:rPr lang="es-MX" dirty="0">
                  <a:effectLst/>
                  <a:ea typeface="Times New Roman" panose="02020603050405020304" pitchFamily="18" charset="0"/>
                </a:rPr>
                <a:t> índex) mide el nivel de rigurosidad en las medidas de respuesta para contener la propagación de la pandemia por parte de los gobiernos, mientras mayor es el índice más estrictas son las medidas. </a:t>
              </a:r>
              <a:endParaRPr lang="es-GT" dirty="0"/>
            </a:p>
          </p:txBody>
        </p:sp>
      </p:grpSp>
      <p:grpSp>
        <p:nvGrpSpPr>
          <p:cNvPr id="23" name="Grupo 22">
            <a:extLst>
              <a:ext uri="{FF2B5EF4-FFF2-40B4-BE49-F238E27FC236}">
                <a16:creationId xmlns:a16="http://schemas.microsoft.com/office/drawing/2014/main" id="{9EFE1664-45F5-450F-BB38-029A77F701D4}"/>
              </a:ext>
            </a:extLst>
          </p:cNvPr>
          <p:cNvGrpSpPr/>
          <p:nvPr/>
        </p:nvGrpSpPr>
        <p:grpSpPr>
          <a:xfrm>
            <a:off x="5750448" y="2652685"/>
            <a:ext cx="6310434" cy="1782901"/>
            <a:chOff x="183905" y="4931494"/>
            <a:chExt cx="6367187" cy="2236831"/>
          </a:xfrm>
          <a:solidFill>
            <a:schemeClr val="accent1">
              <a:lumMod val="20000"/>
              <a:lumOff val="80000"/>
            </a:schemeClr>
          </a:solidFill>
        </p:grpSpPr>
        <p:sp>
          <p:nvSpPr>
            <p:cNvPr id="24" name="Rectángulo 23">
              <a:extLst>
                <a:ext uri="{FF2B5EF4-FFF2-40B4-BE49-F238E27FC236}">
                  <a16:creationId xmlns:a16="http://schemas.microsoft.com/office/drawing/2014/main" id="{21282E34-A79E-4215-B73B-0A3ED8D6696C}"/>
                </a:ext>
              </a:extLst>
            </p:cNvPr>
            <p:cNvSpPr/>
            <p:nvPr/>
          </p:nvSpPr>
          <p:spPr>
            <a:xfrm>
              <a:off x="183905" y="4931494"/>
              <a:ext cx="6367187" cy="22009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GT" dirty="0"/>
            </a:p>
          </p:txBody>
        </p:sp>
        <p:sp>
          <p:nvSpPr>
            <p:cNvPr id="25" name="CuadroTexto 24">
              <a:extLst>
                <a:ext uri="{FF2B5EF4-FFF2-40B4-BE49-F238E27FC236}">
                  <a16:creationId xmlns:a16="http://schemas.microsoft.com/office/drawing/2014/main" id="{462EFF5D-1883-4C01-9428-C623F7E54355}"/>
                </a:ext>
              </a:extLst>
            </p:cNvPr>
            <p:cNvSpPr txBox="1"/>
            <p:nvPr/>
          </p:nvSpPr>
          <p:spPr>
            <a:xfrm>
              <a:off x="991200" y="4967344"/>
              <a:ext cx="5292801" cy="2200981"/>
            </a:xfrm>
            <a:prstGeom prst="rect">
              <a:avLst/>
            </a:prstGeom>
            <a:noFill/>
            <a:ln>
              <a:noFill/>
            </a:ln>
          </p:spPr>
          <p:txBody>
            <a:bodyPr wrap="square" rtlCol="0">
              <a:spAutoFit/>
            </a:bodyPr>
            <a:lstStyle/>
            <a:p>
              <a:pPr algn="just"/>
              <a:r>
                <a:rPr lang="es-MX" sz="1800" dirty="0">
                  <a:effectLst/>
                  <a:ea typeface="Times New Roman" panose="02020603050405020304" pitchFamily="18" charset="0"/>
                </a:rPr>
                <a:t>El índice se calcula en base a nueve métricas, entre las cuales se encuentran: el cierre de escuelas, el cierre de espacios de trabajo, la cancelación de eventos públicos, cierre de transporte público, restricciones para movilizarse internamente o en el exterior, entre otras. </a:t>
              </a:r>
              <a:endParaRPr lang="es-GT" dirty="0"/>
            </a:p>
          </p:txBody>
        </p:sp>
      </p:grpSp>
      <p:graphicFrame>
        <p:nvGraphicFramePr>
          <p:cNvPr id="5" name="Gráfico 4">
            <a:extLst>
              <a:ext uri="{FF2B5EF4-FFF2-40B4-BE49-F238E27FC236}">
                <a16:creationId xmlns:a16="http://schemas.microsoft.com/office/drawing/2014/main" id="{7804FAFE-EDB7-4DE6-9F9C-FB83205216B9}"/>
              </a:ext>
            </a:extLst>
          </p:cNvPr>
          <p:cNvGraphicFramePr/>
          <p:nvPr>
            <p:extLst>
              <p:ext uri="{D42A27DB-BD31-4B8C-83A1-F6EECF244321}">
                <p14:modId xmlns:p14="http://schemas.microsoft.com/office/powerpoint/2010/main" val="1721791654"/>
              </p:ext>
            </p:extLst>
          </p:nvPr>
        </p:nvGraphicFramePr>
        <p:xfrm>
          <a:off x="189355" y="978735"/>
          <a:ext cx="5400000" cy="2880000"/>
        </p:xfrm>
        <a:graphic>
          <a:graphicData uri="http://schemas.openxmlformats.org/drawingml/2006/chart">
            <c:chart xmlns:c="http://schemas.openxmlformats.org/drawingml/2006/chart" xmlns:r="http://schemas.openxmlformats.org/officeDocument/2006/relationships" r:id="rId4"/>
          </a:graphicData>
        </a:graphic>
      </p:graphicFrame>
      <p:grpSp>
        <p:nvGrpSpPr>
          <p:cNvPr id="21" name="Grupo 20">
            <a:extLst>
              <a:ext uri="{FF2B5EF4-FFF2-40B4-BE49-F238E27FC236}">
                <a16:creationId xmlns:a16="http://schemas.microsoft.com/office/drawing/2014/main" id="{ABEE7A8B-965F-46B7-A0A2-98727124E4BC}"/>
              </a:ext>
            </a:extLst>
          </p:cNvPr>
          <p:cNvGrpSpPr/>
          <p:nvPr/>
        </p:nvGrpSpPr>
        <p:grpSpPr>
          <a:xfrm>
            <a:off x="5739597" y="4473408"/>
            <a:ext cx="6332136" cy="1477328"/>
            <a:chOff x="183904" y="5010458"/>
            <a:chExt cx="6367187" cy="1878281"/>
          </a:xfrm>
        </p:grpSpPr>
        <p:sp>
          <p:nvSpPr>
            <p:cNvPr id="22" name="Rectángulo 21">
              <a:extLst>
                <a:ext uri="{FF2B5EF4-FFF2-40B4-BE49-F238E27FC236}">
                  <a16:creationId xmlns:a16="http://schemas.microsoft.com/office/drawing/2014/main" id="{9ABC4527-477C-4EDA-8BD6-4D4B2C41F4B7}"/>
                </a:ext>
              </a:extLst>
            </p:cNvPr>
            <p:cNvSpPr/>
            <p:nvPr/>
          </p:nvSpPr>
          <p:spPr>
            <a:xfrm>
              <a:off x="183904" y="5010458"/>
              <a:ext cx="6367187" cy="1878281"/>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GT" dirty="0"/>
            </a:p>
          </p:txBody>
        </p:sp>
        <p:sp>
          <p:nvSpPr>
            <p:cNvPr id="27" name="CuadroTexto 26">
              <a:extLst>
                <a:ext uri="{FF2B5EF4-FFF2-40B4-BE49-F238E27FC236}">
                  <a16:creationId xmlns:a16="http://schemas.microsoft.com/office/drawing/2014/main" id="{7C1FD1A5-1629-473F-9B9A-F7B92B53278E}"/>
                </a:ext>
              </a:extLst>
            </p:cNvPr>
            <p:cNvSpPr txBox="1"/>
            <p:nvPr/>
          </p:nvSpPr>
          <p:spPr>
            <a:xfrm>
              <a:off x="1010254" y="5037554"/>
              <a:ext cx="5349990" cy="1648617"/>
            </a:xfrm>
            <a:prstGeom prst="rect">
              <a:avLst/>
            </a:prstGeom>
            <a:noFill/>
          </p:spPr>
          <p:txBody>
            <a:bodyPr wrap="square" rtlCol="0">
              <a:spAutoFit/>
            </a:bodyPr>
            <a:lstStyle/>
            <a:p>
              <a:pPr algn="just"/>
              <a:r>
                <a:rPr lang="es-MX" dirty="0"/>
                <a:t>En base al impacto observado en la actividad económica en el 2020 por el confinamiento se determinó la posible respuesta en el crecimiento del 2021 ante aumentar las restricciones para contener la variante delta en los últimos meses del año. </a:t>
              </a:r>
              <a:endParaRPr lang="es-GT" dirty="0"/>
            </a:p>
          </p:txBody>
        </p:sp>
      </p:grpSp>
      <p:grpSp>
        <p:nvGrpSpPr>
          <p:cNvPr id="32" name="Grupo 31">
            <a:extLst>
              <a:ext uri="{FF2B5EF4-FFF2-40B4-BE49-F238E27FC236}">
                <a16:creationId xmlns:a16="http://schemas.microsoft.com/office/drawing/2014/main" id="{8165B364-6FAD-4D92-A594-0F8BF6163E05}"/>
              </a:ext>
            </a:extLst>
          </p:cNvPr>
          <p:cNvGrpSpPr/>
          <p:nvPr/>
        </p:nvGrpSpPr>
        <p:grpSpPr>
          <a:xfrm>
            <a:off x="5775713" y="6017134"/>
            <a:ext cx="6310434" cy="717411"/>
            <a:chOff x="55627" y="10987207"/>
            <a:chExt cx="6367187" cy="1917023"/>
          </a:xfrm>
          <a:solidFill>
            <a:schemeClr val="accent1">
              <a:lumMod val="20000"/>
              <a:lumOff val="80000"/>
            </a:schemeClr>
          </a:solidFill>
        </p:grpSpPr>
        <p:sp>
          <p:nvSpPr>
            <p:cNvPr id="33" name="Rectángulo 32">
              <a:extLst>
                <a:ext uri="{FF2B5EF4-FFF2-40B4-BE49-F238E27FC236}">
                  <a16:creationId xmlns:a16="http://schemas.microsoft.com/office/drawing/2014/main" id="{18C732F8-D64D-4474-A14C-656EEC99C920}"/>
                </a:ext>
              </a:extLst>
            </p:cNvPr>
            <p:cNvSpPr/>
            <p:nvPr/>
          </p:nvSpPr>
          <p:spPr>
            <a:xfrm>
              <a:off x="55627" y="10987207"/>
              <a:ext cx="6367187" cy="19170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GT" dirty="0"/>
            </a:p>
          </p:txBody>
        </p:sp>
        <p:sp>
          <p:nvSpPr>
            <p:cNvPr id="34" name="CuadroTexto 33">
              <a:extLst>
                <a:ext uri="{FF2B5EF4-FFF2-40B4-BE49-F238E27FC236}">
                  <a16:creationId xmlns:a16="http://schemas.microsoft.com/office/drawing/2014/main" id="{71076282-1927-499B-A52F-B735035C2EB0}"/>
                </a:ext>
              </a:extLst>
            </p:cNvPr>
            <p:cNvSpPr txBox="1"/>
            <p:nvPr/>
          </p:nvSpPr>
          <p:spPr>
            <a:xfrm>
              <a:off x="848378" y="11004576"/>
              <a:ext cx="5525412" cy="1727088"/>
            </a:xfrm>
            <a:prstGeom prst="rect">
              <a:avLst/>
            </a:prstGeom>
            <a:noFill/>
            <a:ln>
              <a:noFill/>
            </a:ln>
          </p:spPr>
          <p:txBody>
            <a:bodyPr wrap="square" rtlCol="0">
              <a:spAutoFit/>
            </a:bodyPr>
            <a:lstStyle/>
            <a:p>
              <a:pPr algn="just"/>
              <a:r>
                <a:rPr lang="es-MX" sz="1800" dirty="0">
                  <a:effectLst/>
                  <a:ea typeface="Times New Roman" panose="02020603050405020304" pitchFamily="18" charset="0"/>
                </a:rPr>
                <a:t>El índice de rigor en promedio de marzo a diciembre de 2020 fue de 78 y para 2021 ha sido en promedio de 50.0</a:t>
              </a:r>
              <a:endParaRPr lang="es-GT" dirty="0"/>
            </a:p>
          </p:txBody>
        </p:sp>
      </p:grpSp>
      <p:pic>
        <p:nvPicPr>
          <p:cNvPr id="2" name="Gráfico 1">
            <a:extLst>
              <a:ext uri="{FF2B5EF4-FFF2-40B4-BE49-F238E27FC236}">
                <a16:creationId xmlns:a16="http://schemas.microsoft.com/office/drawing/2014/main" id="{7B867B68-EDFB-43FE-A84F-9BB903FD87AB}"/>
              </a:ext>
            </a:extLst>
          </p:cNvPr>
          <p:cNvPicPr>
            <a:picLocks noChangeAspect="1"/>
          </p:cNvPicPr>
          <p:nvPr/>
        </p:nvPicPr>
        <p:blipFill>
          <a:blip r:embed="rId5">
            <a:duotone>
              <a:schemeClr val="accent5">
                <a:shade val="45000"/>
                <a:satMod val="135000"/>
              </a:schemeClr>
              <a:prstClr val="white"/>
            </a:duotone>
            <a:extLst>
              <a:ext uri="{96DAC541-7B7A-43D3-8B79-37D633B846F1}">
                <asvg:svgBlip xmlns:asvg="http://schemas.microsoft.com/office/drawing/2016/SVG/main" r:embed="rId6"/>
              </a:ext>
            </a:extLst>
          </a:blip>
          <a:stretch>
            <a:fillRect/>
          </a:stretch>
        </p:blipFill>
        <p:spPr>
          <a:xfrm>
            <a:off x="5886534" y="1582835"/>
            <a:ext cx="607850" cy="607850"/>
          </a:xfrm>
          <a:prstGeom prst="rect">
            <a:avLst/>
          </a:prstGeom>
        </p:spPr>
      </p:pic>
      <p:pic>
        <p:nvPicPr>
          <p:cNvPr id="3" name="Gráfico 2">
            <a:extLst>
              <a:ext uri="{FF2B5EF4-FFF2-40B4-BE49-F238E27FC236}">
                <a16:creationId xmlns:a16="http://schemas.microsoft.com/office/drawing/2014/main" id="{A21AB3D8-D31F-4FFD-BD86-0A12B08DE818}"/>
              </a:ext>
            </a:extLst>
          </p:cNvPr>
          <p:cNvPicPr>
            <a:picLocks noChangeAspect="1"/>
          </p:cNvPicPr>
          <p:nvPr/>
        </p:nvPicPr>
        <p:blipFill>
          <a:blip r:embed="rId7">
            <a:duotone>
              <a:prstClr val="black"/>
              <a:schemeClr val="accent5">
                <a:tint val="45000"/>
                <a:satMod val="400000"/>
              </a:schemeClr>
            </a:duotone>
            <a:extLst>
              <a:ext uri="{96DAC541-7B7A-43D3-8B79-37D633B846F1}">
                <asvg:svgBlip xmlns:asvg="http://schemas.microsoft.com/office/drawing/2016/SVG/main" r:embed="rId8"/>
              </a:ext>
            </a:extLst>
          </a:blip>
          <a:stretch>
            <a:fillRect/>
          </a:stretch>
        </p:blipFill>
        <p:spPr>
          <a:xfrm>
            <a:off x="5774927" y="3123063"/>
            <a:ext cx="733227" cy="735671"/>
          </a:xfrm>
          <a:prstGeom prst="rect">
            <a:avLst/>
          </a:prstGeom>
        </p:spPr>
      </p:pic>
      <p:pic>
        <p:nvPicPr>
          <p:cNvPr id="6" name="Gráfico 5">
            <a:extLst>
              <a:ext uri="{FF2B5EF4-FFF2-40B4-BE49-F238E27FC236}">
                <a16:creationId xmlns:a16="http://schemas.microsoft.com/office/drawing/2014/main" id="{F680DD8F-9929-4BF5-9CA9-EB5217356B3C}"/>
              </a:ext>
            </a:extLst>
          </p:cNvPr>
          <p:cNvPicPr>
            <a:picLocks noChangeAspect="1"/>
          </p:cNvPicPr>
          <p:nvPr/>
        </p:nvPicPr>
        <p:blipFill>
          <a:blip r:embed="rId9">
            <a:duotone>
              <a:prstClr val="black"/>
              <a:schemeClr val="accent5">
                <a:tint val="45000"/>
                <a:satMod val="400000"/>
              </a:schemeClr>
            </a:duotone>
            <a:extLst>
              <a:ext uri="{96DAC541-7B7A-43D3-8B79-37D633B846F1}">
                <asvg:svgBlip xmlns:asvg="http://schemas.microsoft.com/office/drawing/2016/SVG/main" r:embed="rId10"/>
              </a:ext>
            </a:extLst>
          </a:blip>
          <a:stretch>
            <a:fillRect/>
          </a:stretch>
        </p:blipFill>
        <p:spPr>
          <a:xfrm>
            <a:off x="5886534" y="4877389"/>
            <a:ext cx="575441" cy="575441"/>
          </a:xfrm>
          <a:prstGeom prst="rect">
            <a:avLst/>
          </a:prstGeom>
        </p:spPr>
      </p:pic>
      <p:pic>
        <p:nvPicPr>
          <p:cNvPr id="7" name="Gráfico 6">
            <a:extLst>
              <a:ext uri="{FF2B5EF4-FFF2-40B4-BE49-F238E27FC236}">
                <a16:creationId xmlns:a16="http://schemas.microsoft.com/office/drawing/2014/main" id="{F1B847B1-5957-4C99-AAE3-A280783CDFF5}"/>
              </a:ext>
            </a:extLst>
          </p:cNvPr>
          <p:cNvPicPr>
            <a:picLocks noChangeAspect="1"/>
          </p:cNvPicPr>
          <p:nvPr/>
        </p:nvPicPr>
        <p:blipFill>
          <a:blip r:embed="rId11">
            <a:duotone>
              <a:prstClr val="black"/>
              <a:schemeClr val="accent5">
                <a:tint val="45000"/>
                <a:satMod val="400000"/>
              </a:schemeClr>
            </a:duotone>
            <a:extLst>
              <a:ext uri="{96DAC541-7B7A-43D3-8B79-37D633B846F1}">
                <asvg:svgBlip xmlns:asvg="http://schemas.microsoft.com/office/drawing/2016/SVG/main" r:embed="rId12"/>
              </a:ext>
            </a:extLst>
          </a:blip>
          <a:stretch>
            <a:fillRect/>
          </a:stretch>
        </p:blipFill>
        <p:spPr>
          <a:xfrm>
            <a:off x="5920275" y="6096740"/>
            <a:ext cx="500117" cy="500117"/>
          </a:xfrm>
          <a:prstGeom prst="rect">
            <a:avLst/>
          </a:prstGeom>
        </p:spPr>
      </p:pic>
    </p:spTree>
    <p:extLst>
      <p:ext uri="{BB962C8B-B14F-4D97-AF65-F5344CB8AC3E}">
        <p14:creationId xmlns:p14="http://schemas.microsoft.com/office/powerpoint/2010/main" val="32791734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4BA1B820-837A-48D0-945A-042D59F4916A}"/>
              </a:ext>
            </a:extLst>
          </p:cNvPr>
          <p:cNvSpPr/>
          <p:nvPr/>
        </p:nvSpPr>
        <p:spPr>
          <a:xfrm>
            <a:off x="283561" y="-5485"/>
            <a:ext cx="7546474" cy="10245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GT" sz="2000" b="1" dirty="0"/>
              <a:t>Simulación de la aplicación de medidas de confinamiento por la  variante del COVID-19 “Delta” en 2021 y sus efectos económicos</a:t>
            </a:r>
          </a:p>
        </p:txBody>
      </p:sp>
      <p:sp>
        <p:nvSpPr>
          <p:cNvPr id="10" name="CuadroTexto 1">
            <a:extLst>
              <a:ext uri="{FF2B5EF4-FFF2-40B4-BE49-F238E27FC236}">
                <a16:creationId xmlns:a16="http://schemas.microsoft.com/office/drawing/2014/main" id="{F5F6CCB7-F6BD-4BB5-B639-0BD457A6875A}"/>
              </a:ext>
            </a:extLst>
          </p:cNvPr>
          <p:cNvSpPr txBox="1"/>
          <p:nvPr/>
        </p:nvSpPr>
        <p:spPr>
          <a:xfrm>
            <a:off x="308217" y="4465065"/>
            <a:ext cx="2839012" cy="393066"/>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s-GT" sz="1100" b="1" dirty="0"/>
              <a:t>Fuente: Dirección de Análisis y Política Fiscal</a:t>
            </a:r>
          </a:p>
          <a:p>
            <a:r>
              <a:rPr lang="es-GT" sz="1100" b="1" dirty="0"/>
              <a:t>IR</a:t>
            </a:r>
            <a:r>
              <a:rPr lang="es-GT" b="1" dirty="0"/>
              <a:t>: Índice de Rigor</a:t>
            </a:r>
            <a:endParaRPr lang="es-GT" sz="1100" b="1" dirty="0"/>
          </a:p>
        </p:txBody>
      </p:sp>
      <p:sp>
        <p:nvSpPr>
          <p:cNvPr id="15" name="CuadroTexto 14">
            <a:extLst>
              <a:ext uri="{FF2B5EF4-FFF2-40B4-BE49-F238E27FC236}">
                <a16:creationId xmlns:a16="http://schemas.microsoft.com/office/drawing/2014/main" id="{E9A6D4C3-201F-41E7-9C6E-740F65C76732}"/>
              </a:ext>
            </a:extLst>
          </p:cNvPr>
          <p:cNvSpPr txBox="1"/>
          <p:nvPr/>
        </p:nvSpPr>
        <p:spPr>
          <a:xfrm>
            <a:off x="60819" y="1085528"/>
            <a:ext cx="4104374" cy="738664"/>
          </a:xfrm>
          <a:prstGeom prst="rect">
            <a:avLst/>
          </a:prstGeom>
          <a:noFill/>
        </p:spPr>
        <p:txBody>
          <a:bodyPr wrap="square">
            <a:spAutoFit/>
          </a:bodyPr>
          <a:lstStyle/>
          <a:p>
            <a:pPr algn="ctr"/>
            <a:r>
              <a:rPr lang="es-GT" sz="1400" b="1" dirty="0">
                <a:solidFill>
                  <a:srgbClr val="0B3963"/>
                </a:solidFill>
              </a:rPr>
              <a:t>Escenarios del crecimiento de las variables macroeconómicas ante un rebrote de Pandemia en 2021 </a:t>
            </a:r>
            <a:r>
              <a:rPr lang="es-GT" sz="1400" dirty="0">
                <a:solidFill>
                  <a:srgbClr val="0B3963"/>
                </a:solidFill>
              </a:rPr>
              <a:t>(en porcentaje)</a:t>
            </a:r>
          </a:p>
        </p:txBody>
      </p:sp>
      <p:grpSp>
        <p:nvGrpSpPr>
          <p:cNvPr id="27" name="Grupo 26">
            <a:extLst>
              <a:ext uri="{FF2B5EF4-FFF2-40B4-BE49-F238E27FC236}">
                <a16:creationId xmlns:a16="http://schemas.microsoft.com/office/drawing/2014/main" id="{7D105B76-32C0-4E40-A795-CBCE0F776721}"/>
              </a:ext>
            </a:extLst>
          </p:cNvPr>
          <p:cNvGrpSpPr/>
          <p:nvPr/>
        </p:nvGrpSpPr>
        <p:grpSpPr>
          <a:xfrm>
            <a:off x="3984996" y="4636841"/>
            <a:ext cx="3983809" cy="2071769"/>
            <a:chOff x="5536648" y="4326896"/>
            <a:chExt cx="6253751" cy="2466124"/>
          </a:xfrm>
        </p:grpSpPr>
        <p:sp>
          <p:nvSpPr>
            <p:cNvPr id="20" name="Rectángulo 19">
              <a:extLst>
                <a:ext uri="{FF2B5EF4-FFF2-40B4-BE49-F238E27FC236}">
                  <a16:creationId xmlns:a16="http://schemas.microsoft.com/office/drawing/2014/main" id="{5E5B2238-1EFF-4B72-B0B7-D929818F417B}"/>
                </a:ext>
              </a:extLst>
            </p:cNvPr>
            <p:cNvSpPr/>
            <p:nvPr/>
          </p:nvSpPr>
          <p:spPr>
            <a:xfrm>
              <a:off x="5536648" y="4663439"/>
              <a:ext cx="6253751" cy="2129581"/>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GT" dirty="0"/>
            </a:p>
          </p:txBody>
        </p:sp>
        <p:sp>
          <p:nvSpPr>
            <p:cNvPr id="24" name="CuadroTexto 23">
              <a:extLst>
                <a:ext uri="{FF2B5EF4-FFF2-40B4-BE49-F238E27FC236}">
                  <a16:creationId xmlns:a16="http://schemas.microsoft.com/office/drawing/2014/main" id="{6B1E1BD1-CBD7-4174-A66E-7A7D57C0E78B}"/>
                </a:ext>
              </a:extLst>
            </p:cNvPr>
            <p:cNvSpPr txBox="1"/>
            <p:nvPr/>
          </p:nvSpPr>
          <p:spPr>
            <a:xfrm>
              <a:off x="6213950" y="4326896"/>
              <a:ext cx="5400259" cy="2048100"/>
            </a:xfrm>
            <a:prstGeom prst="rect">
              <a:avLst/>
            </a:prstGeom>
            <a:noFill/>
          </p:spPr>
          <p:txBody>
            <a:bodyPr wrap="square" rtlCol="0">
              <a:spAutoFit/>
            </a:bodyPr>
            <a:lstStyle/>
            <a:p>
              <a:pPr algn="just"/>
              <a:endParaRPr lang="es-GT" dirty="0"/>
            </a:p>
            <a:p>
              <a:pPr algn="just"/>
              <a:endParaRPr lang="es-GT" dirty="0"/>
            </a:p>
            <a:p>
              <a:pPr algn="just"/>
              <a:r>
                <a:rPr lang="es-GT" dirty="0"/>
                <a:t>Al obtener los resultados de las variables macroeconómicas para él índice de rigor de 60 y 70 se procedió a  estimar la carga tributaria para cada escenario.</a:t>
              </a:r>
            </a:p>
          </p:txBody>
        </p:sp>
        <p:sp>
          <p:nvSpPr>
            <p:cNvPr id="26" name="Elipse 25">
              <a:extLst>
                <a:ext uri="{FF2B5EF4-FFF2-40B4-BE49-F238E27FC236}">
                  <a16:creationId xmlns:a16="http://schemas.microsoft.com/office/drawing/2014/main" id="{68B099B4-A565-494C-9666-55834071C30E}"/>
                </a:ext>
              </a:extLst>
            </p:cNvPr>
            <p:cNvSpPr/>
            <p:nvPr/>
          </p:nvSpPr>
          <p:spPr>
            <a:xfrm>
              <a:off x="5720259" y="5529395"/>
              <a:ext cx="493690" cy="38159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GT"/>
            </a:p>
          </p:txBody>
        </p:sp>
      </p:grpSp>
      <p:graphicFrame>
        <p:nvGraphicFramePr>
          <p:cNvPr id="17" name="Gráfico 16">
            <a:extLst>
              <a:ext uri="{FF2B5EF4-FFF2-40B4-BE49-F238E27FC236}">
                <a16:creationId xmlns:a16="http://schemas.microsoft.com/office/drawing/2014/main" id="{86738F3B-2803-4B26-AC07-9C71C5E1AF17}"/>
              </a:ext>
            </a:extLst>
          </p:cNvPr>
          <p:cNvGraphicFramePr/>
          <p:nvPr>
            <p:extLst>
              <p:ext uri="{D42A27DB-BD31-4B8C-83A1-F6EECF244321}">
                <p14:modId xmlns:p14="http://schemas.microsoft.com/office/powerpoint/2010/main" val="3324433326"/>
              </p:ext>
            </p:extLst>
          </p:nvPr>
        </p:nvGraphicFramePr>
        <p:xfrm>
          <a:off x="4172365" y="1097512"/>
          <a:ext cx="4008928" cy="3604154"/>
        </p:xfrm>
        <a:graphic>
          <a:graphicData uri="http://schemas.openxmlformats.org/drawingml/2006/chart">
            <c:chart xmlns:c="http://schemas.openxmlformats.org/drawingml/2006/chart" xmlns:r="http://schemas.openxmlformats.org/officeDocument/2006/relationships" r:id="rId2"/>
          </a:graphicData>
        </a:graphic>
      </p:graphicFrame>
      <p:grpSp>
        <p:nvGrpSpPr>
          <p:cNvPr id="21" name="Grupo 20">
            <a:extLst>
              <a:ext uri="{FF2B5EF4-FFF2-40B4-BE49-F238E27FC236}">
                <a16:creationId xmlns:a16="http://schemas.microsoft.com/office/drawing/2014/main" id="{BB8E32DE-3B07-4188-872A-694ED023EBE8}"/>
              </a:ext>
            </a:extLst>
          </p:cNvPr>
          <p:cNvGrpSpPr/>
          <p:nvPr/>
        </p:nvGrpSpPr>
        <p:grpSpPr>
          <a:xfrm>
            <a:off x="146079" y="4892638"/>
            <a:ext cx="3726678" cy="1824120"/>
            <a:chOff x="5470281" y="4679683"/>
            <a:chExt cx="6253751" cy="2129581"/>
          </a:xfrm>
          <a:effectLst/>
        </p:grpSpPr>
        <p:sp>
          <p:nvSpPr>
            <p:cNvPr id="22" name="Rectángulo 21">
              <a:extLst>
                <a:ext uri="{FF2B5EF4-FFF2-40B4-BE49-F238E27FC236}">
                  <a16:creationId xmlns:a16="http://schemas.microsoft.com/office/drawing/2014/main" id="{A1C421F1-373E-47C6-B2C9-E4D2A8CB8FBD}"/>
                </a:ext>
              </a:extLst>
            </p:cNvPr>
            <p:cNvSpPr/>
            <p:nvPr/>
          </p:nvSpPr>
          <p:spPr>
            <a:xfrm>
              <a:off x="5470281" y="4679683"/>
              <a:ext cx="6253751" cy="2129581"/>
            </a:xfrm>
            <a:prstGeom prst="rect">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GT" sz="1400" dirty="0"/>
            </a:p>
          </p:txBody>
        </p:sp>
        <p:sp>
          <p:nvSpPr>
            <p:cNvPr id="28" name="CuadroTexto 27">
              <a:extLst>
                <a:ext uri="{FF2B5EF4-FFF2-40B4-BE49-F238E27FC236}">
                  <a16:creationId xmlns:a16="http://schemas.microsoft.com/office/drawing/2014/main" id="{9AD781A7-9A59-4B98-B248-C256960B07E6}"/>
                </a:ext>
              </a:extLst>
            </p:cNvPr>
            <p:cNvSpPr txBox="1"/>
            <p:nvPr/>
          </p:nvSpPr>
          <p:spPr>
            <a:xfrm>
              <a:off x="6356092" y="4994309"/>
              <a:ext cx="4983126" cy="1634887"/>
            </a:xfrm>
            <a:prstGeom prst="rect">
              <a:avLst/>
            </a:prstGeom>
            <a:noFill/>
          </p:spPr>
          <p:txBody>
            <a:bodyPr wrap="square" rtlCol="0">
              <a:spAutoFit/>
            </a:bodyPr>
            <a:lstStyle/>
            <a:p>
              <a:pPr algn="just"/>
              <a:r>
                <a:rPr lang="es-GT" sz="1700" dirty="0"/>
                <a:t>Para cada escenario de índice de rigor se obtuvo un valor del PIB e importaciones en base a la reacción estimada de cada actividad económica.</a:t>
              </a:r>
            </a:p>
          </p:txBody>
        </p:sp>
        <p:sp>
          <p:nvSpPr>
            <p:cNvPr id="30" name="Elipse 29">
              <a:extLst>
                <a:ext uri="{FF2B5EF4-FFF2-40B4-BE49-F238E27FC236}">
                  <a16:creationId xmlns:a16="http://schemas.microsoft.com/office/drawing/2014/main" id="{79A8B0E0-AFB6-495A-B4A2-0CA152764407}"/>
                </a:ext>
              </a:extLst>
            </p:cNvPr>
            <p:cNvSpPr/>
            <p:nvPr/>
          </p:nvSpPr>
          <p:spPr>
            <a:xfrm>
              <a:off x="5742365" y="5538968"/>
              <a:ext cx="548278" cy="375716"/>
            </a:xfrm>
            <a:prstGeom prst="ellipse">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GT" dirty="0"/>
            </a:p>
          </p:txBody>
        </p:sp>
      </p:grpSp>
      <p:graphicFrame>
        <p:nvGraphicFramePr>
          <p:cNvPr id="16" name="Gráfico 15">
            <a:extLst>
              <a:ext uri="{FF2B5EF4-FFF2-40B4-BE49-F238E27FC236}">
                <a16:creationId xmlns:a16="http://schemas.microsoft.com/office/drawing/2014/main" id="{0713A38F-B081-44D4-A3B8-25C91BDF81AA}"/>
              </a:ext>
            </a:extLst>
          </p:cNvPr>
          <p:cNvGraphicFramePr/>
          <p:nvPr/>
        </p:nvGraphicFramePr>
        <p:xfrm>
          <a:off x="101103" y="1799369"/>
          <a:ext cx="3896946" cy="2684395"/>
        </p:xfrm>
        <a:graphic>
          <a:graphicData uri="http://schemas.openxmlformats.org/drawingml/2006/chart">
            <c:chart xmlns:c="http://schemas.openxmlformats.org/drawingml/2006/chart" xmlns:r="http://schemas.openxmlformats.org/officeDocument/2006/relationships" r:id="rId3"/>
          </a:graphicData>
        </a:graphic>
      </p:graphicFrame>
      <p:sp>
        <p:nvSpPr>
          <p:cNvPr id="18" name="CuadroTexto 1">
            <a:extLst>
              <a:ext uri="{FF2B5EF4-FFF2-40B4-BE49-F238E27FC236}">
                <a16:creationId xmlns:a16="http://schemas.microsoft.com/office/drawing/2014/main" id="{01F2B595-7BB5-48A9-A248-2966650C6FF5}"/>
              </a:ext>
            </a:extLst>
          </p:cNvPr>
          <p:cNvSpPr txBox="1"/>
          <p:nvPr/>
        </p:nvSpPr>
        <p:spPr>
          <a:xfrm>
            <a:off x="7016870" y="3384178"/>
            <a:ext cx="923870" cy="321183"/>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s-GT" sz="1400" b="1" dirty="0"/>
              <a:t>68,641.3</a:t>
            </a:r>
          </a:p>
        </p:txBody>
      </p:sp>
      <p:sp>
        <p:nvSpPr>
          <p:cNvPr id="19" name="CuadroTexto 1">
            <a:extLst>
              <a:ext uri="{FF2B5EF4-FFF2-40B4-BE49-F238E27FC236}">
                <a16:creationId xmlns:a16="http://schemas.microsoft.com/office/drawing/2014/main" id="{7FBDDBE7-07EE-471F-AD39-78C7EED9958B}"/>
              </a:ext>
            </a:extLst>
          </p:cNvPr>
          <p:cNvSpPr txBox="1"/>
          <p:nvPr/>
        </p:nvSpPr>
        <p:spPr>
          <a:xfrm>
            <a:off x="5734097" y="3387539"/>
            <a:ext cx="923928" cy="321183"/>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s-GT" sz="1400" b="1" dirty="0">
                <a:solidFill>
                  <a:schemeClr val="bg1"/>
                </a:solidFill>
              </a:rPr>
              <a:t>69,883.4</a:t>
            </a:r>
          </a:p>
        </p:txBody>
      </p:sp>
      <p:graphicFrame>
        <p:nvGraphicFramePr>
          <p:cNvPr id="5" name="Gráfico 4">
            <a:extLst>
              <a:ext uri="{FF2B5EF4-FFF2-40B4-BE49-F238E27FC236}">
                <a16:creationId xmlns:a16="http://schemas.microsoft.com/office/drawing/2014/main" id="{0A121B52-F88C-4F68-90B4-C5DA1580F6A6}"/>
              </a:ext>
            </a:extLst>
          </p:cNvPr>
          <p:cNvGraphicFramePr/>
          <p:nvPr>
            <p:extLst>
              <p:ext uri="{D42A27DB-BD31-4B8C-83A1-F6EECF244321}">
                <p14:modId xmlns:p14="http://schemas.microsoft.com/office/powerpoint/2010/main" val="2563608666"/>
              </p:ext>
            </p:extLst>
          </p:nvPr>
        </p:nvGraphicFramePr>
        <p:xfrm>
          <a:off x="8108213" y="1115201"/>
          <a:ext cx="3739163" cy="3296794"/>
        </p:xfrm>
        <a:graphic>
          <a:graphicData uri="http://schemas.openxmlformats.org/drawingml/2006/chart">
            <c:chart xmlns:c="http://schemas.openxmlformats.org/drawingml/2006/chart" xmlns:r="http://schemas.openxmlformats.org/officeDocument/2006/relationships" r:id="rId4"/>
          </a:graphicData>
        </a:graphic>
      </p:graphicFrame>
      <p:grpSp>
        <p:nvGrpSpPr>
          <p:cNvPr id="23" name="Grupo 22">
            <a:extLst>
              <a:ext uri="{FF2B5EF4-FFF2-40B4-BE49-F238E27FC236}">
                <a16:creationId xmlns:a16="http://schemas.microsoft.com/office/drawing/2014/main" id="{676645D7-3BFC-4B20-95B5-CE8CCD673D73}"/>
              </a:ext>
            </a:extLst>
          </p:cNvPr>
          <p:cNvGrpSpPr/>
          <p:nvPr/>
        </p:nvGrpSpPr>
        <p:grpSpPr>
          <a:xfrm>
            <a:off x="8108213" y="4609910"/>
            <a:ext cx="3983809" cy="2084832"/>
            <a:chOff x="5536648" y="4326896"/>
            <a:chExt cx="6253751" cy="2481674"/>
          </a:xfrm>
        </p:grpSpPr>
        <p:sp>
          <p:nvSpPr>
            <p:cNvPr id="25" name="Rectángulo 24">
              <a:extLst>
                <a:ext uri="{FF2B5EF4-FFF2-40B4-BE49-F238E27FC236}">
                  <a16:creationId xmlns:a16="http://schemas.microsoft.com/office/drawing/2014/main" id="{B85EF6EC-15CC-4D79-97AD-0A8D8DF645BE}"/>
                </a:ext>
              </a:extLst>
            </p:cNvPr>
            <p:cNvSpPr/>
            <p:nvPr/>
          </p:nvSpPr>
          <p:spPr>
            <a:xfrm>
              <a:off x="5536648" y="4678989"/>
              <a:ext cx="6253751" cy="2129581"/>
            </a:xfrm>
            <a:prstGeom prst="rect">
              <a:avLst/>
            </a:prstGeom>
            <a:solidFill>
              <a:schemeClr val="accent4">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GT" dirty="0"/>
            </a:p>
          </p:txBody>
        </p:sp>
        <p:sp>
          <p:nvSpPr>
            <p:cNvPr id="29" name="CuadroTexto 28">
              <a:extLst>
                <a:ext uri="{FF2B5EF4-FFF2-40B4-BE49-F238E27FC236}">
                  <a16:creationId xmlns:a16="http://schemas.microsoft.com/office/drawing/2014/main" id="{9347373B-605E-4268-89A9-65706B595E24}"/>
                </a:ext>
              </a:extLst>
            </p:cNvPr>
            <p:cNvSpPr txBox="1"/>
            <p:nvPr/>
          </p:nvSpPr>
          <p:spPr>
            <a:xfrm>
              <a:off x="6213950" y="4326896"/>
              <a:ext cx="5400258" cy="2088257"/>
            </a:xfrm>
            <a:prstGeom prst="rect">
              <a:avLst/>
            </a:prstGeom>
            <a:noFill/>
          </p:spPr>
          <p:txBody>
            <a:bodyPr wrap="square" rtlCol="0">
              <a:spAutoFit/>
            </a:bodyPr>
            <a:lstStyle/>
            <a:p>
              <a:pPr algn="just"/>
              <a:endParaRPr lang="es-GT" dirty="0"/>
            </a:p>
            <a:p>
              <a:pPr algn="just"/>
              <a:endParaRPr lang="es-GT" dirty="0"/>
            </a:p>
            <a:p>
              <a:pPr algn="just"/>
              <a:r>
                <a:rPr lang="es-GT" dirty="0"/>
                <a:t>Déficit fiscal se deteriora al disminuir los ingresos fiscales producto de las restricciones sanitarias.</a:t>
              </a:r>
            </a:p>
          </p:txBody>
        </p:sp>
        <p:sp>
          <p:nvSpPr>
            <p:cNvPr id="31" name="Elipse 30">
              <a:extLst>
                <a:ext uri="{FF2B5EF4-FFF2-40B4-BE49-F238E27FC236}">
                  <a16:creationId xmlns:a16="http://schemas.microsoft.com/office/drawing/2014/main" id="{F7731032-9732-4435-86BA-AA691DA52439}"/>
                </a:ext>
              </a:extLst>
            </p:cNvPr>
            <p:cNvSpPr/>
            <p:nvPr/>
          </p:nvSpPr>
          <p:spPr>
            <a:xfrm>
              <a:off x="5712838" y="5529395"/>
              <a:ext cx="501111" cy="41364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GT"/>
            </a:p>
          </p:txBody>
        </p:sp>
      </p:grpSp>
      <p:sp>
        <p:nvSpPr>
          <p:cNvPr id="32" name="CuadroTexto 12">
            <a:extLst>
              <a:ext uri="{FF2B5EF4-FFF2-40B4-BE49-F238E27FC236}">
                <a16:creationId xmlns:a16="http://schemas.microsoft.com/office/drawing/2014/main" id="{6A27ADA7-A84B-4842-A7E3-5B9061DCD5E9}"/>
              </a:ext>
            </a:extLst>
          </p:cNvPr>
          <p:cNvSpPr txBox="1"/>
          <p:nvPr/>
        </p:nvSpPr>
        <p:spPr>
          <a:xfrm>
            <a:off x="8355609" y="4448798"/>
            <a:ext cx="1928374" cy="285665"/>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s-GT" sz="1100" b="1" dirty="0"/>
              <a:t>Fuente: Dirección de Política y Análisis Fiscal</a:t>
            </a:r>
          </a:p>
        </p:txBody>
      </p:sp>
    </p:spTree>
    <p:extLst>
      <p:ext uri="{BB962C8B-B14F-4D97-AF65-F5344CB8AC3E}">
        <p14:creationId xmlns:p14="http://schemas.microsoft.com/office/powerpoint/2010/main" val="28395595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D1ECC426-8EC0-7345-B01B-621D05D9A84E}"/>
              </a:ext>
            </a:extLst>
          </p:cNvPr>
          <p:cNvSpPr>
            <a:spLocks noGrp="1"/>
          </p:cNvSpPr>
          <p:nvPr>
            <p:ph type="ctrTitle"/>
          </p:nvPr>
        </p:nvSpPr>
        <p:spPr>
          <a:xfrm>
            <a:off x="1341120" y="1895566"/>
            <a:ext cx="9144000" cy="2387600"/>
          </a:xfrm>
        </p:spPr>
        <p:txBody>
          <a:bodyPr>
            <a:noAutofit/>
          </a:bodyPr>
          <a:lstStyle/>
          <a:p>
            <a:pPr algn="l"/>
            <a:r>
              <a:rPr lang="es-ES" dirty="0"/>
              <a:t>Supuestos y descripción </a:t>
            </a:r>
            <a:br>
              <a:rPr lang="es-ES" sz="4800" dirty="0"/>
            </a:br>
            <a:r>
              <a:rPr lang="es-ES" sz="4800" b="0" dirty="0"/>
              <a:t>general del Proyecto de Presupuesto 2022</a:t>
            </a:r>
            <a:endParaRPr lang="es-GT" sz="4800" dirty="0"/>
          </a:p>
        </p:txBody>
      </p:sp>
    </p:spTree>
    <p:extLst>
      <p:ext uri="{BB962C8B-B14F-4D97-AF65-F5344CB8AC3E}">
        <p14:creationId xmlns:p14="http://schemas.microsoft.com/office/powerpoint/2010/main" val="39422633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DB1942F-F6AE-1B49-9E2A-EB88398053CD}"/>
              </a:ext>
            </a:extLst>
          </p:cNvPr>
          <p:cNvSpPr>
            <a:spLocks noGrp="1"/>
          </p:cNvSpPr>
          <p:nvPr>
            <p:ph type="ctrTitle"/>
          </p:nvPr>
        </p:nvSpPr>
        <p:spPr>
          <a:xfrm>
            <a:off x="1367246" y="2235200"/>
            <a:ext cx="9144000" cy="2387600"/>
          </a:xfrm>
        </p:spPr>
        <p:txBody>
          <a:bodyPr>
            <a:normAutofit fontScale="90000"/>
          </a:bodyPr>
          <a:lstStyle/>
          <a:p>
            <a:pPr algn="l"/>
            <a:r>
              <a:rPr lang="es-ES" dirty="0"/>
              <a:t>Cuentas fiscales </a:t>
            </a:r>
            <a:br>
              <a:rPr lang="es-ES" dirty="0"/>
            </a:br>
            <a:r>
              <a:rPr lang="es-ES" b="0" dirty="0"/>
              <a:t>para 2021</a:t>
            </a:r>
            <a:br>
              <a:rPr lang="es-GT" dirty="0"/>
            </a:br>
            <a:endParaRPr lang="es-GT" dirty="0"/>
          </a:p>
        </p:txBody>
      </p:sp>
    </p:spTree>
    <p:extLst>
      <p:ext uri="{BB962C8B-B14F-4D97-AF65-F5344CB8AC3E}">
        <p14:creationId xmlns:p14="http://schemas.microsoft.com/office/powerpoint/2010/main" val="25061971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612C927D-3748-4A4E-816E-96996793B4E7}"/>
              </a:ext>
            </a:extLst>
          </p:cNvPr>
          <p:cNvGraphicFramePr>
            <a:graphicFrameLocks noChangeAspect="1"/>
          </p:cNvGraphicFramePr>
          <p:nvPr>
            <p:custDataLst>
              <p:tags r:id="rId3"/>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0483" name="Diapositiva de think-cell" r:id="rId6" imgW="395" imgH="394" progId="TCLayout.ActiveDocument.1">
                  <p:embed/>
                </p:oleObj>
              </mc:Choice>
              <mc:Fallback>
                <p:oleObj name="Diapositiva de think-cell" r:id="rId6" imgW="395" imgH="394" progId="TCLayout.ActiveDocument.1">
                  <p:embed/>
                  <p:pic>
                    <p:nvPicPr>
                      <p:cNvPr id="4" name="Objeto 3" hidden="1">
                        <a:extLst>
                          <a:ext uri="{FF2B5EF4-FFF2-40B4-BE49-F238E27FC236}">
                            <a16:creationId xmlns:a16="http://schemas.microsoft.com/office/drawing/2014/main" id="{612C927D-3748-4A4E-816E-96996793B4E7}"/>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11" name="Rectángulo 10" hidden="1">
            <a:extLst>
              <a:ext uri="{FF2B5EF4-FFF2-40B4-BE49-F238E27FC236}">
                <a16:creationId xmlns:a16="http://schemas.microsoft.com/office/drawing/2014/main" id="{5CEDD324-C245-420B-A8DC-2EEF4B0D7FE7}"/>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sym typeface="Arial" panose="020B0604020202020204" pitchFamily="34" charset="0"/>
            </a:endParaRPr>
          </a:p>
        </p:txBody>
      </p:sp>
      <p:sp>
        <p:nvSpPr>
          <p:cNvPr id="16" name="Rectángulo 15" hidden="1">
            <a:extLst>
              <a:ext uri="{FF2B5EF4-FFF2-40B4-BE49-F238E27FC236}">
                <a16:creationId xmlns:a16="http://schemas.microsoft.com/office/drawing/2014/main" id="{A70850B7-190D-46D7-A7EC-2EC403037B82}"/>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endParaRPr>
          </a:p>
        </p:txBody>
      </p:sp>
      <p:sp>
        <p:nvSpPr>
          <p:cNvPr id="18" name="Título 1">
            <a:extLst>
              <a:ext uri="{FF2B5EF4-FFF2-40B4-BE49-F238E27FC236}">
                <a16:creationId xmlns:a16="http://schemas.microsoft.com/office/drawing/2014/main" id="{138826A5-4EBC-4884-A039-681D45109432}"/>
              </a:ext>
            </a:extLst>
          </p:cNvPr>
          <p:cNvSpPr>
            <a:spLocks noGrp="1"/>
          </p:cNvSpPr>
          <p:nvPr>
            <p:ph type="title"/>
          </p:nvPr>
        </p:nvSpPr>
        <p:spPr>
          <a:xfrm>
            <a:off x="360628" y="19380"/>
            <a:ext cx="5556847" cy="1023461"/>
          </a:xfrm>
          <a:noFill/>
        </p:spPr>
        <p:txBody>
          <a:bodyPr vert="horz">
            <a:normAutofit/>
          </a:bodyPr>
          <a:lstStyle/>
          <a:p>
            <a:r>
              <a:rPr lang="es-GT" sz="3200" b="1" dirty="0">
                <a:solidFill>
                  <a:schemeClr val="bg1"/>
                </a:solidFill>
              </a:rPr>
              <a:t>Perspectivas macroeconómicas</a:t>
            </a:r>
          </a:p>
        </p:txBody>
      </p:sp>
      <p:sp>
        <p:nvSpPr>
          <p:cNvPr id="24" name="CuadroTexto 23">
            <a:extLst>
              <a:ext uri="{FF2B5EF4-FFF2-40B4-BE49-F238E27FC236}">
                <a16:creationId xmlns:a16="http://schemas.microsoft.com/office/drawing/2014/main" id="{EBAEF374-7C28-41C9-A23A-FC34499E04E6}"/>
              </a:ext>
            </a:extLst>
          </p:cNvPr>
          <p:cNvSpPr txBox="1"/>
          <p:nvPr/>
        </p:nvSpPr>
        <p:spPr>
          <a:xfrm>
            <a:off x="2192442" y="1170232"/>
            <a:ext cx="7450066" cy="461665"/>
          </a:xfrm>
          <a:prstGeom prst="rect">
            <a:avLst/>
          </a:prstGeom>
          <a:noFill/>
        </p:spPr>
        <p:txBody>
          <a:bodyPr wrap="square" rtlCol="0">
            <a:spAutoFit/>
          </a:bodyPr>
          <a:lstStyle/>
          <a:p>
            <a:pPr algn="ctr"/>
            <a:r>
              <a:rPr lang="es-GT" sz="2400" b="1" dirty="0">
                <a:solidFill>
                  <a:srgbClr val="0B3963"/>
                </a:solidFill>
              </a:rPr>
              <a:t>Millones de Quetzales y Variación en Porcentajes </a:t>
            </a:r>
          </a:p>
        </p:txBody>
      </p:sp>
      <p:sp>
        <p:nvSpPr>
          <p:cNvPr id="13" name="CuadroTexto 12">
            <a:extLst>
              <a:ext uri="{FF2B5EF4-FFF2-40B4-BE49-F238E27FC236}">
                <a16:creationId xmlns:a16="http://schemas.microsoft.com/office/drawing/2014/main" id="{06603DC2-0EB4-4080-B3C9-96B6FD18A3B1}"/>
              </a:ext>
            </a:extLst>
          </p:cNvPr>
          <p:cNvSpPr txBox="1"/>
          <p:nvPr/>
        </p:nvSpPr>
        <p:spPr>
          <a:xfrm>
            <a:off x="1030188" y="6599805"/>
            <a:ext cx="4012009" cy="276999"/>
          </a:xfrm>
          <a:prstGeom prst="rect">
            <a:avLst/>
          </a:prstGeom>
          <a:noFill/>
        </p:spPr>
        <p:txBody>
          <a:bodyPr wrap="square">
            <a:spAutoFit/>
          </a:bodyPr>
          <a:lstStyle/>
          <a:p>
            <a:r>
              <a:rPr lang="es-GT" sz="1200" b="1" dirty="0"/>
              <a:t>Fuente: Banco de Guatemala, actualización julio 2021</a:t>
            </a:r>
          </a:p>
        </p:txBody>
      </p:sp>
      <p:graphicFrame>
        <p:nvGraphicFramePr>
          <p:cNvPr id="14" name="Tabla 4">
            <a:extLst>
              <a:ext uri="{FF2B5EF4-FFF2-40B4-BE49-F238E27FC236}">
                <a16:creationId xmlns:a16="http://schemas.microsoft.com/office/drawing/2014/main" id="{EAC701D7-C999-4E27-95B1-C38F1C3A20DD}"/>
              </a:ext>
            </a:extLst>
          </p:cNvPr>
          <p:cNvGraphicFramePr>
            <a:graphicFrameLocks noGrp="1"/>
          </p:cNvGraphicFramePr>
          <p:nvPr>
            <p:extLst>
              <p:ext uri="{D42A27DB-BD31-4B8C-83A1-F6EECF244321}">
                <p14:modId xmlns:p14="http://schemas.microsoft.com/office/powerpoint/2010/main" val="3881292527"/>
              </p:ext>
            </p:extLst>
          </p:nvPr>
        </p:nvGraphicFramePr>
        <p:xfrm>
          <a:off x="1144842" y="1759289"/>
          <a:ext cx="9545266" cy="4815813"/>
        </p:xfrm>
        <a:graphic>
          <a:graphicData uri="http://schemas.openxmlformats.org/drawingml/2006/table">
            <a:tbl>
              <a:tblPr firstRow="1" bandRow="1">
                <a:tableStyleId>{69012ECD-51FC-41F1-AA8D-1B2483CD663E}</a:tableStyleId>
              </a:tblPr>
              <a:tblGrid>
                <a:gridCol w="2719256">
                  <a:extLst>
                    <a:ext uri="{9D8B030D-6E8A-4147-A177-3AD203B41FA5}">
                      <a16:colId xmlns:a16="http://schemas.microsoft.com/office/drawing/2014/main" val="4250551680"/>
                    </a:ext>
                  </a:extLst>
                </a:gridCol>
                <a:gridCol w="1365202">
                  <a:extLst>
                    <a:ext uri="{9D8B030D-6E8A-4147-A177-3AD203B41FA5}">
                      <a16:colId xmlns:a16="http://schemas.microsoft.com/office/drawing/2014/main" val="1711621162"/>
                    </a:ext>
                  </a:extLst>
                </a:gridCol>
                <a:gridCol w="1365202">
                  <a:extLst>
                    <a:ext uri="{9D8B030D-6E8A-4147-A177-3AD203B41FA5}">
                      <a16:colId xmlns:a16="http://schemas.microsoft.com/office/drawing/2014/main" val="2781292659"/>
                    </a:ext>
                  </a:extLst>
                </a:gridCol>
                <a:gridCol w="1365202">
                  <a:extLst>
                    <a:ext uri="{9D8B030D-6E8A-4147-A177-3AD203B41FA5}">
                      <a16:colId xmlns:a16="http://schemas.microsoft.com/office/drawing/2014/main" val="1795379704"/>
                    </a:ext>
                  </a:extLst>
                </a:gridCol>
                <a:gridCol w="1365202">
                  <a:extLst>
                    <a:ext uri="{9D8B030D-6E8A-4147-A177-3AD203B41FA5}">
                      <a16:colId xmlns:a16="http://schemas.microsoft.com/office/drawing/2014/main" val="882619155"/>
                    </a:ext>
                  </a:extLst>
                </a:gridCol>
                <a:gridCol w="1365202">
                  <a:extLst>
                    <a:ext uri="{9D8B030D-6E8A-4147-A177-3AD203B41FA5}">
                      <a16:colId xmlns:a16="http://schemas.microsoft.com/office/drawing/2014/main" val="4213354239"/>
                    </a:ext>
                  </a:extLst>
                </a:gridCol>
              </a:tblGrid>
              <a:tr h="386071">
                <a:tc rowSpan="2">
                  <a:txBody>
                    <a:bodyPr/>
                    <a:lstStyle/>
                    <a:p>
                      <a:r>
                        <a:rPr lang="es-GT" dirty="0"/>
                        <a:t>Variables en millonesz</a:t>
                      </a:r>
                    </a:p>
                  </a:txBody>
                  <a:tcPr anchor="ctr">
                    <a:lnL w="1270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B3963"/>
                    </a:solidFill>
                  </a:tcPr>
                </a:tc>
                <a:tc rowSpan="2">
                  <a:txBody>
                    <a:bodyPr/>
                    <a:lstStyle/>
                    <a:p>
                      <a:pPr algn="ctr"/>
                      <a:r>
                        <a:rPr lang="es-GT" dirty="0"/>
                        <a:t>2020</a:t>
                      </a:r>
                    </a:p>
                  </a:txBody>
                  <a:tcPr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B3963"/>
                    </a:solidFill>
                  </a:tcPr>
                </a:tc>
                <a:tc>
                  <a:txBody>
                    <a:bodyPr/>
                    <a:lstStyle/>
                    <a:p>
                      <a:pPr algn="ctr"/>
                      <a:r>
                        <a:rPr lang="es-GT" dirty="0"/>
                        <a:t>2021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B3963"/>
                    </a:solidFill>
                  </a:tcPr>
                </a:tc>
                <a:tc gridSpan="3">
                  <a:txBody>
                    <a:bodyPr/>
                    <a:lstStyle/>
                    <a:p>
                      <a:pPr algn="ctr"/>
                      <a:r>
                        <a:rPr lang="es-GT" dirty="0"/>
                        <a:t>2022</a:t>
                      </a:r>
                    </a:p>
                  </a:txBody>
                  <a:tcPr>
                    <a:lnL w="12700" cap="flat" cmpd="sng" algn="ctr">
                      <a:solidFill>
                        <a:schemeClr val="tx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B3963"/>
                    </a:solidFill>
                  </a:tcPr>
                </a:tc>
                <a:tc hMerge="1">
                  <a:txBody>
                    <a:bodyPr/>
                    <a:lstStyle/>
                    <a:p>
                      <a:pPr algn="ctr"/>
                      <a:endParaRPr lang="es-GT" dirty="0"/>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hMerge="1">
                  <a:txBody>
                    <a:bodyPr/>
                    <a:lstStyle/>
                    <a:p>
                      <a:pPr algn="ctr"/>
                      <a:endParaRPr lang="es-GT" dirty="0"/>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223435839"/>
                  </a:ext>
                </a:extLst>
              </a:tr>
              <a:tr h="386071">
                <a:tc vMerge="1">
                  <a:txBody>
                    <a:bodyPr/>
                    <a:lstStyle/>
                    <a:p>
                      <a:endParaRPr lang="es-GT"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vMerge="1">
                  <a:txBody>
                    <a:bodyPr/>
                    <a:lstStyle/>
                    <a:p>
                      <a:endParaRPr lang="es-GT"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GT" b="1" dirty="0">
                          <a:solidFill>
                            <a:schemeClr val="bg1"/>
                          </a:solidFill>
                        </a:rPr>
                        <a:t>baj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B3963"/>
                    </a:solidFill>
                  </a:tcPr>
                </a:tc>
                <a:tc>
                  <a:txBody>
                    <a:bodyPr/>
                    <a:lstStyle/>
                    <a:p>
                      <a:pPr algn="ctr"/>
                      <a:r>
                        <a:rPr lang="es-GT" b="1" dirty="0">
                          <a:solidFill>
                            <a:schemeClr val="bg1"/>
                          </a:solidFill>
                        </a:rPr>
                        <a:t>baj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B3963"/>
                    </a:solidFill>
                  </a:tcPr>
                </a:tc>
                <a:tc>
                  <a:txBody>
                    <a:bodyPr/>
                    <a:lstStyle/>
                    <a:p>
                      <a:pPr algn="ctr"/>
                      <a:r>
                        <a:rPr lang="es-GT" b="1" dirty="0">
                          <a:solidFill>
                            <a:schemeClr val="bg1"/>
                          </a:solidFill>
                        </a:rPr>
                        <a:t>medi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B3963"/>
                    </a:solidFill>
                  </a:tcPr>
                </a:tc>
                <a:tc>
                  <a:txBody>
                    <a:bodyPr/>
                    <a:lstStyle/>
                    <a:p>
                      <a:pPr algn="ctr"/>
                      <a:r>
                        <a:rPr lang="es-GT" b="1" dirty="0">
                          <a:solidFill>
                            <a:schemeClr val="bg1"/>
                          </a:solidFill>
                        </a:rPr>
                        <a:t>alto</a:t>
                      </a:r>
                    </a:p>
                  </a:txBody>
                  <a:tcPr>
                    <a:lnL w="12700" cap="flat" cmpd="sng" algn="ctr">
                      <a:solidFill>
                        <a:schemeClr val="tx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B3963"/>
                    </a:solidFill>
                  </a:tcPr>
                </a:tc>
                <a:extLst>
                  <a:ext uri="{0D108BD9-81ED-4DB2-BD59-A6C34878D82A}">
                    <a16:rowId xmlns:a16="http://schemas.microsoft.com/office/drawing/2014/main" val="3947713643"/>
                  </a:ext>
                </a:extLst>
              </a:tr>
              <a:tr h="193036">
                <a:tc rowSpan="2">
                  <a:txBody>
                    <a:bodyPr/>
                    <a:lstStyle/>
                    <a:p>
                      <a:r>
                        <a:rPr lang="es-GT" dirty="0"/>
                        <a:t>PIB real Q.</a:t>
                      </a:r>
                    </a:p>
                    <a:p>
                      <a:r>
                        <a:rPr lang="es-GT" b="1" dirty="0"/>
                        <a:t>    Variación %</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GT" sz="1800" dirty="0"/>
                        <a:t>506,368.0</a:t>
                      </a:r>
                    </a:p>
                  </a:txBody>
                  <a:tcPr anchor="ctr">
                    <a:lnL w="1270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s-GT" sz="1800" b="0" i="0" u="none" strike="noStrike" dirty="0">
                          <a:solidFill>
                            <a:srgbClr val="000000"/>
                          </a:solidFill>
                          <a:effectLst/>
                          <a:latin typeface="Calibri" panose="020F0502020204030204" pitchFamily="34" charset="0"/>
                        </a:rPr>
                        <a:t>526,688.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fontAlgn="b"/>
                      <a:r>
                        <a:rPr lang="es-GT" sz="1800" b="0" i="0" u="none" strike="noStrike" dirty="0">
                          <a:solidFill>
                            <a:srgbClr val="000000"/>
                          </a:solidFill>
                          <a:effectLst/>
                          <a:latin typeface="Calibri" panose="020F0502020204030204" pitchFamily="34" charset="0"/>
                        </a:rPr>
                        <a:t>550,350.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fontAlgn="b"/>
                      <a:r>
                        <a:rPr lang="es-GT" sz="1800" b="0" i="0" u="none" strike="noStrike" dirty="0">
                          <a:solidFill>
                            <a:srgbClr val="000000"/>
                          </a:solidFill>
                          <a:effectLst/>
                          <a:latin typeface="Calibri" panose="020F0502020204030204" pitchFamily="34" charset="0"/>
                        </a:rPr>
                        <a:t>555,668.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s-GT" sz="1800" b="0" i="0" u="none" strike="noStrike" dirty="0">
                          <a:solidFill>
                            <a:srgbClr val="000000"/>
                          </a:solidFill>
                          <a:effectLst/>
                          <a:latin typeface="Calibri" panose="020F0502020204030204" pitchFamily="34" charset="0"/>
                        </a:rPr>
                        <a:t>560,985.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82551297"/>
                  </a:ext>
                </a:extLst>
              </a:tr>
              <a:tr h="193036">
                <a:tc vMerge="1">
                  <a:txBody>
                    <a:bodyPr/>
                    <a:lstStyle/>
                    <a:p>
                      <a:endParaRPr lang="es-GT"/>
                    </a:p>
                  </a:txBody>
                  <a:tcPr>
                    <a:lnT w="12700" cap="flat" cmpd="sng" algn="ctr">
                      <a:solidFill>
                        <a:schemeClr val="accent1"/>
                      </a:solidFill>
                      <a:prstDash val="solid"/>
                      <a:round/>
                      <a:headEnd type="none" w="med" len="med"/>
                      <a:tailEnd type="none" w="med" len="med"/>
                    </a:lnT>
                  </a:tcPr>
                </a:tc>
                <a:tc>
                  <a:txBody>
                    <a:bodyPr/>
                    <a:lstStyle/>
                    <a:p>
                      <a:pPr algn="ctr"/>
                      <a:r>
                        <a:rPr lang="es-GT" sz="1800" b="1" dirty="0"/>
                        <a:t>-1.5</a:t>
                      </a:r>
                    </a:p>
                  </a:txBody>
                  <a:tcPr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s-GT" sz="1800" b="1" i="0" u="none" strike="noStrike" dirty="0">
                          <a:solidFill>
                            <a:srgbClr val="000000"/>
                          </a:solidFill>
                          <a:effectLst/>
                          <a:latin typeface="Calibri" panose="020F0502020204030204" pitchFamily="34" charset="0"/>
                        </a:rPr>
                        <a:t>4.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fontAlgn="b"/>
                      <a:r>
                        <a:rPr lang="es-GT" sz="1800" b="1" i="0" u="none" strike="noStrike" dirty="0">
                          <a:solidFill>
                            <a:srgbClr val="000000"/>
                          </a:solidFill>
                          <a:effectLst/>
                          <a:latin typeface="Calibri" panose="020F0502020204030204" pitchFamily="34" charset="0"/>
                        </a:rPr>
                        <a:t>3.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fontAlgn="b"/>
                      <a:r>
                        <a:rPr lang="es-GT" sz="1800" b="1" i="0" u="none" strike="noStrike">
                          <a:solidFill>
                            <a:srgbClr val="000000"/>
                          </a:solidFill>
                          <a:effectLst/>
                          <a:latin typeface="Calibri" panose="020F0502020204030204" pitchFamily="34" charset="0"/>
                        </a:rPr>
                        <a:t>4.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s-GT" sz="1800" b="1" i="0" u="none" strike="noStrike" dirty="0">
                          <a:solidFill>
                            <a:srgbClr val="000000"/>
                          </a:solidFill>
                          <a:effectLst/>
                          <a:latin typeface="Calibri" panose="020F0502020204030204" pitchFamily="34" charset="0"/>
                        </a:rPr>
                        <a:t>5.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72248052"/>
                  </a:ext>
                </a:extLst>
              </a:tr>
              <a:tr h="193036">
                <a:tc rowSpan="2">
                  <a:txBody>
                    <a:bodyPr/>
                    <a:lstStyle/>
                    <a:p>
                      <a:r>
                        <a:rPr lang="es-GT" dirty="0"/>
                        <a:t>PIB nominal Q.</a:t>
                      </a:r>
                    </a:p>
                    <a:p>
                      <a:r>
                        <a:rPr lang="es-GT" b="1" dirty="0"/>
                        <a:t>    Variación %</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GT" sz="1800" dirty="0"/>
                        <a:t>599,235.8</a:t>
                      </a:r>
                    </a:p>
                  </a:txBody>
                  <a:tcPr anchor="ctr">
                    <a:lnL w="1270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tcPr>
                </a:tc>
                <a:tc>
                  <a:txBody>
                    <a:bodyPr/>
                    <a:lstStyle/>
                    <a:p>
                      <a:pPr algn="ctr" fontAlgn="b"/>
                      <a:r>
                        <a:rPr lang="es-GT" sz="1800" b="0" i="0" u="none" strike="noStrike" dirty="0">
                          <a:solidFill>
                            <a:srgbClr val="000000"/>
                          </a:solidFill>
                          <a:effectLst/>
                          <a:latin typeface="Calibri" panose="020F0502020204030204" pitchFamily="34" charset="0"/>
                        </a:rPr>
                        <a:t>645,421.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accent5">
                        <a:lumMod val="40000"/>
                        <a:lumOff val="60000"/>
                      </a:schemeClr>
                    </a:solidFill>
                  </a:tcPr>
                </a:tc>
                <a:tc>
                  <a:txBody>
                    <a:bodyPr/>
                    <a:lstStyle/>
                    <a:p>
                      <a:pPr algn="ctr" fontAlgn="b"/>
                      <a:r>
                        <a:rPr lang="es-GT" sz="1800" b="0" i="0" u="none" strike="noStrike" dirty="0">
                          <a:solidFill>
                            <a:srgbClr val="000000"/>
                          </a:solidFill>
                          <a:effectLst/>
                          <a:latin typeface="Calibri" panose="020F0502020204030204" pitchFamily="34" charset="0"/>
                        </a:rPr>
                        <a:t>695,829.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accent5">
                        <a:lumMod val="40000"/>
                        <a:lumOff val="60000"/>
                      </a:schemeClr>
                    </a:solidFill>
                  </a:tcPr>
                </a:tc>
                <a:tc>
                  <a:txBody>
                    <a:bodyPr/>
                    <a:lstStyle/>
                    <a:p>
                      <a:pPr algn="ctr" fontAlgn="b"/>
                      <a:r>
                        <a:rPr lang="es-GT" sz="1800" b="0" i="0" u="none" strike="noStrike">
                          <a:solidFill>
                            <a:srgbClr val="000000"/>
                          </a:solidFill>
                          <a:effectLst/>
                          <a:latin typeface="Calibri" panose="020F0502020204030204" pitchFamily="34" charset="0"/>
                        </a:rPr>
                        <a:t>702,451.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tcPr>
                </a:tc>
                <a:tc>
                  <a:txBody>
                    <a:bodyPr/>
                    <a:lstStyle/>
                    <a:p>
                      <a:pPr algn="ctr" fontAlgn="b"/>
                      <a:r>
                        <a:rPr lang="es-GT" sz="1800" b="0" i="0" u="none" strike="noStrike" dirty="0">
                          <a:solidFill>
                            <a:srgbClr val="000000"/>
                          </a:solidFill>
                          <a:effectLst/>
                          <a:latin typeface="Calibri" panose="020F0502020204030204" pitchFamily="34" charset="0"/>
                        </a:rPr>
                        <a:t>708,973.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75837060"/>
                  </a:ext>
                </a:extLst>
              </a:tr>
              <a:tr h="193036">
                <a:tc vMerge="1">
                  <a:txBody>
                    <a:bodyPr/>
                    <a:lstStyle/>
                    <a:p>
                      <a:endParaRPr lang="es-GT"/>
                    </a:p>
                  </a:txBody>
                  <a:tcPr>
                    <a:lnT w="12700" cap="flat" cmpd="sng" algn="ctr">
                      <a:solidFill>
                        <a:schemeClr val="accent1"/>
                      </a:solidFill>
                      <a:prstDash val="solid"/>
                      <a:round/>
                      <a:headEnd type="none" w="med" len="med"/>
                      <a:tailEnd type="none" w="med" len="med"/>
                    </a:lnT>
                  </a:tcPr>
                </a:tc>
                <a:tc>
                  <a:txBody>
                    <a:bodyPr/>
                    <a:lstStyle/>
                    <a:p>
                      <a:pPr algn="ctr"/>
                      <a:r>
                        <a:rPr lang="es-GT" sz="1800" b="1" dirty="0"/>
                        <a:t>1.1</a:t>
                      </a:r>
                    </a:p>
                  </a:txBody>
                  <a:tcPr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s-GT" sz="1800" b="1" i="0" u="none" strike="noStrike" dirty="0">
                          <a:solidFill>
                            <a:srgbClr val="000000"/>
                          </a:solidFill>
                          <a:effectLst/>
                          <a:latin typeface="Calibri" panose="020F0502020204030204" pitchFamily="34" charset="0"/>
                        </a:rPr>
                        <a:t>7.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fontAlgn="b"/>
                      <a:r>
                        <a:rPr lang="es-GT" sz="1800" b="1" i="0" u="none" strike="noStrike" dirty="0">
                          <a:solidFill>
                            <a:srgbClr val="000000"/>
                          </a:solidFill>
                          <a:effectLst/>
                          <a:latin typeface="Calibri" panose="020F0502020204030204" pitchFamily="34" charset="0"/>
                        </a:rPr>
                        <a:t>6.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fontAlgn="b"/>
                      <a:r>
                        <a:rPr lang="es-GT" sz="1800" b="1" i="0" u="none" strike="noStrike">
                          <a:solidFill>
                            <a:srgbClr val="000000"/>
                          </a:solidFill>
                          <a:effectLst/>
                          <a:latin typeface="Calibri" panose="020F0502020204030204" pitchFamily="34" charset="0"/>
                        </a:rPr>
                        <a:t>7.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s-GT" sz="1800" b="1" i="0" u="none" strike="noStrike" dirty="0">
                          <a:solidFill>
                            <a:srgbClr val="000000"/>
                          </a:solidFill>
                          <a:effectLst/>
                          <a:latin typeface="Calibri" panose="020F0502020204030204" pitchFamily="34" charset="0"/>
                        </a:rPr>
                        <a:t>8.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48581302"/>
                  </a:ext>
                </a:extLst>
              </a:tr>
              <a:tr h="208643">
                <a:tc rowSpan="2">
                  <a:txBody>
                    <a:bodyPr/>
                    <a:lstStyle/>
                    <a:p>
                      <a:r>
                        <a:rPr lang="es-GT" dirty="0"/>
                        <a:t>Importaciones FOB $.</a:t>
                      </a:r>
                    </a:p>
                    <a:p>
                      <a:pPr marL="0" marR="0" lvl="0" indent="0" algn="l" defTabSz="914400" rtl="0" eaLnBrk="1" fontAlgn="auto" latinLnBrk="0" hangingPunct="1">
                        <a:lnSpc>
                          <a:spcPct val="100000"/>
                        </a:lnSpc>
                        <a:spcBef>
                          <a:spcPts val="0"/>
                        </a:spcBef>
                        <a:spcAft>
                          <a:spcPts val="0"/>
                        </a:spcAft>
                        <a:buClrTx/>
                        <a:buSzTx/>
                        <a:buFontTx/>
                        <a:buNone/>
                        <a:tabLst/>
                        <a:defRPr/>
                      </a:pPr>
                      <a:r>
                        <a:rPr lang="es-GT" b="1" dirty="0"/>
                        <a:t>    Variación %</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GT" sz="1800" dirty="0"/>
                        <a:t>16,441.2</a:t>
                      </a:r>
                    </a:p>
                  </a:txBody>
                  <a:tcPr anchor="ctr">
                    <a:lnL w="1270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tcPr>
                </a:tc>
                <a:tc>
                  <a:txBody>
                    <a:bodyPr/>
                    <a:lstStyle/>
                    <a:p>
                      <a:pPr algn="ctr" fontAlgn="b"/>
                      <a:r>
                        <a:rPr lang="es-GT" sz="1800" b="0" i="0" u="none" strike="noStrike" dirty="0">
                          <a:solidFill>
                            <a:srgbClr val="000000"/>
                          </a:solidFill>
                          <a:effectLst/>
                          <a:latin typeface="Calibri" panose="020F0502020204030204" pitchFamily="34" charset="0"/>
                        </a:rPr>
                        <a:t>19,476.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accent5">
                        <a:lumMod val="40000"/>
                        <a:lumOff val="60000"/>
                      </a:schemeClr>
                    </a:solidFill>
                  </a:tcPr>
                </a:tc>
                <a:tc>
                  <a:txBody>
                    <a:bodyPr/>
                    <a:lstStyle/>
                    <a:p>
                      <a:pPr algn="ctr" fontAlgn="b"/>
                      <a:r>
                        <a:rPr lang="es-GT" sz="1800" b="0" i="0" u="none" strike="noStrike" dirty="0">
                          <a:solidFill>
                            <a:srgbClr val="000000"/>
                          </a:solidFill>
                          <a:effectLst/>
                          <a:latin typeface="Calibri" panose="020F0502020204030204" pitchFamily="34" charset="0"/>
                        </a:rPr>
                        <a:t>20,907.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accent5">
                        <a:lumMod val="40000"/>
                        <a:lumOff val="60000"/>
                      </a:schemeClr>
                    </a:solidFill>
                  </a:tcPr>
                </a:tc>
                <a:tc>
                  <a:txBody>
                    <a:bodyPr/>
                    <a:lstStyle/>
                    <a:p>
                      <a:pPr algn="ctr" fontAlgn="b"/>
                      <a:r>
                        <a:rPr lang="es-GT" sz="1800" b="0" i="0" u="none" strike="noStrike">
                          <a:solidFill>
                            <a:srgbClr val="000000"/>
                          </a:solidFill>
                          <a:effectLst/>
                          <a:latin typeface="Calibri" panose="020F0502020204030204" pitchFamily="34" charset="0"/>
                        </a:rPr>
                        <a:t>21,203.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tcPr>
                </a:tc>
                <a:tc>
                  <a:txBody>
                    <a:bodyPr/>
                    <a:lstStyle/>
                    <a:p>
                      <a:pPr algn="ctr" fontAlgn="b"/>
                      <a:r>
                        <a:rPr lang="es-GT" sz="1800" b="0" i="0" u="none" strike="noStrike">
                          <a:solidFill>
                            <a:srgbClr val="000000"/>
                          </a:solidFill>
                          <a:effectLst/>
                          <a:latin typeface="Calibri" panose="020F0502020204030204" pitchFamily="34" charset="0"/>
                        </a:rPr>
                        <a:t>21,499.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791138312"/>
                  </a:ext>
                </a:extLst>
              </a:tr>
              <a:tr h="208643">
                <a:tc vMerge="1">
                  <a:txBody>
                    <a:bodyPr/>
                    <a:lstStyle/>
                    <a:p>
                      <a:endParaRPr lang="es-GT"/>
                    </a:p>
                  </a:txBody>
                  <a:tcPr>
                    <a:lnT w="12700" cap="flat" cmpd="sng" algn="ctr">
                      <a:solidFill>
                        <a:schemeClr val="accent1"/>
                      </a:solidFill>
                      <a:prstDash val="solid"/>
                      <a:round/>
                      <a:headEnd type="none" w="med" len="med"/>
                      <a:tailEnd type="none" w="med" len="med"/>
                    </a:lnT>
                  </a:tcPr>
                </a:tc>
                <a:tc>
                  <a:txBody>
                    <a:bodyPr/>
                    <a:lstStyle/>
                    <a:p>
                      <a:pPr algn="ctr"/>
                      <a:r>
                        <a:rPr lang="es-GT" sz="1800" b="1" dirty="0"/>
                        <a:t>-8.1</a:t>
                      </a:r>
                    </a:p>
                  </a:txBody>
                  <a:tcPr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s-GT" sz="1800" b="1" i="0" u="none" strike="noStrike" dirty="0">
                          <a:solidFill>
                            <a:srgbClr val="000000"/>
                          </a:solidFill>
                          <a:effectLst/>
                          <a:latin typeface="Calibri" panose="020F0502020204030204" pitchFamily="34" charset="0"/>
                        </a:rPr>
                        <a:t>18.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fontAlgn="b"/>
                      <a:r>
                        <a:rPr lang="es-GT" sz="1800" b="1" i="0" u="none" strike="noStrike" dirty="0">
                          <a:solidFill>
                            <a:srgbClr val="000000"/>
                          </a:solidFill>
                          <a:effectLst/>
                          <a:latin typeface="Calibri" panose="020F0502020204030204" pitchFamily="34" charset="0"/>
                        </a:rPr>
                        <a:t>6.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fontAlgn="b"/>
                      <a:r>
                        <a:rPr lang="es-GT" sz="1800" b="1" i="0" u="none" strike="noStrike" dirty="0">
                          <a:solidFill>
                            <a:srgbClr val="000000"/>
                          </a:solidFill>
                          <a:effectLst/>
                          <a:latin typeface="Calibri" panose="020F0502020204030204" pitchFamily="34" charset="0"/>
                        </a:rPr>
                        <a:t>7.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s-GT" sz="1800" b="1" i="0" u="none" strike="noStrike" dirty="0">
                          <a:solidFill>
                            <a:srgbClr val="000000"/>
                          </a:solidFill>
                          <a:effectLst/>
                          <a:latin typeface="Calibri" panose="020F0502020204030204" pitchFamily="34" charset="0"/>
                        </a:rPr>
                        <a:t>9.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24784328"/>
                  </a:ext>
                </a:extLst>
              </a:tr>
              <a:tr h="208643">
                <a:tc rowSpan="2">
                  <a:txBody>
                    <a:bodyPr/>
                    <a:lstStyle/>
                    <a:p>
                      <a:r>
                        <a:rPr lang="es-GT" dirty="0"/>
                        <a:t>Exportaciones FOB $.</a:t>
                      </a:r>
                    </a:p>
                    <a:p>
                      <a:pPr marL="0" marR="0" lvl="0" indent="0" algn="l" defTabSz="914400" rtl="0" eaLnBrk="1" fontAlgn="auto" latinLnBrk="0" hangingPunct="1">
                        <a:lnSpc>
                          <a:spcPct val="100000"/>
                        </a:lnSpc>
                        <a:spcBef>
                          <a:spcPts val="0"/>
                        </a:spcBef>
                        <a:spcAft>
                          <a:spcPts val="0"/>
                        </a:spcAft>
                        <a:buClrTx/>
                        <a:buSzTx/>
                        <a:buFontTx/>
                        <a:buNone/>
                        <a:tabLst/>
                        <a:defRPr/>
                      </a:pPr>
                      <a:r>
                        <a:rPr lang="es-GT" b="1" dirty="0"/>
                        <a:t>    Variación %</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GT" sz="1800" dirty="0"/>
                        <a:t>10,514.5</a:t>
                      </a:r>
                    </a:p>
                  </a:txBody>
                  <a:tcPr anchor="ctr">
                    <a:lnL w="1270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tcPr>
                </a:tc>
                <a:tc>
                  <a:txBody>
                    <a:bodyPr/>
                    <a:lstStyle/>
                    <a:p>
                      <a:pPr algn="ctr" fontAlgn="b"/>
                      <a:r>
                        <a:rPr lang="es-GT" sz="1800" b="0" i="0" u="none" strike="noStrike" dirty="0">
                          <a:solidFill>
                            <a:srgbClr val="000000"/>
                          </a:solidFill>
                          <a:effectLst/>
                          <a:latin typeface="Calibri" panose="020F0502020204030204" pitchFamily="34" charset="0"/>
                        </a:rPr>
                        <a:t>11,618.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accent5">
                        <a:lumMod val="40000"/>
                        <a:lumOff val="60000"/>
                      </a:schemeClr>
                    </a:solidFill>
                  </a:tcPr>
                </a:tc>
                <a:tc>
                  <a:txBody>
                    <a:bodyPr/>
                    <a:lstStyle/>
                    <a:p>
                      <a:pPr algn="ctr" fontAlgn="b"/>
                      <a:r>
                        <a:rPr lang="es-GT" sz="1800" b="0" i="0" u="none" strike="noStrike" dirty="0">
                          <a:solidFill>
                            <a:srgbClr val="000000"/>
                          </a:solidFill>
                          <a:effectLst/>
                          <a:latin typeface="Calibri" panose="020F0502020204030204" pitchFamily="34" charset="0"/>
                        </a:rPr>
                        <a:t>12,483.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accent5">
                        <a:lumMod val="40000"/>
                        <a:lumOff val="60000"/>
                      </a:schemeClr>
                    </a:solidFill>
                  </a:tcPr>
                </a:tc>
                <a:tc>
                  <a:txBody>
                    <a:bodyPr/>
                    <a:lstStyle/>
                    <a:p>
                      <a:pPr algn="ctr" fontAlgn="b"/>
                      <a:r>
                        <a:rPr lang="es-GT" sz="1800" b="0" i="0" u="none" strike="noStrike" dirty="0">
                          <a:solidFill>
                            <a:srgbClr val="000000"/>
                          </a:solidFill>
                          <a:effectLst/>
                          <a:latin typeface="Calibri" panose="020F0502020204030204" pitchFamily="34" charset="0"/>
                        </a:rPr>
                        <a:t>12,660.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tcPr>
                </a:tc>
                <a:tc>
                  <a:txBody>
                    <a:bodyPr/>
                    <a:lstStyle/>
                    <a:p>
                      <a:pPr algn="ctr" fontAlgn="b"/>
                      <a:r>
                        <a:rPr lang="es-GT" sz="1800" b="0" i="0" u="none" strike="noStrike" dirty="0">
                          <a:solidFill>
                            <a:srgbClr val="000000"/>
                          </a:solidFill>
                          <a:effectLst/>
                          <a:latin typeface="Calibri" panose="020F0502020204030204" pitchFamily="34" charset="0"/>
                        </a:rPr>
                        <a:t>12,837.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2177328072"/>
                  </a:ext>
                </a:extLst>
              </a:tr>
              <a:tr h="208643">
                <a:tc vMerge="1">
                  <a:txBody>
                    <a:bodyPr/>
                    <a:lstStyle/>
                    <a:p>
                      <a:endParaRPr lang="es-GT"/>
                    </a:p>
                  </a:txBody>
                  <a:tcPr>
                    <a:lnT w="12700" cap="flat" cmpd="sng" algn="ctr">
                      <a:solidFill>
                        <a:schemeClr val="accent1"/>
                      </a:solidFill>
                      <a:prstDash val="solid"/>
                      <a:round/>
                      <a:headEnd type="none" w="med" len="med"/>
                      <a:tailEnd type="none" w="med" len="med"/>
                    </a:lnT>
                  </a:tcPr>
                </a:tc>
                <a:tc>
                  <a:txBody>
                    <a:bodyPr/>
                    <a:lstStyle/>
                    <a:p>
                      <a:pPr algn="ctr"/>
                      <a:r>
                        <a:rPr lang="es-GT" sz="1800" b="1" dirty="0"/>
                        <a:t>6.0</a:t>
                      </a:r>
                    </a:p>
                  </a:txBody>
                  <a:tcPr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s-GT" sz="1800" b="1" i="0" u="none" strike="noStrike" dirty="0">
                          <a:solidFill>
                            <a:srgbClr val="000000"/>
                          </a:solidFill>
                          <a:effectLst/>
                          <a:latin typeface="Calibri" panose="020F0502020204030204" pitchFamily="34" charset="0"/>
                        </a:rPr>
                        <a:t>10.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fontAlgn="b"/>
                      <a:r>
                        <a:rPr lang="es-GT" sz="1800" b="1" i="0" u="none" strike="noStrike" dirty="0">
                          <a:solidFill>
                            <a:srgbClr val="000000"/>
                          </a:solidFill>
                          <a:effectLst/>
                          <a:latin typeface="Calibri" panose="020F0502020204030204" pitchFamily="34" charset="0"/>
                        </a:rPr>
                        <a:t>6.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fontAlgn="b"/>
                      <a:r>
                        <a:rPr lang="es-GT" sz="1800" b="1" i="0" u="none" strike="noStrike" dirty="0">
                          <a:solidFill>
                            <a:srgbClr val="000000"/>
                          </a:solidFill>
                          <a:effectLst/>
                          <a:latin typeface="Calibri" panose="020F0502020204030204" pitchFamily="34" charset="0"/>
                        </a:rPr>
                        <a:t>7.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s-GT" sz="1800" b="1" i="0" u="none" strike="noStrike" dirty="0">
                          <a:solidFill>
                            <a:srgbClr val="000000"/>
                          </a:solidFill>
                          <a:effectLst/>
                          <a:latin typeface="Calibri" panose="020F0502020204030204" pitchFamily="34" charset="0"/>
                        </a:rPr>
                        <a:t>9.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01109024"/>
                  </a:ext>
                </a:extLst>
              </a:tr>
              <a:tr h="386071">
                <a:tc>
                  <a:txBody>
                    <a:bodyPr/>
                    <a:lstStyle/>
                    <a:p>
                      <a:r>
                        <a:rPr lang="es-GT" dirty="0"/>
                        <a:t>Inflación %</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GT" sz="1800" dirty="0"/>
                        <a:t>4.82</a:t>
                      </a:r>
                    </a:p>
                  </a:txBody>
                  <a:tcPr anchor="ctr">
                    <a:lnL w="1270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s-GT" sz="1800" b="0" i="0" u="none" strike="noStrike" dirty="0">
                          <a:solidFill>
                            <a:srgbClr val="000000"/>
                          </a:solidFill>
                          <a:effectLst/>
                          <a:latin typeface="Calibri" panose="020F0502020204030204" pitchFamily="34" charset="0"/>
                        </a:rPr>
                        <a:t>3.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fontAlgn="b"/>
                      <a:r>
                        <a:rPr lang="es-GT" sz="1800" b="0" i="0" u="none" strike="noStrike" dirty="0">
                          <a:solidFill>
                            <a:srgbClr val="000000"/>
                          </a:solidFill>
                          <a:effectLst/>
                          <a:latin typeface="Calibri" panose="020F0502020204030204" pitchFamily="34" charset="0"/>
                        </a:rPr>
                        <a:t>3.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fontAlgn="b"/>
                      <a:r>
                        <a:rPr lang="es-GT" sz="1800" b="0" i="0" u="none" strike="noStrike" dirty="0">
                          <a:solidFill>
                            <a:srgbClr val="000000"/>
                          </a:solidFill>
                          <a:effectLst/>
                          <a:latin typeface="Calibri" panose="020F0502020204030204" pitchFamily="34" charset="0"/>
                        </a:rPr>
                        <a:t>4.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s-GT" sz="1800" b="0" i="0" u="none" strike="noStrike" dirty="0">
                          <a:solidFill>
                            <a:srgbClr val="000000"/>
                          </a:solidFill>
                          <a:effectLst/>
                          <a:latin typeface="Calibri" panose="020F0502020204030204" pitchFamily="34" charset="0"/>
                        </a:rPr>
                        <a:t>5.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88196150"/>
                  </a:ext>
                </a:extLst>
              </a:tr>
              <a:tr h="193036">
                <a:tc rowSpan="2">
                  <a:txBody>
                    <a:bodyPr/>
                    <a:lstStyle/>
                    <a:p>
                      <a:r>
                        <a:rPr lang="es-GT" dirty="0"/>
                        <a:t>Remesas $.</a:t>
                      </a:r>
                    </a:p>
                    <a:p>
                      <a:pPr marL="0" marR="0" lvl="0" indent="0" algn="l" defTabSz="914400" rtl="0" eaLnBrk="1" fontAlgn="auto" latinLnBrk="0" hangingPunct="1">
                        <a:lnSpc>
                          <a:spcPct val="100000"/>
                        </a:lnSpc>
                        <a:spcBef>
                          <a:spcPts val="0"/>
                        </a:spcBef>
                        <a:spcAft>
                          <a:spcPts val="0"/>
                        </a:spcAft>
                        <a:buClrTx/>
                        <a:buSzTx/>
                        <a:buFontTx/>
                        <a:buNone/>
                        <a:tabLst/>
                        <a:defRPr/>
                      </a:pPr>
                      <a:r>
                        <a:rPr lang="es-GT" b="1" dirty="0"/>
                        <a:t>   Variación %</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GT" sz="1800" dirty="0"/>
                        <a:t>11,340.4</a:t>
                      </a:r>
                    </a:p>
                  </a:txBody>
                  <a:tcPr anchor="ctr">
                    <a:lnL w="12700" cap="flat" cmpd="sng" algn="ctr">
                      <a:solidFill>
                        <a:schemeClr val="accent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GT" sz="1800" dirty="0"/>
                        <a:t>13,721.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lang="es-GT" sz="1800" dirty="0"/>
                        <a:t>15,211.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lang="es-GT" sz="1800" dirty="0"/>
                        <a:t>15,420.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GT" sz="1800" dirty="0"/>
                        <a:t>15,628.5</a:t>
                      </a:r>
                    </a:p>
                  </a:txBody>
                  <a:tcPr anchor="ctr">
                    <a:lnL w="12700" cap="flat" cmpd="sng" algn="ctr">
                      <a:solidFill>
                        <a:schemeClr val="tx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30759664"/>
                  </a:ext>
                </a:extLst>
              </a:tr>
              <a:tr h="236737">
                <a:tc vMerge="1">
                  <a:txBody>
                    <a:bodyPr/>
                    <a:lstStyle/>
                    <a:p>
                      <a:endParaRPr lang="es-GT"/>
                    </a:p>
                  </a:txBody>
                  <a:tcPr>
                    <a:lnT w="12700" cap="flat" cmpd="sng" algn="ctr">
                      <a:solidFill>
                        <a:schemeClr val="accent1"/>
                      </a:solidFill>
                      <a:prstDash val="solid"/>
                      <a:round/>
                      <a:headEnd type="none" w="med" len="med"/>
                      <a:tailEnd type="none" w="med" len="med"/>
                    </a:lnT>
                  </a:tcPr>
                </a:tc>
                <a:tc>
                  <a:txBody>
                    <a:bodyPr/>
                    <a:lstStyle/>
                    <a:p>
                      <a:pPr algn="ctr"/>
                      <a:r>
                        <a:rPr lang="es-GT" sz="1800" b="1" dirty="0"/>
                        <a:t>7.9</a:t>
                      </a:r>
                    </a:p>
                  </a:txBody>
                  <a:tcPr anchor="ctr">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GT" sz="1800" b="1" dirty="0"/>
                        <a:t>21.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lang="es-GT" sz="1800" b="1" dirty="0"/>
                        <a:t>9.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lang="es-GT" sz="1800" b="1" dirty="0"/>
                        <a:t>11.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GT" sz="1800" b="1" dirty="0"/>
                        <a:t>12.5</a:t>
                      </a:r>
                    </a:p>
                  </a:txBody>
                  <a:tcPr anchor="ctr">
                    <a:lnL w="12700" cap="flat" cmpd="sng" algn="ctr">
                      <a:solidFill>
                        <a:schemeClr val="tx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20500591"/>
                  </a:ext>
                </a:extLst>
              </a:tr>
            </a:tbl>
          </a:graphicData>
        </a:graphic>
      </p:graphicFrame>
    </p:spTree>
    <p:custDataLst>
      <p:tags r:id="rId2"/>
    </p:custDataLst>
    <p:extLst>
      <p:ext uri="{BB962C8B-B14F-4D97-AF65-F5344CB8AC3E}">
        <p14:creationId xmlns:p14="http://schemas.microsoft.com/office/powerpoint/2010/main" val="20208241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612C927D-3748-4A4E-816E-96996793B4E7}"/>
              </a:ext>
            </a:extLst>
          </p:cNvPr>
          <p:cNvGraphicFramePr>
            <a:graphicFrameLocks noChangeAspect="1"/>
          </p:cNvGraphicFramePr>
          <p:nvPr>
            <p:custDataLst>
              <p:tags r:id="rId3"/>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1507" name="Diapositiva de think-cell" r:id="rId6" imgW="395" imgH="394" progId="TCLayout.ActiveDocument.1">
                  <p:embed/>
                </p:oleObj>
              </mc:Choice>
              <mc:Fallback>
                <p:oleObj name="Diapositiva de think-cell" r:id="rId6" imgW="395" imgH="394" progId="TCLayout.ActiveDocument.1">
                  <p:embed/>
                  <p:pic>
                    <p:nvPicPr>
                      <p:cNvPr id="4" name="Objeto 3" hidden="1">
                        <a:extLst>
                          <a:ext uri="{FF2B5EF4-FFF2-40B4-BE49-F238E27FC236}">
                            <a16:creationId xmlns:a16="http://schemas.microsoft.com/office/drawing/2014/main" id="{612C927D-3748-4A4E-816E-96996793B4E7}"/>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11" name="Rectángulo 10" hidden="1">
            <a:extLst>
              <a:ext uri="{FF2B5EF4-FFF2-40B4-BE49-F238E27FC236}">
                <a16:creationId xmlns:a16="http://schemas.microsoft.com/office/drawing/2014/main" id="{5CEDD324-C245-420B-A8DC-2EEF4B0D7FE7}"/>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sym typeface="Arial" panose="020B0604020202020204" pitchFamily="34" charset="0"/>
            </a:endParaRPr>
          </a:p>
        </p:txBody>
      </p:sp>
      <p:sp>
        <p:nvSpPr>
          <p:cNvPr id="16" name="Rectángulo 15" hidden="1">
            <a:extLst>
              <a:ext uri="{FF2B5EF4-FFF2-40B4-BE49-F238E27FC236}">
                <a16:creationId xmlns:a16="http://schemas.microsoft.com/office/drawing/2014/main" id="{A70850B7-190D-46D7-A7EC-2EC403037B82}"/>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endParaRPr>
          </a:p>
        </p:txBody>
      </p:sp>
      <p:sp>
        <p:nvSpPr>
          <p:cNvPr id="18" name="Título 1">
            <a:extLst>
              <a:ext uri="{FF2B5EF4-FFF2-40B4-BE49-F238E27FC236}">
                <a16:creationId xmlns:a16="http://schemas.microsoft.com/office/drawing/2014/main" id="{138826A5-4EBC-4884-A039-681D45109432}"/>
              </a:ext>
            </a:extLst>
          </p:cNvPr>
          <p:cNvSpPr>
            <a:spLocks noGrp="1"/>
          </p:cNvSpPr>
          <p:nvPr>
            <p:ph type="title"/>
          </p:nvPr>
        </p:nvSpPr>
        <p:spPr>
          <a:xfrm>
            <a:off x="491256" y="166997"/>
            <a:ext cx="6000984" cy="785140"/>
          </a:xfrm>
          <a:noFill/>
        </p:spPr>
        <p:txBody>
          <a:bodyPr vert="horz">
            <a:normAutofit/>
          </a:bodyPr>
          <a:lstStyle/>
          <a:p>
            <a:r>
              <a:rPr lang="es-GT" sz="2800" b="1" dirty="0">
                <a:solidFill>
                  <a:schemeClr val="bg1"/>
                </a:solidFill>
              </a:rPr>
              <a:t>Perspectivas macroeconómicas</a:t>
            </a:r>
          </a:p>
        </p:txBody>
      </p:sp>
      <p:sp>
        <p:nvSpPr>
          <p:cNvPr id="24" name="CuadroTexto 23">
            <a:extLst>
              <a:ext uri="{FF2B5EF4-FFF2-40B4-BE49-F238E27FC236}">
                <a16:creationId xmlns:a16="http://schemas.microsoft.com/office/drawing/2014/main" id="{EBAEF374-7C28-41C9-A23A-FC34499E04E6}"/>
              </a:ext>
            </a:extLst>
          </p:cNvPr>
          <p:cNvSpPr txBox="1"/>
          <p:nvPr/>
        </p:nvSpPr>
        <p:spPr>
          <a:xfrm>
            <a:off x="1939893" y="1081139"/>
            <a:ext cx="7450066" cy="461665"/>
          </a:xfrm>
          <a:prstGeom prst="rect">
            <a:avLst/>
          </a:prstGeom>
          <a:noFill/>
        </p:spPr>
        <p:txBody>
          <a:bodyPr wrap="square" rtlCol="0">
            <a:spAutoFit/>
          </a:bodyPr>
          <a:lstStyle/>
          <a:p>
            <a:pPr algn="ctr"/>
            <a:r>
              <a:rPr lang="es-GT" sz="2400" b="1" dirty="0">
                <a:solidFill>
                  <a:srgbClr val="0B3963"/>
                </a:solidFill>
              </a:rPr>
              <a:t>Millones de Quetzales y Variación en Porcentajes </a:t>
            </a:r>
          </a:p>
        </p:txBody>
      </p:sp>
      <p:sp>
        <p:nvSpPr>
          <p:cNvPr id="12" name="CuadroTexto 11">
            <a:extLst>
              <a:ext uri="{FF2B5EF4-FFF2-40B4-BE49-F238E27FC236}">
                <a16:creationId xmlns:a16="http://schemas.microsoft.com/office/drawing/2014/main" id="{DA0129B8-0715-4692-9F2A-96773DEC6862}"/>
              </a:ext>
            </a:extLst>
          </p:cNvPr>
          <p:cNvSpPr txBox="1"/>
          <p:nvPr/>
        </p:nvSpPr>
        <p:spPr>
          <a:xfrm>
            <a:off x="9706645" y="6448184"/>
            <a:ext cx="3375271" cy="276999"/>
          </a:xfrm>
          <a:prstGeom prst="rect">
            <a:avLst/>
          </a:prstGeom>
          <a:noFill/>
        </p:spPr>
        <p:txBody>
          <a:bodyPr wrap="square">
            <a:spAutoFit/>
          </a:bodyPr>
          <a:lstStyle/>
          <a:p>
            <a:r>
              <a:rPr lang="es-GT" sz="1200" b="1" dirty="0"/>
              <a:t>Fuente: Banco de Guatemala</a:t>
            </a:r>
          </a:p>
        </p:txBody>
      </p:sp>
      <p:graphicFrame>
        <p:nvGraphicFramePr>
          <p:cNvPr id="15" name="Tabla 4">
            <a:extLst>
              <a:ext uri="{FF2B5EF4-FFF2-40B4-BE49-F238E27FC236}">
                <a16:creationId xmlns:a16="http://schemas.microsoft.com/office/drawing/2014/main" id="{2A2E0B95-7FB7-4271-BE26-344F2F7D5F36}"/>
              </a:ext>
            </a:extLst>
          </p:cNvPr>
          <p:cNvGraphicFramePr>
            <a:graphicFrameLocks noGrp="1"/>
          </p:cNvGraphicFramePr>
          <p:nvPr>
            <p:extLst>
              <p:ext uri="{D42A27DB-BD31-4B8C-83A1-F6EECF244321}">
                <p14:modId xmlns:p14="http://schemas.microsoft.com/office/powerpoint/2010/main" val="503886676"/>
              </p:ext>
            </p:extLst>
          </p:nvPr>
        </p:nvGraphicFramePr>
        <p:xfrm>
          <a:off x="1320291" y="1542804"/>
          <a:ext cx="8287135" cy="5069822"/>
        </p:xfrm>
        <a:graphic>
          <a:graphicData uri="http://schemas.openxmlformats.org/drawingml/2006/table">
            <a:tbl>
              <a:tblPr firstRow="1" bandRow="1">
                <a:tableStyleId>{69012ECD-51FC-41F1-AA8D-1B2483CD663E}</a:tableStyleId>
              </a:tblPr>
              <a:tblGrid>
                <a:gridCol w="2828663">
                  <a:extLst>
                    <a:ext uri="{9D8B030D-6E8A-4147-A177-3AD203B41FA5}">
                      <a16:colId xmlns:a16="http://schemas.microsoft.com/office/drawing/2014/main" val="4250551680"/>
                    </a:ext>
                  </a:extLst>
                </a:gridCol>
                <a:gridCol w="1420129">
                  <a:extLst>
                    <a:ext uri="{9D8B030D-6E8A-4147-A177-3AD203B41FA5}">
                      <a16:colId xmlns:a16="http://schemas.microsoft.com/office/drawing/2014/main" val="1711621162"/>
                    </a:ext>
                  </a:extLst>
                </a:gridCol>
                <a:gridCol w="1355463">
                  <a:extLst>
                    <a:ext uri="{9D8B030D-6E8A-4147-A177-3AD203B41FA5}">
                      <a16:colId xmlns:a16="http://schemas.microsoft.com/office/drawing/2014/main" val="1795379704"/>
                    </a:ext>
                  </a:extLst>
                </a:gridCol>
                <a:gridCol w="1316659">
                  <a:extLst>
                    <a:ext uri="{9D8B030D-6E8A-4147-A177-3AD203B41FA5}">
                      <a16:colId xmlns:a16="http://schemas.microsoft.com/office/drawing/2014/main" val="142098834"/>
                    </a:ext>
                  </a:extLst>
                </a:gridCol>
                <a:gridCol w="1366221">
                  <a:extLst>
                    <a:ext uri="{9D8B030D-6E8A-4147-A177-3AD203B41FA5}">
                      <a16:colId xmlns:a16="http://schemas.microsoft.com/office/drawing/2014/main" val="3329410532"/>
                    </a:ext>
                  </a:extLst>
                </a:gridCol>
              </a:tblGrid>
              <a:tr h="386071">
                <a:tc rowSpan="2">
                  <a:txBody>
                    <a:bodyPr/>
                    <a:lstStyle/>
                    <a:p>
                      <a:r>
                        <a:rPr lang="es-GT" dirty="0"/>
                        <a:t>Variables en millones</a:t>
                      </a:r>
                    </a:p>
                  </a:txBody>
                  <a:tcPr anchor="ctr">
                    <a:lnL w="1270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B3963"/>
                    </a:solidFill>
                  </a:tcPr>
                </a:tc>
                <a:tc rowSpan="2">
                  <a:txBody>
                    <a:bodyPr/>
                    <a:lstStyle/>
                    <a:p>
                      <a:pPr algn="ctr"/>
                      <a:r>
                        <a:rPr lang="es-GT" dirty="0"/>
                        <a:t>202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B3963"/>
                    </a:solidFill>
                  </a:tcPr>
                </a:tc>
                <a:tc>
                  <a:txBody>
                    <a:bodyPr/>
                    <a:lstStyle/>
                    <a:p>
                      <a:pPr algn="ctr"/>
                      <a:r>
                        <a:rPr lang="es-GT" dirty="0"/>
                        <a:t>2021</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B3963"/>
                    </a:solidFill>
                  </a:tcPr>
                </a:tc>
                <a:tc gridSpan="2">
                  <a:txBody>
                    <a:bodyPr/>
                    <a:lstStyle/>
                    <a:p>
                      <a:pPr algn="ctr"/>
                      <a:r>
                        <a:rPr lang="es-GT" dirty="0"/>
                        <a:t>2022</a:t>
                      </a:r>
                    </a:p>
                  </a:txBody>
                  <a:tcPr>
                    <a:lnL w="12700" cap="flat" cmpd="sng" algn="ctr">
                      <a:solidFill>
                        <a:schemeClr val="bg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B3963"/>
                    </a:solidFill>
                  </a:tcPr>
                </a:tc>
                <a:tc hMerge="1">
                  <a:txBody>
                    <a:bodyPr/>
                    <a:lstStyle/>
                    <a:p>
                      <a:pPr algn="ctr"/>
                      <a:endParaRPr lang="es-GT" dirty="0"/>
                    </a:p>
                  </a:txBody>
                  <a:tcPr>
                    <a:lnL w="12700" cap="flat" cmpd="sng" algn="ctr">
                      <a:solidFill>
                        <a:schemeClr val="bg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223435839"/>
                  </a:ext>
                </a:extLst>
              </a:tr>
              <a:tr h="386071">
                <a:tc vMerge="1">
                  <a:txBody>
                    <a:bodyPr/>
                    <a:lstStyle/>
                    <a:p>
                      <a:endParaRPr lang="es-GT"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vMerge="1">
                  <a:txBody>
                    <a:bodyPr/>
                    <a:lstStyle/>
                    <a:p>
                      <a:endParaRPr lang="es-GT"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s-GT" b="1" dirty="0">
                          <a:solidFill>
                            <a:schemeClr val="bg1"/>
                          </a:solidFill>
                        </a:rPr>
                        <a:t>Bajo</a:t>
                      </a:r>
                    </a:p>
                    <a:p>
                      <a:pPr algn="ctr"/>
                      <a:r>
                        <a:rPr lang="es-GT" b="1" dirty="0">
                          <a:solidFill>
                            <a:schemeClr val="bg1"/>
                          </a:solidFill>
                        </a:rPr>
                        <a:t>(JULIO)</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B396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GT" b="1" dirty="0">
                          <a:solidFill>
                            <a:schemeClr val="bg1"/>
                          </a:solidFill>
                        </a:rPr>
                        <a:t>Bajo (ABRIL)</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B3963"/>
                    </a:solidFill>
                  </a:tcPr>
                </a:tc>
                <a:tc>
                  <a:txBody>
                    <a:bodyPr/>
                    <a:lstStyle/>
                    <a:p>
                      <a:pPr algn="ctr"/>
                      <a:r>
                        <a:rPr lang="es-GT" b="1" dirty="0">
                          <a:solidFill>
                            <a:schemeClr val="bg1"/>
                          </a:solidFill>
                        </a:rPr>
                        <a:t>Bajo</a:t>
                      </a:r>
                    </a:p>
                    <a:p>
                      <a:pPr algn="ctr"/>
                      <a:r>
                        <a:rPr lang="es-GT" b="1" dirty="0">
                          <a:solidFill>
                            <a:schemeClr val="bg1"/>
                          </a:solidFill>
                        </a:rPr>
                        <a:t>(JULIO)</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B3963"/>
                    </a:solidFill>
                  </a:tcPr>
                </a:tc>
                <a:extLst>
                  <a:ext uri="{0D108BD9-81ED-4DB2-BD59-A6C34878D82A}">
                    <a16:rowId xmlns:a16="http://schemas.microsoft.com/office/drawing/2014/main" val="3947713643"/>
                  </a:ext>
                </a:extLst>
              </a:tr>
              <a:tr h="193036">
                <a:tc rowSpan="2">
                  <a:txBody>
                    <a:bodyPr/>
                    <a:lstStyle/>
                    <a:p>
                      <a:r>
                        <a:rPr lang="es-GT" dirty="0"/>
                        <a:t>PIB real Q.</a:t>
                      </a:r>
                    </a:p>
                    <a:p>
                      <a:r>
                        <a:rPr lang="es-GT" b="1" dirty="0"/>
                        <a:t>    Variación %</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GT" dirty="0"/>
                        <a:t>506,368.0</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s-GT" sz="1800" b="0" i="0" u="none" strike="noStrike" dirty="0">
                          <a:solidFill>
                            <a:srgbClr val="000000"/>
                          </a:solidFill>
                          <a:effectLst/>
                          <a:latin typeface="Calibri" panose="020F0502020204030204" pitchFamily="34" charset="0"/>
                        </a:rPr>
                        <a:t>526,688.1</a:t>
                      </a:r>
                    </a:p>
                  </a:txBody>
                  <a:tcPr marL="7620" marR="7620" marT="762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a:r>
                        <a:rPr lang="es-GT" dirty="0"/>
                        <a:t>541,276.3</a:t>
                      </a:r>
                    </a:p>
                  </a:txBody>
                  <a:tcPr anchor="ctr">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b"/>
                      <a:r>
                        <a:rPr lang="es-GT" sz="1800" b="0" i="0" u="none" strike="noStrike" dirty="0">
                          <a:solidFill>
                            <a:srgbClr val="000000"/>
                          </a:solidFill>
                          <a:effectLst/>
                          <a:latin typeface="Calibri" panose="020F0502020204030204" pitchFamily="34" charset="0"/>
                        </a:rPr>
                        <a:t>550,350.8</a:t>
                      </a:r>
                    </a:p>
                  </a:txBody>
                  <a:tcPr marL="7620" marR="7620" marT="762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182551297"/>
                  </a:ext>
                </a:extLst>
              </a:tr>
              <a:tr h="193036">
                <a:tc vMerge="1">
                  <a:txBody>
                    <a:bodyPr/>
                    <a:lstStyle/>
                    <a:p>
                      <a:endParaRPr lang="es-GT"/>
                    </a:p>
                  </a:txBody>
                  <a:tcPr/>
                </a:tc>
                <a:tc>
                  <a:txBody>
                    <a:bodyPr/>
                    <a:lstStyle/>
                    <a:p>
                      <a:pPr algn="ctr"/>
                      <a:r>
                        <a:rPr lang="es-GT" b="1" dirty="0"/>
                        <a:t>-1.5</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s-GT" sz="1800" b="1" i="0" u="none" strike="noStrike" dirty="0">
                          <a:solidFill>
                            <a:srgbClr val="000000"/>
                          </a:solidFill>
                          <a:effectLst/>
                          <a:latin typeface="Calibri" panose="020F0502020204030204" pitchFamily="34" charset="0"/>
                        </a:rPr>
                        <a:t>4.0</a:t>
                      </a:r>
                    </a:p>
                  </a:txBody>
                  <a:tcPr marL="7620" marR="7620" marT="762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a:r>
                        <a:rPr lang="es-GT" b="1" dirty="0"/>
                        <a:t>2.8</a:t>
                      </a:r>
                    </a:p>
                  </a:txBody>
                  <a:tcPr anchor="ctr">
                    <a:lnL w="12700" cap="flat" cmpd="sng" algn="ctr">
                      <a:solidFill>
                        <a:schemeClr val="accent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b"/>
                      <a:r>
                        <a:rPr lang="es-GT" sz="1800" b="1" i="0" u="none" strike="noStrike" dirty="0">
                          <a:solidFill>
                            <a:srgbClr val="000000"/>
                          </a:solidFill>
                          <a:effectLst/>
                          <a:latin typeface="Calibri" panose="020F0502020204030204" pitchFamily="34" charset="0"/>
                        </a:rPr>
                        <a:t>3.5</a:t>
                      </a:r>
                    </a:p>
                  </a:txBody>
                  <a:tcPr marL="7620" marR="7620" marT="762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872248052"/>
                  </a:ext>
                </a:extLst>
              </a:tr>
              <a:tr h="193036">
                <a:tc rowSpan="2">
                  <a:txBody>
                    <a:bodyPr/>
                    <a:lstStyle/>
                    <a:p>
                      <a:r>
                        <a:rPr lang="es-GT" dirty="0"/>
                        <a:t>PIB nominal Q.</a:t>
                      </a:r>
                    </a:p>
                    <a:p>
                      <a:r>
                        <a:rPr lang="es-GT" b="1" dirty="0"/>
                        <a:t>    Variación %</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GT" dirty="0"/>
                        <a:t>599,235.8</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tcPr>
                </a:tc>
                <a:tc>
                  <a:txBody>
                    <a:bodyPr/>
                    <a:lstStyle/>
                    <a:p>
                      <a:pPr algn="ctr" fontAlgn="b"/>
                      <a:r>
                        <a:rPr lang="es-GT" sz="1800" b="0" i="0" u="none" strike="noStrike" dirty="0">
                          <a:solidFill>
                            <a:srgbClr val="000000"/>
                          </a:solidFill>
                          <a:effectLst/>
                          <a:latin typeface="Calibri" panose="020F0502020204030204" pitchFamily="34" charset="0"/>
                        </a:rPr>
                        <a:t>645,421.8</a:t>
                      </a:r>
                    </a:p>
                  </a:txBody>
                  <a:tcPr marL="7620" marR="7620" marT="762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accent4">
                        <a:lumMod val="20000"/>
                        <a:lumOff val="80000"/>
                      </a:schemeClr>
                    </a:solidFill>
                  </a:tcPr>
                </a:tc>
                <a:tc>
                  <a:txBody>
                    <a:bodyPr/>
                    <a:lstStyle/>
                    <a:p>
                      <a:pPr algn="ctr"/>
                      <a:r>
                        <a:rPr lang="es-GT" dirty="0"/>
                        <a:t>677,133.6</a:t>
                      </a:r>
                    </a:p>
                  </a:txBody>
                  <a:tcPr anchor="ctr">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b"/>
                      <a:r>
                        <a:rPr lang="es-GT" sz="1800" b="0" i="0" u="none" strike="noStrike" dirty="0">
                          <a:solidFill>
                            <a:srgbClr val="000000"/>
                          </a:solidFill>
                          <a:effectLst/>
                          <a:latin typeface="Calibri" panose="020F0502020204030204" pitchFamily="34" charset="0"/>
                        </a:rPr>
                        <a:t>695,829.2</a:t>
                      </a:r>
                    </a:p>
                  </a:txBody>
                  <a:tcPr marL="7620" marR="7620" marT="762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75837060"/>
                  </a:ext>
                </a:extLst>
              </a:tr>
              <a:tr h="193036">
                <a:tc vMerge="1">
                  <a:txBody>
                    <a:bodyPr/>
                    <a:lstStyle/>
                    <a:p>
                      <a:endParaRPr lang="es-GT"/>
                    </a:p>
                  </a:txBody>
                  <a:tcPr/>
                </a:tc>
                <a:tc>
                  <a:txBody>
                    <a:bodyPr/>
                    <a:lstStyle/>
                    <a:p>
                      <a:pPr algn="ctr"/>
                      <a:r>
                        <a:rPr lang="es-GT" b="1" dirty="0"/>
                        <a:t>1.1</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s-GT" sz="1800" b="1" i="0" u="none" strike="noStrike" dirty="0">
                          <a:solidFill>
                            <a:srgbClr val="000000"/>
                          </a:solidFill>
                          <a:effectLst/>
                          <a:latin typeface="Calibri" panose="020F0502020204030204" pitchFamily="34" charset="0"/>
                        </a:rPr>
                        <a:t>7.7</a:t>
                      </a:r>
                    </a:p>
                  </a:txBody>
                  <a:tcPr marL="7620" marR="7620" marT="762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a:r>
                        <a:rPr lang="es-GT" b="1" dirty="0"/>
                        <a:t>5.4</a:t>
                      </a:r>
                    </a:p>
                  </a:txBody>
                  <a:tcPr anchor="ctr">
                    <a:lnL w="12700" cap="flat" cmpd="sng" algn="ctr">
                      <a:solidFill>
                        <a:schemeClr val="accent1"/>
                      </a:solidFill>
                      <a:prstDash val="solid"/>
                      <a:round/>
                      <a:headEnd type="none" w="med" len="med"/>
                      <a:tailEnd type="none" w="med" len="med"/>
                    </a:lnL>
                    <a:lnR>
                      <a:noFill/>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b"/>
                      <a:r>
                        <a:rPr lang="es-GT" sz="1800" b="1" i="0" u="none" strike="noStrike" dirty="0">
                          <a:solidFill>
                            <a:srgbClr val="000000"/>
                          </a:solidFill>
                          <a:effectLst/>
                          <a:latin typeface="Calibri" panose="020F0502020204030204" pitchFamily="34" charset="0"/>
                        </a:rPr>
                        <a:t>6.8</a:t>
                      </a:r>
                    </a:p>
                  </a:txBody>
                  <a:tcPr marL="7620" marR="7620" marT="762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48581302"/>
                  </a:ext>
                </a:extLst>
              </a:tr>
              <a:tr h="208643">
                <a:tc rowSpan="2">
                  <a:txBody>
                    <a:bodyPr/>
                    <a:lstStyle/>
                    <a:p>
                      <a:r>
                        <a:rPr lang="es-GT" dirty="0"/>
                        <a:t>Importaciones FOB $.</a:t>
                      </a:r>
                    </a:p>
                    <a:p>
                      <a:pPr marL="0" marR="0" lvl="0" indent="0" algn="l" defTabSz="914400" rtl="0" eaLnBrk="1" fontAlgn="auto" latinLnBrk="0" hangingPunct="1">
                        <a:lnSpc>
                          <a:spcPct val="100000"/>
                        </a:lnSpc>
                        <a:spcBef>
                          <a:spcPts val="0"/>
                        </a:spcBef>
                        <a:spcAft>
                          <a:spcPts val="0"/>
                        </a:spcAft>
                        <a:buClrTx/>
                        <a:buSzTx/>
                        <a:buFontTx/>
                        <a:buNone/>
                        <a:tabLst/>
                        <a:defRPr/>
                      </a:pPr>
                      <a:r>
                        <a:rPr lang="es-GT" b="1" dirty="0"/>
                        <a:t>    Variación %</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GT" dirty="0"/>
                        <a:t>16,441.2</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tcPr>
                </a:tc>
                <a:tc>
                  <a:txBody>
                    <a:bodyPr/>
                    <a:lstStyle/>
                    <a:p>
                      <a:pPr algn="ctr" fontAlgn="b"/>
                      <a:r>
                        <a:rPr lang="es-GT" sz="1800" b="0" i="0" u="none" strike="noStrike" dirty="0">
                          <a:solidFill>
                            <a:srgbClr val="000000"/>
                          </a:solidFill>
                          <a:effectLst/>
                          <a:latin typeface="Calibri" panose="020F0502020204030204" pitchFamily="34" charset="0"/>
                        </a:rPr>
                        <a:t>19,476.0</a:t>
                      </a:r>
                    </a:p>
                  </a:txBody>
                  <a:tcPr marL="7620" marR="7620" marT="762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accent4">
                        <a:lumMod val="20000"/>
                        <a:lumOff val="80000"/>
                      </a:schemeClr>
                    </a:solidFill>
                  </a:tcPr>
                </a:tc>
                <a:tc>
                  <a:txBody>
                    <a:bodyPr/>
                    <a:lstStyle/>
                    <a:p>
                      <a:pPr algn="ctr"/>
                      <a:r>
                        <a:rPr lang="es-GT" dirty="0"/>
                        <a:t>19,257.3</a:t>
                      </a:r>
                    </a:p>
                  </a:txBody>
                  <a:tcPr anchor="ctr">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b"/>
                      <a:r>
                        <a:rPr lang="es-GT" sz="1800" b="0" i="0" u="none" strike="noStrike" dirty="0">
                          <a:solidFill>
                            <a:srgbClr val="000000"/>
                          </a:solidFill>
                          <a:effectLst/>
                          <a:latin typeface="Calibri" panose="020F0502020204030204" pitchFamily="34" charset="0"/>
                        </a:rPr>
                        <a:t>20,907.9</a:t>
                      </a:r>
                    </a:p>
                  </a:txBody>
                  <a:tcPr marL="7620" marR="7620" marT="762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791138312"/>
                  </a:ext>
                </a:extLst>
              </a:tr>
              <a:tr h="208643">
                <a:tc vMerge="1">
                  <a:txBody>
                    <a:bodyPr/>
                    <a:lstStyle/>
                    <a:p>
                      <a:endParaRPr lang="es-GT"/>
                    </a:p>
                  </a:txBody>
                  <a:tcPr/>
                </a:tc>
                <a:tc>
                  <a:txBody>
                    <a:bodyPr/>
                    <a:lstStyle/>
                    <a:p>
                      <a:pPr algn="ctr"/>
                      <a:r>
                        <a:rPr lang="es-GT" b="1" dirty="0"/>
                        <a:t>-8.1</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s-GT" sz="1800" b="1" i="0" u="none" strike="noStrike" dirty="0">
                          <a:solidFill>
                            <a:srgbClr val="000000"/>
                          </a:solidFill>
                          <a:effectLst/>
                          <a:latin typeface="Calibri" panose="020F0502020204030204" pitchFamily="34" charset="0"/>
                        </a:rPr>
                        <a:t>18.5</a:t>
                      </a:r>
                    </a:p>
                  </a:txBody>
                  <a:tcPr marL="7620" marR="7620" marT="762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a:r>
                        <a:rPr lang="es-GT" b="1" dirty="0"/>
                        <a:t>5.5</a:t>
                      </a:r>
                    </a:p>
                  </a:txBody>
                  <a:tcPr anchor="ctr">
                    <a:lnL w="12700" cap="flat" cmpd="sng" algn="ctr">
                      <a:solidFill>
                        <a:schemeClr val="accent1"/>
                      </a:solidFill>
                      <a:prstDash val="solid"/>
                      <a:round/>
                      <a:headEnd type="none" w="med" len="med"/>
                      <a:tailEnd type="none" w="med" len="med"/>
                    </a:lnL>
                    <a:lnR>
                      <a:noFill/>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b"/>
                      <a:r>
                        <a:rPr lang="es-GT" sz="1800" b="1" i="0" u="none" strike="noStrike" dirty="0">
                          <a:solidFill>
                            <a:srgbClr val="000000"/>
                          </a:solidFill>
                          <a:effectLst/>
                          <a:latin typeface="Calibri" panose="020F0502020204030204" pitchFamily="34" charset="0"/>
                        </a:rPr>
                        <a:t>6.0</a:t>
                      </a:r>
                    </a:p>
                  </a:txBody>
                  <a:tcPr marL="7620" marR="7620" marT="762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124784328"/>
                  </a:ext>
                </a:extLst>
              </a:tr>
              <a:tr h="208643">
                <a:tc rowSpan="2">
                  <a:txBody>
                    <a:bodyPr/>
                    <a:lstStyle/>
                    <a:p>
                      <a:r>
                        <a:rPr lang="es-GT" dirty="0"/>
                        <a:t>Exportaciones FOB $.</a:t>
                      </a:r>
                    </a:p>
                    <a:p>
                      <a:pPr marL="0" marR="0" lvl="0" indent="0" algn="l" defTabSz="914400" rtl="0" eaLnBrk="1" fontAlgn="auto" latinLnBrk="0" hangingPunct="1">
                        <a:lnSpc>
                          <a:spcPct val="100000"/>
                        </a:lnSpc>
                        <a:spcBef>
                          <a:spcPts val="0"/>
                        </a:spcBef>
                        <a:spcAft>
                          <a:spcPts val="0"/>
                        </a:spcAft>
                        <a:buClrTx/>
                        <a:buSzTx/>
                        <a:buFontTx/>
                        <a:buNone/>
                        <a:tabLst/>
                        <a:defRPr/>
                      </a:pPr>
                      <a:r>
                        <a:rPr lang="es-GT" b="1" dirty="0"/>
                        <a:t>    Variación %</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GT" dirty="0"/>
                        <a:t>10,514.5</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tcPr>
                </a:tc>
                <a:tc>
                  <a:txBody>
                    <a:bodyPr/>
                    <a:lstStyle/>
                    <a:p>
                      <a:pPr algn="ctr" fontAlgn="b"/>
                      <a:r>
                        <a:rPr lang="es-GT" sz="1800" b="0" i="0" u="none" strike="noStrike" dirty="0">
                          <a:solidFill>
                            <a:srgbClr val="000000"/>
                          </a:solidFill>
                          <a:effectLst/>
                          <a:latin typeface="Calibri" panose="020F0502020204030204" pitchFamily="34" charset="0"/>
                        </a:rPr>
                        <a:t>11,618.3</a:t>
                      </a:r>
                    </a:p>
                  </a:txBody>
                  <a:tcPr marL="7620" marR="7620" marT="762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accent4">
                        <a:lumMod val="20000"/>
                        <a:lumOff val="80000"/>
                      </a:schemeClr>
                    </a:solidFill>
                  </a:tcPr>
                </a:tc>
                <a:tc>
                  <a:txBody>
                    <a:bodyPr/>
                    <a:lstStyle/>
                    <a:p>
                      <a:pPr algn="ctr"/>
                      <a:r>
                        <a:rPr lang="es-GT" dirty="0"/>
                        <a:t>12,142.3</a:t>
                      </a:r>
                    </a:p>
                  </a:txBody>
                  <a:tcPr anchor="ctr">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b"/>
                      <a:r>
                        <a:rPr lang="es-GT" sz="1800" b="0" i="0" u="none" strike="noStrike" dirty="0">
                          <a:solidFill>
                            <a:srgbClr val="000000"/>
                          </a:solidFill>
                          <a:effectLst/>
                          <a:latin typeface="Calibri" panose="020F0502020204030204" pitchFamily="34" charset="0"/>
                        </a:rPr>
                        <a:t>12,483.9</a:t>
                      </a:r>
                    </a:p>
                  </a:txBody>
                  <a:tcPr marL="7620" marR="7620" marT="762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177328072"/>
                  </a:ext>
                </a:extLst>
              </a:tr>
              <a:tr h="208643">
                <a:tc vMerge="1">
                  <a:txBody>
                    <a:bodyPr/>
                    <a:lstStyle/>
                    <a:p>
                      <a:endParaRPr lang="es-GT"/>
                    </a:p>
                  </a:txBody>
                  <a:tcPr/>
                </a:tc>
                <a:tc>
                  <a:txBody>
                    <a:bodyPr/>
                    <a:lstStyle/>
                    <a:p>
                      <a:pPr algn="ctr"/>
                      <a:r>
                        <a:rPr lang="es-GT" b="1" dirty="0"/>
                        <a:t>6.0</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s-GT" sz="1800" b="1" i="0" u="none" strike="noStrike" dirty="0">
                          <a:solidFill>
                            <a:srgbClr val="000000"/>
                          </a:solidFill>
                          <a:effectLst/>
                          <a:latin typeface="Calibri" panose="020F0502020204030204" pitchFamily="34" charset="0"/>
                        </a:rPr>
                        <a:t>10.5</a:t>
                      </a:r>
                    </a:p>
                  </a:txBody>
                  <a:tcPr marL="7620" marR="7620" marT="762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a:r>
                        <a:rPr lang="es-GT" b="1" dirty="0"/>
                        <a:t>5.0</a:t>
                      </a:r>
                    </a:p>
                  </a:txBody>
                  <a:tcPr anchor="ctr">
                    <a:lnL w="12700" cap="flat" cmpd="sng" algn="ctr">
                      <a:solidFill>
                        <a:schemeClr val="accent1"/>
                      </a:solidFill>
                      <a:prstDash val="solid"/>
                      <a:round/>
                      <a:headEnd type="none" w="med" len="med"/>
                      <a:tailEnd type="none" w="med" len="med"/>
                    </a:lnL>
                    <a:lnR>
                      <a:noFill/>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b"/>
                      <a:r>
                        <a:rPr lang="es-GT" sz="1800" b="1" i="0" u="none" strike="noStrike" dirty="0">
                          <a:solidFill>
                            <a:srgbClr val="000000"/>
                          </a:solidFill>
                          <a:effectLst/>
                          <a:latin typeface="Calibri" panose="020F0502020204030204" pitchFamily="34" charset="0"/>
                        </a:rPr>
                        <a:t>6.0</a:t>
                      </a:r>
                    </a:p>
                  </a:txBody>
                  <a:tcPr marL="7620" marR="7620" marT="762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801109024"/>
                  </a:ext>
                </a:extLst>
              </a:tr>
              <a:tr h="386071">
                <a:tc>
                  <a:txBody>
                    <a:bodyPr/>
                    <a:lstStyle/>
                    <a:p>
                      <a:r>
                        <a:rPr lang="es-GT" dirty="0"/>
                        <a:t>Inflación %</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GT" dirty="0"/>
                        <a:t>4.82</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s-GT" sz="1800" b="0" i="0" u="none" strike="noStrike" dirty="0">
                          <a:solidFill>
                            <a:srgbClr val="000000"/>
                          </a:solidFill>
                          <a:effectLst/>
                          <a:latin typeface="Calibri" panose="020F0502020204030204" pitchFamily="34" charset="0"/>
                        </a:rPr>
                        <a:t>3.0</a:t>
                      </a:r>
                    </a:p>
                  </a:txBody>
                  <a:tcPr marL="7620" marR="7620" marT="762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a:r>
                        <a:rPr lang="es-GT" dirty="0"/>
                        <a:t>3.0</a:t>
                      </a:r>
                    </a:p>
                  </a:txBody>
                  <a:tcPr anchor="ctr">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b"/>
                      <a:r>
                        <a:rPr lang="es-GT" sz="1800" b="0" i="0" u="none" strike="noStrike" dirty="0">
                          <a:solidFill>
                            <a:srgbClr val="000000"/>
                          </a:solidFill>
                          <a:effectLst/>
                          <a:latin typeface="Calibri" panose="020F0502020204030204" pitchFamily="34" charset="0"/>
                        </a:rPr>
                        <a:t>3.00</a:t>
                      </a:r>
                    </a:p>
                  </a:txBody>
                  <a:tcPr marL="7620" marR="7620" marT="762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288196150"/>
                  </a:ext>
                </a:extLst>
              </a:tr>
              <a:tr h="0">
                <a:tc rowSpan="2">
                  <a:txBody>
                    <a:bodyPr/>
                    <a:lstStyle/>
                    <a:p>
                      <a:r>
                        <a:rPr lang="es-GT" dirty="0"/>
                        <a:t>Remesas $.</a:t>
                      </a:r>
                    </a:p>
                    <a:p>
                      <a:pPr marL="0" marR="0" lvl="0" indent="0" algn="l" defTabSz="914400" rtl="0" eaLnBrk="1" fontAlgn="auto" latinLnBrk="0" hangingPunct="1">
                        <a:lnSpc>
                          <a:spcPct val="100000"/>
                        </a:lnSpc>
                        <a:spcBef>
                          <a:spcPts val="0"/>
                        </a:spcBef>
                        <a:spcAft>
                          <a:spcPts val="0"/>
                        </a:spcAft>
                        <a:buClrTx/>
                        <a:buSzTx/>
                        <a:buFontTx/>
                        <a:buNone/>
                        <a:tabLst/>
                        <a:defRPr/>
                      </a:pPr>
                      <a:r>
                        <a:rPr lang="es-GT" b="1" dirty="0"/>
                        <a:t>   Variación %</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GT" dirty="0"/>
                        <a:t>11,340.4</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GT" sz="1800" dirty="0"/>
                        <a:t>13,721.9</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a:r>
                        <a:rPr lang="es-GT" dirty="0"/>
                        <a:t>14,088.5</a:t>
                      </a:r>
                    </a:p>
                  </a:txBody>
                  <a:tcPr anchor="ctr">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s-GT" sz="1800" dirty="0"/>
                        <a:t>15,211.7</a:t>
                      </a:r>
                    </a:p>
                  </a:txBody>
                  <a:tcPr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30759664"/>
                  </a:ext>
                </a:extLst>
              </a:tr>
              <a:tr h="193036">
                <a:tc vMerge="1">
                  <a:txBody>
                    <a:bodyPr/>
                    <a:lstStyle/>
                    <a:p>
                      <a:endParaRPr lang="es-GT"/>
                    </a:p>
                  </a:txBody>
                  <a:tcPr/>
                </a:tc>
                <a:tc>
                  <a:txBody>
                    <a:bodyPr/>
                    <a:lstStyle/>
                    <a:p>
                      <a:pPr algn="ctr"/>
                      <a:r>
                        <a:rPr lang="es-GT" b="1" dirty="0"/>
                        <a:t>7.9</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GT" sz="1800" b="1" dirty="0"/>
                        <a:t>21.0</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a:r>
                        <a:rPr lang="es-GT" b="1" dirty="0"/>
                        <a:t>8.5</a:t>
                      </a:r>
                    </a:p>
                  </a:txBody>
                  <a:tcPr anchor="ctr">
                    <a:lnL w="12700" cap="flat" cmpd="sng" algn="ctr">
                      <a:solidFill>
                        <a:schemeClr val="accent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s-GT" sz="1800" b="1" dirty="0"/>
                        <a:t>9.5</a:t>
                      </a:r>
                    </a:p>
                  </a:txBody>
                  <a:tcPr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720500591"/>
                  </a:ext>
                </a:extLst>
              </a:tr>
            </a:tbl>
          </a:graphicData>
        </a:graphic>
      </p:graphicFrame>
    </p:spTree>
    <p:custDataLst>
      <p:tags r:id="rId2"/>
    </p:custDataLst>
    <p:extLst>
      <p:ext uri="{BB962C8B-B14F-4D97-AF65-F5344CB8AC3E}">
        <p14:creationId xmlns:p14="http://schemas.microsoft.com/office/powerpoint/2010/main" val="26334194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612C927D-3748-4A4E-816E-96996793B4E7}"/>
              </a:ext>
            </a:extLst>
          </p:cNvPr>
          <p:cNvGraphicFramePr>
            <a:graphicFrameLocks noChangeAspect="1"/>
          </p:cNvGraphicFramePr>
          <p:nvPr>
            <p:custDataLst>
              <p:tags r:id="rId3"/>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2531" name="Diapositiva de think-cell" r:id="rId6" imgW="395" imgH="394" progId="TCLayout.ActiveDocument.1">
                  <p:embed/>
                </p:oleObj>
              </mc:Choice>
              <mc:Fallback>
                <p:oleObj name="Diapositiva de think-cell" r:id="rId6" imgW="395" imgH="394" progId="TCLayout.ActiveDocument.1">
                  <p:embed/>
                  <p:pic>
                    <p:nvPicPr>
                      <p:cNvPr id="4" name="Objeto 3" hidden="1">
                        <a:extLst>
                          <a:ext uri="{FF2B5EF4-FFF2-40B4-BE49-F238E27FC236}">
                            <a16:creationId xmlns:a16="http://schemas.microsoft.com/office/drawing/2014/main" id="{612C927D-3748-4A4E-816E-96996793B4E7}"/>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11" name="Rectángulo 10" hidden="1">
            <a:extLst>
              <a:ext uri="{FF2B5EF4-FFF2-40B4-BE49-F238E27FC236}">
                <a16:creationId xmlns:a16="http://schemas.microsoft.com/office/drawing/2014/main" id="{5CEDD324-C245-420B-A8DC-2EEF4B0D7FE7}"/>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sym typeface="Arial" panose="020B0604020202020204" pitchFamily="34" charset="0"/>
            </a:endParaRPr>
          </a:p>
        </p:txBody>
      </p:sp>
      <p:sp>
        <p:nvSpPr>
          <p:cNvPr id="16" name="Rectángulo 15" hidden="1">
            <a:extLst>
              <a:ext uri="{FF2B5EF4-FFF2-40B4-BE49-F238E27FC236}">
                <a16:creationId xmlns:a16="http://schemas.microsoft.com/office/drawing/2014/main" id="{A70850B7-190D-46D7-A7EC-2EC403037B82}"/>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endParaRPr>
          </a:p>
        </p:txBody>
      </p:sp>
      <p:sp>
        <p:nvSpPr>
          <p:cNvPr id="18" name="Título 1">
            <a:extLst>
              <a:ext uri="{FF2B5EF4-FFF2-40B4-BE49-F238E27FC236}">
                <a16:creationId xmlns:a16="http://schemas.microsoft.com/office/drawing/2014/main" id="{138826A5-4EBC-4884-A039-681D45109432}"/>
              </a:ext>
            </a:extLst>
          </p:cNvPr>
          <p:cNvSpPr>
            <a:spLocks noGrp="1"/>
          </p:cNvSpPr>
          <p:nvPr>
            <p:ph type="title"/>
          </p:nvPr>
        </p:nvSpPr>
        <p:spPr>
          <a:xfrm>
            <a:off x="345382" y="46785"/>
            <a:ext cx="7129615" cy="937257"/>
          </a:xfrm>
          <a:noFill/>
        </p:spPr>
        <p:txBody>
          <a:bodyPr vert="horz"/>
          <a:lstStyle/>
          <a:p>
            <a:r>
              <a:rPr lang="es-GT" sz="2400" b="1" dirty="0">
                <a:solidFill>
                  <a:schemeClr val="bg1"/>
                </a:solidFill>
              </a:rPr>
              <a:t>Escenarios macro cambian estimaciones de carga tributaria</a:t>
            </a:r>
          </a:p>
        </p:txBody>
      </p:sp>
      <p:graphicFrame>
        <p:nvGraphicFramePr>
          <p:cNvPr id="12" name="Marcador de contenido 12">
            <a:extLst>
              <a:ext uri="{FF2B5EF4-FFF2-40B4-BE49-F238E27FC236}">
                <a16:creationId xmlns:a16="http://schemas.microsoft.com/office/drawing/2014/main" id="{803D09AA-E8CB-4695-B29E-7F183D467C09}"/>
              </a:ext>
            </a:extLst>
          </p:cNvPr>
          <p:cNvGraphicFramePr>
            <a:graphicFrameLocks noGrp="1"/>
          </p:cNvGraphicFramePr>
          <p:nvPr>
            <p:ph idx="1"/>
            <p:extLst>
              <p:ext uri="{D42A27DB-BD31-4B8C-83A1-F6EECF244321}">
                <p14:modId xmlns:p14="http://schemas.microsoft.com/office/powerpoint/2010/main" val="1212530090"/>
              </p:ext>
            </p:extLst>
          </p:nvPr>
        </p:nvGraphicFramePr>
        <p:xfrm>
          <a:off x="180128" y="1894094"/>
          <a:ext cx="5481028" cy="4551562"/>
        </p:xfrm>
        <a:graphic>
          <a:graphicData uri="http://schemas.openxmlformats.org/drawingml/2006/chart">
            <c:chart xmlns:c="http://schemas.openxmlformats.org/drawingml/2006/chart" xmlns:r="http://schemas.openxmlformats.org/officeDocument/2006/relationships" r:id="rId8"/>
          </a:graphicData>
        </a:graphic>
      </p:graphicFrame>
      <p:sp>
        <p:nvSpPr>
          <p:cNvPr id="31" name="CuadroTexto 30">
            <a:extLst>
              <a:ext uri="{FF2B5EF4-FFF2-40B4-BE49-F238E27FC236}">
                <a16:creationId xmlns:a16="http://schemas.microsoft.com/office/drawing/2014/main" id="{4E5E01FA-5F01-4EEC-80E2-74D0C19C8239}"/>
              </a:ext>
            </a:extLst>
          </p:cNvPr>
          <p:cNvSpPr txBox="1"/>
          <p:nvPr/>
        </p:nvSpPr>
        <p:spPr>
          <a:xfrm>
            <a:off x="180128" y="6581001"/>
            <a:ext cx="5013396" cy="276999"/>
          </a:xfrm>
          <a:prstGeom prst="rect">
            <a:avLst/>
          </a:prstGeom>
          <a:noFill/>
        </p:spPr>
        <p:txBody>
          <a:bodyPr wrap="square">
            <a:spAutoFit/>
          </a:bodyPr>
          <a:lstStyle/>
          <a:p>
            <a:r>
              <a:rPr lang="es-GT" sz="1200" b="1" dirty="0"/>
              <a:t>Fuente: Superintendencia de Administración Tributaria -SAT-</a:t>
            </a:r>
          </a:p>
        </p:txBody>
      </p:sp>
      <p:sp>
        <p:nvSpPr>
          <p:cNvPr id="2" name="CuadroTexto 1">
            <a:extLst>
              <a:ext uri="{FF2B5EF4-FFF2-40B4-BE49-F238E27FC236}">
                <a16:creationId xmlns:a16="http://schemas.microsoft.com/office/drawing/2014/main" id="{FDAA7241-92BC-4D73-8587-9C0E1BF7F93B}"/>
              </a:ext>
            </a:extLst>
          </p:cNvPr>
          <p:cNvSpPr txBox="1"/>
          <p:nvPr/>
        </p:nvSpPr>
        <p:spPr>
          <a:xfrm>
            <a:off x="4279036" y="1032042"/>
            <a:ext cx="3195961" cy="461665"/>
          </a:xfrm>
          <a:prstGeom prst="rect">
            <a:avLst/>
          </a:prstGeom>
          <a:noFill/>
        </p:spPr>
        <p:txBody>
          <a:bodyPr wrap="square" rtlCol="0">
            <a:spAutoFit/>
          </a:bodyPr>
          <a:lstStyle/>
          <a:p>
            <a:pPr algn="ctr"/>
            <a:r>
              <a:rPr lang="es-GT" sz="2400" b="1" dirty="0">
                <a:solidFill>
                  <a:srgbClr val="0B3963"/>
                </a:solidFill>
              </a:rPr>
              <a:t>Porcentajes del PIB</a:t>
            </a:r>
          </a:p>
        </p:txBody>
      </p:sp>
      <p:graphicFrame>
        <p:nvGraphicFramePr>
          <p:cNvPr id="13" name="Marcador de contenido 12">
            <a:extLst>
              <a:ext uri="{FF2B5EF4-FFF2-40B4-BE49-F238E27FC236}">
                <a16:creationId xmlns:a16="http://schemas.microsoft.com/office/drawing/2014/main" id="{2AFE50D9-5EC5-4852-8651-5BF7A3EE4EB1}"/>
              </a:ext>
            </a:extLst>
          </p:cNvPr>
          <p:cNvGraphicFramePr>
            <a:graphicFrameLocks/>
          </p:cNvGraphicFramePr>
          <p:nvPr>
            <p:extLst>
              <p:ext uri="{D42A27DB-BD31-4B8C-83A1-F6EECF244321}">
                <p14:modId xmlns:p14="http://schemas.microsoft.com/office/powerpoint/2010/main" val="398452212"/>
              </p:ext>
            </p:extLst>
          </p:nvPr>
        </p:nvGraphicFramePr>
        <p:xfrm>
          <a:off x="5992960" y="1846094"/>
          <a:ext cx="6018912" cy="4633014"/>
        </p:xfrm>
        <a:graphic>
          <a:graphicData uri="http://schemas.openxmlformats.org/drawingml/2006/chart">
            <c:chart xmlns:c="http://schemas.openxmlformats.org/drawingml/2006/chart" xmlns:r="http://schemas.openxmlformats.org/officeDocument/2006/relationships" r:id="rId9"/>
          </a:graphicData>
        </a:graphic>
      </p:graphicFrame>
      <p:sp>
        <p:nvSpPr>
          <p:cNvPr id="3" name="CuadroTexto 2">
            <a:extLst>
              <a:ext uri="{FF2B5EF4-FFF2-40B4-BE49-F238E27FC236}">
                <a16:creationId xmlns:a16="http://schemas.microsoft.com/office/drawing/2014/main" id="{3AD9C63A-7C2E-45FA-88E2-49D396CA29E7}"/>
              </a:ext>
            </a:extLst>
          </p:cNvPr>
          <p:cNvSpPr txBox="1"/>
          <p:nvPr/>
        </p:nvSpPr>
        <p:spPr>
          <a:xfrm>
            <a:off x="1322661" y="1476762"/>
            <a:ext cx="3195961" cy="369332"/>
          </a:xfrm>
          <a:prstGeom prst="rect">
            <a:avLst/>
          </a:prstGeom>
          <a:solidFill>
            <a:schemeClr val="accent5">
              <a:lumMod val="50000"/>
            </a:schemeClr>
          </a:solidFill>
        </p:spPr>
        <p:txBody>
          <a:bodyPr wrap="square" rtlCol="0">
            <a:spAutoFit/>
          </a:bodyPr>
          <a:lstStyle/>
          <a:p>
            <a:pPr algn="ctr"/>
            <a:r>
              <a:rPr lang="es-GT" b="1" dirty="0">
                <a:solidFill>
                  <a:schemeClr val="bg1"/>
                </a:solidFill>
              </a:rPr>
              <a:t>Escenario Abril-Mayo</a:t>
            </a:r>
          </a:p>
        </p:txBody>
      </p:sp>
      <p:sp>
        <p:nvSpPr>
          <p:cNvPr id="14" name="CuadroTexto 13">
            <a:extLst>
              <a:ext uri="{FF2B5EF4-FFF2-40B4-BE49-F238E27FC236}">
                <a16:creationId xmlns:a16="http://schemas.microsoft.com/office/drawing/2014/main" id="{EDC557D7-99EC-4019-A93C-CFC612118AF0}"/>
              </a:ext>
            </a:extLst>
          </p:cNvPr>
          <p:cNvSpPr txBox="1"/>
          <p:nvPr/>
        </p:nvSpPr>
        <p:spPr>
          <a:xfrm>
            <a:off x="7793536" y="1476762"/>
            <a:ext cx="3195961" cy="369332"/>
          </a:xfrm>
          <a:prstGeom prst="rect">
            <a:avLst/>
          </a:prstGeom>
          <a:solidFill>
            <a:schemeClr val="accent5">
              <a:lumMod val="50000"/>
            </a:schemeClr>
          </a:solidFill>
        </p:spPr>
        <p:txBody>
          <a:bodyPr wrap="square" rtlCol="0">
            <a:spAutoFit/>
          </a:bodyPr>
          <a:lstStyle/>
          <a:p>
            <a:pPr algn="ctr"/>
            <a:r>
              <a:rPr lang="es-GT" b="1" dirty="0">
                <a:solidFill>
                  <a:schemeClr val="bg1"/>
                </a:solidFill>
              </a:rPr>
              <a:t>Escenario Julio-Agosto</a:t>
            </a:r>
          </a:p>
        </p:txBody>
      </p:sp>
    </p:spTree>
    <p:custDataLst>
      <p:tags r:id="rId2"/>
    </p:custDataLst>
    <p:extLst>
      <p:ext uri="{BB962C8B-B14F-4D97-AF65-F5344CB8AC3E}">
        <p14:creationId xmlns:p14="http://schemas.microsoft.com/office/powerpoint/2010/main" val="19480614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612C927D-3748-4A4E-816E-96996793B4E7}"/>
              </a:ext>
            </a:extLst>
          </p:cNvPr>
          <p:cNvGraphicFramePr>
            <a:graphicFrameLocks noChangeAspect="1"/>
          </p:cNvGraphicFramePr>
          <p:nvPr>
            <p:custDataLst>
              <p:tags r:id="rId3"/>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3555" name="Diapositiva de think-cell" r:id="rId6" imgW="395" imgH="394" progId="TCLayout.ActiveDocument.1">
                  <p:embed/>
                </p:oleObj>
              </mc:Choice>
              <mc:Fallback>
                <p:oleObj name="Diapositiva de think-cell" r:id="rId6" imgW="395" imgH="394" progId="TCLayout.ActiveDocument.1">
                  <p:embed/>
                  <p:pic>
                    <p:nvPicPr>
                      <p:cNvPr id="4" name="Objeto 3" hidden="1">
                        <a:extLst>
                          <a:ext uri="{FF2B5EF4-FFF2-40B4-BE49-F238E27FC236}">
                            <a16:creationId xmlns:a16="http://schemas.microsoft.com/office/drawing/2014/main" id="{612C927D-3748-4A4E-816E-96996793B4E7}"/>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11" name="Rectángulo 10" hidden="1">
            <a:extLst>
              <a:ext uri="{FF2B5EF4-FFF2-40B4-BE49-F238E27FC236}">
                <a16:creationId xmlns:a16="http://schemas.microsoft.com/office/drawing/2014/main" id="{5CEDD324-C245-420B-A8DC-2EEF4B0D7FE7}"/>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sym typeface="Arial" panose="020B0604020202020204" pitchFamily="34" charset="0"/>
            </a:endParaRPr>
          </a:p>
        </p:txBody>
      </p:sp>
      <p:sp>
        <p:nvSpPr>
          <p:cNvPr id="16" name="Rectángulo 15" hidden="1">
            <a:extLst>
              <a:ext uri="{FF2B5EF4-FFF2-40B4-BE49-F238E27FC236}">
                <a16:creationId xmlns:a16="http://schemas.microsoft.com/office/drawing/2014/main" id="{A70850B7-190D-46D7-A7EC-2EC403037B82}"/>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endParaRPr>
          </a:p>
        </p:txBody>
      </p:sp>
      <p:sp>
        <p:nvSpPr>
          <p:cNvPr id="18" name="Título 1">
            <a:extLst>
              <a:ext uri="{FF2B5EF4-FFF2-40B4-BE49-F238E27FC236}">
                <a16:creationId xmlns:a16="http://schemas.microsoft.com/office/drawing/2014/main" id="{138826A5-4EBC-4884-A039-681D45109432}"/>
              </a:ext>
            </a:extLst>
          </p:cNvPr>
          <p:cNvSpPr>
            <a:spLocks noGrp="1"/>
          </p:cNvSpPr>
          <p:nvPr>
            <p:ph type="title"/>
          </p:nvPr>
        </p:nvSpPr>
        <p:spPr>
          <a:xfrm>
            <a:off x="365760" y="0"/>
            <a:ext cx="7386953" cy="1101838"/>
          </a:xfrm>
          <a:noFill/>
        </p:spPr>
        <p:txBody>
          <a:bodyPr vert="horz"/>
          <a:lstStyle/>
          <a:p>
            <a:r>
              <a:rPr lang="es-GT" sz="2400" b="1" dirty="0">
                <a:solidFill>
                  <a:schemeClr val="bg1"/>
                </a:solidFill>
              </a:rPr>
              <a:t>Comportamiento histórico de la recaudación tributaria</a:t>
            </a:r>
          </a:p>
        </p:txBody>
      </p:sp>
      <p:sp>
        <p:nvSpPr>
          <p:cNvPr id="31" name="CuadroTexto 30">
            <a:extLst>
              <a:ext uri="{FF2B5EF4-FFF2-40B4-BE49-F238E27FC236}">
                <a16:creationId xmlns:a16="http://schemas.microsoft.com/office/drawing/2014/main" id="{4E5E01FA-5F01-4EEC-80E2-74D0C19C8239}"/>
              </a:ext>
            </a:extLst>
          </p:cNvPr>
          <p:cNvSpPr txBox="1"/>
          <p:nvPr/>
        </p:nvSpPr>
        <p:spPr>
          <a:xfrm>
            <a:off x="694460" y="6473484"/>
            <a:ext cx="5013396" cy="276999"/>
          </a:xfrm>
          <a:prstGeom prst="rect">
            <a:avLst/>
          </a:prstGeom>
          <a:noFill/>
        </p:spPr>
        <p:txBody>
          <a:bodyPr wrap="square">
            <a:spAutoFit/>
          </a:bodyPr>
          <a:lstStyle/>
          <a:p>
            <a:r>
              <a:rPr lang="es-GT" sz="1200" b="1" dirty="0">
                <a:solidFill>
                  <a:srgbClr val="0385B3"/>
                </a:solidFill>
              </a:rPr>
              <a:t>Fuente: Superintendencia de Administración Tributaria -SAT-</a:t>
            </a:r>
          </a:p>
        </p:txBody>
      </p:sp>
      <p:sp>
        <p:nvSpPr>
          <p:cNvPr id="2" name="CuadroTexto 1">
            <a:extLst>
              <a:ext uri="{FF2B5EF4-FFF2-40B4-BE49-F238E27FC236}">
                <a16:creationId xmlns:a16="http://schemas.microsoft.com/office/drawing/2014/main" id="{FDAA7241-92BC-4D73-8587-9C0E1BF7F93B}"/>
              </a:ext>
            </a:extLst>
          </p:cNvPr>
          <p:cNvSpPr txBox="1"/>
          <p:nvPr/>
        </p:nvSpPr>
        <p:spPr>
          <a:xfrm>
            <a:off x="3398443" y="1194610"/>
            <a:ext cx="5725577" cy="830997"/>
          </a:xfrm>
          <a:prstGeom prst="rect">
            <a:avLst/>
          </a:prstGeom>
          <a:noFill/>
        </p:spPr>
        <p:txBody>
          <a:bodyPr wrap="square" rtlCol="0">
            <a:spAutoFit/>
          </a:bodyPr>
          <a:lstStyle/>
          <a:p>
            <a:pPr algn="ctr"/>
            <a:r>
              <a:rPr lang="es-GT" sz="2400" b="1" dirty="0">
                <a:solidFill>
                  <a:srgbClr val="0B3963"/>
                </a:solidFill>
              </a:rPr>
              <a:t>Variación interanual acumulada </a:t>
            </a:r>
          </a:p>
          <a:p>
            <a:pPr algn="ctr"/>
            <a:r>
              <a:rPr lang="es-GT" sz="2400" b="1" dirty="0">
                <a:solidFill>
                  <a:srgbClr val="0B3963"/>
                </a:solidFill>
              </a:rPr>
              <a:t>-Porcentajes-</a:t>
            </a:r>
          </a:p>
        </p:txBody>
      </p:sp>
      <p:graphicFrame>
        <p:nvGraphicFramePr>
          <p:cNvPr id="19" name="Marcador de contenido 5">
            <a:extLst>
              <a:ext uri="{FF2B5EF4-FFF2-40B4-BE49-F238E27FC236}">
                <a16:creationId xmlns:a16="http://schemas.microsoft.com/office/drawing/2014/main" id="{688C3AB5-8ACB-4F60-B590-E955314D25A5}"/>
              </a:ext>
            </a:extLst>
          </p:cNvPr>
          <p:cNvGraphicFramePr>
            <a:graphicFrameLocks/>
          </p:cNvGraphicFramePr>
          <p:nvPr>
            <p:extLst>
              <p:ext uri="{D42A27DB-BD31-4B8C-83A1-F6EECF244321}">
                <p14:modId xmlns:p14="http://schemas.microsoft.com/office/powerpoint/2010/main" val="1174083176"/>
              </p:ext>
            </p:extLst>
          </p:nvPr>
        </p:nvGraphicFramePr>
        <p:xfrm>
          <a:off x="365760" y="1902496"/>
          <a:ext cx="11381591" cy="4570988"/>
        </p:xfrm>
        <a:graphic>
          <a:graphicData uri="http://schemas.openxmlformats.org/drawingml/2006/chart">
            <c:chart xmlns:c="http://schemas.openxmlformats.org/drawingml/2006/chart" xmlns:r="http://schemas.openxmlformats.org/officeDocument/2006/relationships" r:id="rId8"/>
          </a:graphicData>
        </a:graphic>
      </p:graphicFrame>
    </p:spTree>
    <p:custDataLst>
      <p:tags r:id="rId2"/>
    </p:custDataLst>
    <p:extLst>
      <p:ext uri="{BB962C8B-B14F-4D97-AF65-F5344CB8AC3E}">
        <p14:creationId xmlns:p14="http://schemas.microsoft.com/office/powerpoint/2010/main" val="18301474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612C927D-3748-4A4E-816E-96996793B4E7}"/>
              </a:ext>
            </a:extLst>
          </p:cNvPr>
          <p:cNvGraphicFramePr>
            <a:graphicFrameLocks noChangeAspect="1"/>
          </p:cNvGraphicFramePr>
          <p:nvPr>
            <p:custDataLst>
              <p:tags r:id="rId3"/>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4579" name="Diapositiva de think-cell" r:id="rId6" imgW="395" imgH="394" progId="TCLayout.ActiveDocument.1">
                  <p:embed/>
                </p:oleObj>
              </mc:Choice>
              <mc:Fallback>
                <p:oleObj name="Diapositiva de think-cell" r:id="rId6" imgW="395" imgH="394" progId="TCLayout.ActiveDocument.1">
                  <p:embed/>
                  <p:pic>
                    <p:nvPicPr>
                      <p:cNvPr id="4" name="Objeto 3" hidden="1">
                        <a:extLst>
                          <a:ext uri="{FF2B5EF4-FFF2-40B4-BE49-F238E27FC236}">
                            <a16:creationId xmlns:a16="http://schemas.microsoft.com/office/drawing/2014/main" id="{612C927D-3748-4A4E-816E-96996793B4E7}"/>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11" name="Rectángulo 10" hidden="1">
            <a:extLst>
              <a:ext uri="{FF2B5EF4-FFF2-40B4-BE49-F238E27FC236}">
                <a16:creationId xmlns:a16="http://schemas.microsoft.com/office/drawing/2014/main" id="{5CEDD324-C245-420B-A8DC-2EEF4B0D7FE7}"/>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sym typeface="Arial" panose="020B0604020202020204" pitchFamily="34" charset="0"/>
            </a:endParaRPr>
          </a:p>
        </p:txBody>
      </p:sp>
      <p:sp>
        <p:nvSpPr>
          <p:cNvPr id="16" name="Rectángulo 15" hidden="1">
            <a:extLst>
              <a:ext uri="{FF2B5EF4-FFF2-40B4-BE49-F238E27FC236}">
                <a16:creationId xmlns:a16="http://schemas.microsoft.com/office/drawing/2014/main" id="{A70850B7-190D-46D7-A7EC-2EC403037B82}"/>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endParaRPr>
          </a:p>
        </p:txBody>
      </p:sp>
      <p:sp>
        <p:nvSpPr>
          <p:cNvPr id="18" name="Título 1">
            <a:extLst>
              <a:ext uri="{FF2B5EF4-FFF2-40B4-BE49-F238E27FC236}">
                <a16:creationId xmlns:a16="http://schemas.microsoft.com/office/drawing/2014/main" id="{138826A5-4EBC-4884-A039-681D45109432}"/>
              </a:ext>
            </a:extLst>
          </p:cNvPr>
          <p:cNvSpPr>
            <a:spLocks noGrp="1"/>
          </p:cNvSpPr>
          <p:nvPr>
            <p:ph type="title"/>
          </p:nvPr>
        </p:nvSpPr>
        <p:spPr>
          <a:xfrm>
            <a:off x="434456" y="80241"/>
            <a:ext cx="6873521" cy="911597"/>
          </a:xfrm>
          <a:noFill/>
        </p:spPr>
        <p:txBody>
          <a:bodyPr vert="horz"/>
          <a:lstStyle/>
          <a:p>
            <a:r>
              <a:rPr lang="es-GT" sz="2400" b="1" dirty="0">
                <a:solidFill>
                  <a:schemeClr val="bg1"/>
                </a:solidFill>
              </a:rPr>
              <a:t>Financiamiento de los Techos Presupuestarios</a:t>
            </a:r>
          </a:p>
        </p:txBody>
      </p:sp>
      <p:graphicFrame>
        <p:nvGraphicFramePr>
          <p:cNvPr id="9" name="Gráfico 8">
            <a:extLst>
              <a:ext uri="{FF2B5EF4-FFF2-40B4-BE49-F238E27FC236}">
                <a16:creationId xmlns:a16="http://schemas.microsoft.com/office/drawing/2014/main" id="{7B176802-8DBE-47D5-B2C7-3FD389BE8BFD}"/>
              </a:ext>
            </a:extLst>
          </p:cNvPr>
          <p:cNvGraphicFramePr/>
          <p:nvPr>
            <p:extLst>
              <p:ext uri="{D42A27DB-BD31-4B8C-83A1-F6EECF244321}">
                <p14:modId xmlns:p14="http://schemas.microsoft.com/office/powerpoint/2010/main" val="3247288996"/>
              </p:ext>
            </p:extLst>
          </p:nvPr>
        </p:nvGraphicFramePr>
        <p:xfrm>
          <a:off x="874791" y="1444029"/>
          <a:ext cx="9763125" cy="5181600"/>
        </p:xfrm>
        <a:graphic>
          <a:graphicData uri="http://schemas.openxmlformats.org/drawingml/2006/chart">
            <c:chart xmlns:c="http://schemas.openxmlformats.org/drawingml/2006/chart" xmlns:r="http://schemas.openxmlformats.org/officeDocument/2006/relationships" r:id="rId8"/>
          </a:graphicData>
        </a:graphic>
      </p:graphicFrame>
      <p:grpSp>
        <p:nvGrpSpPr>
          <p:cNvPr id="8" name="Grupo 7">
            <a:extLst>
              <a:ext uri="{FF2B5EF4-FFF2-40B4-BE49-F238E27FC236}">
                <a16:creationId xmlns:a16="http://schemas.microsoft.com/office/drawing/2014/main" id="{079FCDEB-B179-49C1-8DED-D843BF2CD9D1}"/>
              </a:ext>
            </a:extLst>
          </p:cNvPr>
          <p:cNvGrpSpPr/>
          <p:nvPr/>
        </p:nvGrpSpPr>
        <p:grpSpPr>
          <a:xfrm>
            <a:off x="10494387" y="1977589"/>
            <a:ext cx="791815" cy="1004160"/>
            <a:chOff x="10599632" y="1825097"/>
            <a:chExt cx="791815" cy="1004160"/>
          </a:xfrm>
        </p:grpSpPr>
        <p:sp>
          <p:nvSpPr>
            <p:cNvPr id="10" name="Cerrar llave 9">
              <a:extLst>
                <a:ext uri="{FF2B5EF4-FFF2-40B4-BE49-F238E27FC236}">
                  <a16:creationId xmlns:a16="http://schemas.microsoft.com/office/drawing/2014/main" id="{8566B9BD-0B96-4AD1-89C1-DFEE28824885}"/>
                </a:ext>
              </a:extLst>
            </p:cNvPr>
            <p:cNvSpPr/>
            <p:nvPr/>
          </p:nvSpPr>
          <p:spPr>
            <a:xfrm>
              <a:off x="10599632" y="1825097"/>
              <a:ext cx="214749" cy="1004160"/>
            </a:xfrm>
            <a:prstGeom prst="rightBrace">
              <a:avLst/>
            </a:prstGeom>
            <a:ln w="22225"/>
          </p:spPr>
          <p:style>
            <a:lnRef idx="1">
              <a:schemeClr val="accent1"/>
            </a:lnRef>
            <a:fillRef idx="0">
              <a:schemeClr val="accent1"/>
            </a:fillRef>
            <a:effectRef idx="0">
              <a:schemeClr val="accent1"/>
            </a:effectRef>
            <a:fontRef idx="minor">
              <a:schemeClr val="tx1"/>
            </a:fontRef>
          </p:style>
          <p:txBody>
            <a:bodyPr rtlCol="0" anchor="ctr"/>
            <a:lstStyle/>
            <a:p>
              <a:pPr algn="ctr"/>
              <a:endParaRPr lang="es-GT"/>
            </a:p>
          </p:txBody>
        </p:sp>
        <p:sp>
          <p:nvSpPr>
            <p:cNvPr id="13" name="CuadroTexto 12">
              <a:extLst>
                <a:ext uri="{FF2B5EF4-FFF2-40B4-BE49-F238E27FC236}">
                  <a16:creationId xmlns:a16="http://schemas.microsoft.com/office/drawing/2014/main" id="{73E4B34F-0185-4B77-A877-F665003CCF7D}"/>
                </a:ext>
              </a:extLst>
            </p:cNvPr>
            <p:cNvSpPr txBox="1"/>
            <p:nvPr/>
          </p:nvSpPr>
          <p:spPr>
            <a:xfrm>
              <a:off x="10766313" y="2188677"/>
              <a:ext cx="625134" cy="276999"/>
            </a:xfrm>
            <a:prstGeom prst="rect">
              <a:avLst/>
            </a:prstGeom>
            <a:noFill/>
          </p:spPr>
          <p:txBody>
            <a:bodyPr wrap="square" rtlCol="0">
              <a:spAutoFit/>
            </a:bodyPr>
            <a:lstStyle/>
            <a:p>
              <a:r>
                <a:rPr lang="es-GT" sz="1200" b="1" dirty="0">
                  <a:solidFill>
                    <a:schemeClr val="accent1"/>
                  </a:solidFill>
                </a:rPr>
                <a:t>11.5%</a:t>
              </a:r>
            </a:p>
          </p:txBody>
        </p:sp>
      </p:grpSp>
      <p:sp>
        <p:nvSpPr>
          <p:cNvPr id="21" name="CuadroTexto 20">
            <a:extLst>
              <a:ext uri="{FF2B5EF4-FFF2-40B4-BE49-F238E27FC236}">
                <a16:creationId xmlns:a16="http://schemas.microsoft.com/office/drawing/2014/main" id="{961C101F-6E39-4E44-BF43-34C6329E0919}"/>
              </a:ext>
            </a:extLst>
          </p:cNvPr>
          <p:cNvSpPr txBox="1"/>
          <p:nvPr/>
        </p:nvSpPr>
        <p:spPr>
          <a:xfrm>
            <a:off x="4380934" y="1108771"/>
            <a:ext cx="3650390" cy="400110"/>
          </a:xfrm>
          <a:prstGeom prst="rect">
            <a:avLst/>
          </a:prstGeom>
          <a:noFill/>
        </p:spPr>
        <p:txBody>
          <a:bodyPr wrap="square" rtlCol="0">
            <a:spAutoFit/>
          </a:bodyPr>
          <a:lstStyle/>
          <a:p>
            <a:pPr algn="ctr"/>
            <a:r>
              <a:rPr lang="es-GT" sz="2000" b="1" dirty="0"/>
              <a:t>Millones de quetzales</a:t>
            </a:r>
          </a:p>
        </p:txBody>
      </p:sp>
      <p:sp>
        <p:nvSpPr>
          <p:cNvPr id="28" name="CuadroTexto 27">
            <a:extLst>
              <a:ext uri="{FF2B5EF4-FFF2-40B4-BE49-F238E27FC236}">
                <a16:creationId xmlns:a16="http://schemas.microsoft.com/office/drawing/2014/main" id="{A70063F2-D881-4EFA-929A-2691F3CF670C}"/>
              </a:ext>
            </a:extLst>
          </p:cNvPr>
          <p:cNvSpPr txBox="1"/>
          <p:nvPr/>
        </p:nvSpPr>
        <p:spPr>
          <a:xfrm>
            <a:off x="8449328" y="1572604"/>
            <a:ext cx="1444427" cy="400110"/>
          </a:xfrm>
          <a:prstGeom prst="rect">
            <a:avLst/>
          </a:prstGeom>
          <a:noFill/>
        </p:spPr>
        <p:txBody>
          <a:bodyPr wrap="square" rtlCol="0">
            <a:spAutoFit/>
          </a:bodyPr>
          <a:lstStyle/>
          <a:p>
            <a:r>
              <a:rPr lang="es-GT" sz="2000" b="1" dirty="0"/>
              <a:t>100,839.6</a:t>
            </a:r>
          </a:p>
        </p:txBody>
      </p:sp>
      <p:sp>
        <p:nvSpPr>
          <p:cNvPr id="7" name="CuadroTexto 6">
            <a:extLst>
              <a:ext uri="{FF2B5EF4-FFF2-40B4-BE49-F238E27FC236}">
                <a16:creationId xmlns:a16="http://schemas.microsoft.com/office/drawing/2014/main" id="{E8BF9C7A-43BB-4756-AB92-7A3C6D5CE683}"/>
              </a:ext>
            </a:extLst>
          </p:cNvPr>
          <p:cNvSpPr txBox="1"/>
          <p:nvPr/>
        </p:nvSpPr>
        <p:spPr>
          <a:xfrm>
            <a:off x="2236628" y="1210164"/>
            <a:ext cx="1924050" cy="400110"/>
          </a:xfrm>
          <a:prstGeom prst="rect">
            <a:avLst/>
          </a:prstGeom>
          <a:noFill/>
        </p:spPr>
        <p:txBody>
          <a:bodyPr wrap="square" rtlCol="0">
            <a:spAutoFit/>
          </a:bodyPr>
          <a:lstStyle/>
          <a:p>
            <a:pPr algn="ctr"/>
            <a:r>
              <a:rPr lang="es-GT" sz="2000" b="1" dirty="0"/>
              <a:t>107,521.4</a:t>
            </a:r>
          </a:p>
        </p:txBody>
      </p:sp>
      <p:sp>
        <p:nvSpPr>
          <p:cNvPr id="2" name="CuadroTexto 1">
            <a:extLst>
              <a:ext uri="{FF2B5EF4-FFF2-40B4-BE49-F238E27FC236}">
                <a16:creationId xmlns:a16="http://schemas.microsoft.com/office/drawing/2014/main" id="{654344E0-61EA-4924-8A74-85491B69D5B0}"/>
              </a:ext>
            </a:extLst>
          </p:cNvPr>
          <p:cNvSpPr txBox="1"/>
          <p:nvPr/>
        </p:nvSpPr>
        <p:spPr>
          <a:xfrm>
            <a:off x="5916961" y="4634649"/>
            <a:ext cx="645459" cy="276999"/>
          </a:xfrm>
          <a:prstGeom prst="rect">
            <a:avLst/>
          </a:prstGeom>
          <a:noFill/>
        </p:spPr>
        <p:txBody>
          <a:bodyPr wrap="square" rtlCol="0">
            <a:spAutoFit/>
          </a:bodyPr>
          <a:lstStyle/>
          <a:p>
            <a:r>
              <a:rPr lang="es-GT" sz="1200" b="1" dirty="0">
                <a:solidFill>
                  <a:schemeClr val="bg1"/>
                </a:solidFill>
              </a:rPr>
              <a:t>20.2%</a:t>
            </a:r>
          </a:p>
        </p:txBody>
      </p:sp>
      <p:sp>
        <p:nvSpPr>
          <p:cNvPr id="3" name="CuadroTexto 2">
            <a:extLst>
              <a:ext uri="{FF2B5EF4-FFF2-40B4-BE49-F238E27FC236}">
                <a16:creationId xmlns:a16="http://schemas.microsoft.com/office/drawing/2014/main" id="{6C854344-73AB-4224-A77E-F7C1CA0D2BB3}"/>
              </a:ext>
            </a:extLst>
          </p:cNvPr>
          <p:cNvSpPr txBox="1"/>
          <p:nvPr/>
        </p:nvSpPr>
        <p:spPr>
          <a:xfrm>
            <a:off x="3021363" y="4192488"/>
            <a:ext cx="849854" cy="276999"/>
          </a:xfrm>
          <a:prstGeom prst="rect">
            <a:avLst/>
          </a:prstGeom>
          <a:noFill/>
        </p:spPr>
        <p:txBody>
          <a:bodyPr wrap="square" rtlCol="0">
            <a:spAutoFit/>
          </a:bodyPr>
          <a:lstStyle/>
          <a:p>
            <a:r>
              <a:rPr lang="es-GT" sz="1200" b="1" dirty="0">
                <a:solidFill>
                  <a:schemeClr val="bg1"/>
                </a:solidFill>
              </a:rPr>
              <a:t>28.0%</a:t>
            </a:r>
          </a:p>
        </p:txBody>
      </p:sp>
      <p:sp>
        <p:nvSpPr>
          <p:cNvPr id="5" name="CuadroTexto 4">
            <a:extLst>
              <a:ext uri="{FF2B5EF4-FFF2-40B4-BE49-F238E27FC236}">
                <a16:creationId xmlns:a16="http://schemas.microsoft.com/office/drawing/2014/main" id="{DDBE9AA1-020B-48F1-B7F9-D26CCA2B0D3F}"/>
              </a:ext>
            </a:extLst>
          </p:cNvPr>
          <p:cNvSpPr txBox="1"/>
          <p:nvPr/>
        </p:nvSpPr>
        <p:spPr>
          <a:xfrm>
            <a:off x="3021363" y="5570705"/>
            <a:ext cx="763793" cy="276999"/>
          </a:xfrm>
          <a:prstGeom prst="rect">
            <a:avLst/>
          </a:prstGeom>
          <a:noFill/>
        </p:spPr>
        <p:txBody>
          <a:bodyPr wrap="square" rtlCol="0">
            <a:spAutoFit/>
          </a:bodyPr>
          <a:lstStyle/>
          <a:p>
            <a:r>
              <a:rPr lang="es-GT" sz="1200" b="1" dirty="0">
                <a:solidFill>
                  <a:schemeClr val="bg1"/>
                </a:solidFill>
              </a:rPr>
              <a:t>59.5%</a:t>
            </a:r>
          </a:p>
        </p:txBody>
      </p:sp>
      <p:sp>
        <p:nvSpPr>
          <p:cNvPr id="6" name="CuadroTexto 5">
            <a:extLst>
              <a:ext uri="{FF2B5EF4-FFF2-40B4-BE49-F238E27FC236}">
                <a16:creationId xmlns:a16="http://schemas.microsoft.com/office/drawing/2014/main" id="{094F7DFD-25A7-4607-B2BD-2A23B53D2DDC}"/>
              </a:ext>
            </a:extLst>
          </p:cNvPr>
          <p:cNvSpPr txBox="1"/>
          <p:nvPr/>
        </p:nvSpPr>
        <p:spPr>
          <a:xfrm>
            <a:off x="731100" y="6573377"/>
            <a:ext cx="4647724" cy="276999"/>
          </a:xfrm>
          <a:prstGeom prst="rect">
            <a:avLst/>
          </a:prstGeom>
          <a:noFill/>
        </p:spPr>
        <p:txBody>
          <a:bodyPr wrap="square" rtlCol="0">
            <a:spAutoFit/>
          </a:bodyPr>
          <a:lstStyle/>
          <a:p>
            <a:r>
              <a:rPr lang="es-GT" sz="1200" b="1" dirty="0"/>
              <a:t>Fuente: Ministerio de Finanzas Públicas</a:t>
            </a:r>
          </a:p>
        </p:txBody>
      </p:sp>
    </p:spTree>
    <p:custDataLst>
      <p:tags r:id="rId2"/>
    </p:custDataLst>
    <p:extLst>
      <p:ext uri="{BB962C8B-B14F-4D97-AF65-F5344CB8AC3E}">
        <p14:creationId xmlns:p14="http://schemas.microsoft.com/office/powerpoint/2010/main" val="2805098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lecha: a la derecha 5">
            <a:extLst>
              <a:ext uri="{FF2B5EF4-FFF2-40B4-BE49-F238E27FC236}">
                <a16:creationId xmlns:a16="http://schemas.microsoft.com/office/drawing/2014/main" id="{ACB7A76A-AE47-4345-93C2-346789B31B73}"/>
              </a:ext>
            </a:extLst>
          </p:cNvPr>
          <p:cNvSpPr/>
          <p:nvPr/>
        </p:nvSpPr>
        <p:spPr>
          <a:xfrm>
            <a:off x="8924925" y="3962709"/>
            <a:ext cx="228600" cy="345550"/>
          </a:xfrm>
          <a:prstGeom prst="rightArrow">
            <a:avLst/>
          </a:prstGeom>
          <a:solidFill>
            <a:srgbClr val="0B3963"/>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GT"/>
          </a:p>
        </p:txBody>
      </p:sp>
      <p:graphicFrame>
        <p:nvGraphicFramePr>
          <p:cNvPr id="4" name="Objeto 3" hidden="1">
            <a:extLst>
              <a:ext uri="{FF2B5EF4-FFF2-40B4-BE49-F238E27FC236}">
                <a16:creationId xmlns:a16="http://schemas.microsoft.com/office/drawing/2014/main" id="{612C927D-3748-4A4E-816E-96996793B4E7}"/>
              </a:ext>
            </a:extLst>
          </p:cNvPr>
          <p:cNvGraphicFramePr>
            <a:graphicFrameLocks noChangeAspect="1"/>
          </p:cNvGraphicFramePr>
          <p:nvPr>
            <p:custDataLst>
              <p:tags r:id="rId3"/>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5603" name="Diapositiva de think-cell" r:id="rId6" imgW="395" imgH="394" progId="TCLayout.ActiveDocument.1">
                  <p:embed/>
                </p:oleObj>
              </mc:Choice>
              <mc:Fallback>
                <p:oleObj name="Diapositiva de think-cell" r:id="rId6" imgW="395" imgH="394" progId="TCLayout.ActiveDocument.1">
                  <p:embed/>
                  <p:pic>
                    <p:nvPicPr>
                      <p:cNvPr id="4" name="Objeto 3" hidden="1">
                        <a:extLst>
                          <a:ext uri="{FF2B5EF4-FFF2-40B4-BE49-F238E27FC236}">
                            <a16:creationId xmlns:a16="http://schemas.microsoft.com/office/drawing/2014/main" id="{612C927D-3748-4A4E-816E-96996793B4E7}"/>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11" name="Rectángulo 10" hidden="1">
            <a:extLst>
              <a:ext uri="{FF2B5EF4-FFF2-40B4-BE49-F238E27FC236}">
                <a16:creationId xmlns:a16="http://schemas.microsoft.com/office/drawing/2014/main" id="{5CEDD324-C245-420B-A8DC-2EEF4B0D7FE7}"/>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sym typeface="Arial" panose="020B0604020202020204" pitchFamily="34" charset="0"/>
            </a:endParaRPr>
          </a:p>
        </p:txBody>
      </p:sp>
      <p:sp>
        <p:nvSpPr>
          <p:cNvPr id="16" name="Rectángulo 15" hidden="1">
            <a:extLst>
              <a:ext uri="{FF2B5EF4-FFF2-40B4-BE49-F238E27FC236}">
                <a16:creationId xmlns:a16="http://schemas.microsoft.com/office/drawing/2014/main" id="{A70850B7-190D-46D7-A7EC-2EC403037B82}"/>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endParaRPr>
          </a:p>
        </p:txBody>
      </p:sp>
      <p:sp>
        <p:nvSpPr>
          <p:cNvPr id="70" name="Rectángulo 69">
            <a:extLst>
              <a:ext uri="{FF2B5EF4-FFF2-40B4-BE49-F238E27FC236}">
                <a16:creationId xmlns:a16="http://schemas.microsoft.com/office/drawing/2014/main" id="{EB6E8B7F-9F42-4666-8000-893CFEA37FC9}"/>
              </a:ext>
            </a:extLst>
          </p:cNvPr>
          <p:cNvSpPr/>
          <p:nvPr/>
        </p:nvSpPr>
        <p:spPr>
          <a:xfrm>
            <a:off x="502068" y="270993"/>
            <a:ext cx="6175031" cy="461665"/>
          </a:xfrm>
          <a:prstGeom prst="rect">
            <a:avLst/>
          </a:prstGeom>
          <a:noFill/>
        </p:spPr>
        <p:txBody>
          <a:bodyPr wrap="square">
            <a:spAutoFit/>
          </a:bodyPr>
          <a:lstStyle/>
          <a:p>
            <a:pPr algn="just"/>
            <a:r>
              <a:rPr lang="es-ES" sz="2400" b="1" dirty="0">
                <a:solidFill>
                  <a:schemeClr val="bg1"/>
                </a:solidFill>
                <a:latin typeface="Calibri" panose="020F0502020204030204" pitchFamily="34" charset="0"/>
                <a:cs typeface="Calibri" panose="020F0502020204030204" pitchFamily="34" charset="0"/>
              </a:rPr>
              <a:t>Destino por tipo de gasto de Techos 2022</a:t>
            </a:r>
            <a:endParaRPr lang="es-GT" sz="2400" b="1" dirty="0">
              <a:solidFill>
                <a:schemeClr val="bg1"/>
              </a:solidFill>
              <a:latin typeface="Calibri" panose="020F0502020204030204" pitchFamily="34" charset="0"/>
              <a:cs typeface="Calibri" panose="020F0502020204030204" pitchFamily="34" charset="0"/>
            </a:endParaRPr>
          </a:p>
        </p:txBody>
      </p:sp>
      <p:sp>
        <p:nvSpPr>
          <p:cNvPr id="2" name="Flecha: a la derecha 1">
            <a:extLst>
              <a:ext uri="{FF2B5EF4-FFF2-40B4-BE49-F238E27FC236}">
                <a16:creationId xmlns:a16="http://schemas.microsoft.com/office/drawing/2014/main" id="{60244FDD-E0F4-4714-A2F3-DB40BC237D20}"/>
              </a:ext>
            </a:extLst>
          </p:cNvPr>
          <p:cNvSpPr/>
          <p:nvPr/>
        </p:nvSpPr>
        <p:spPr>
          <a:xfrm>
            <a:off x="8696325" y="2428875"/>
            <a:ext cx="457200" cy="355375"/>
          </a:xfrm>
          <a:prstGeom prst="rightArrow">
            <a:avLst/>
          </a:prstGeom>
          <a:solidFill>
            <a:srgbClr val="0B3963"/>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GT"/>
          </a:p>
        </p:txBody>
      </p:sp>
      <p:graphicFrame>
        <p:nvGraphicFramePr>
          <p:cNvPr id="14" name="Chart 6">
            <a:extLst>
              <a:ext uri="{FF2B5EF4-FFF2-40B4-BE49-F238E27FC236}">
                <a16:creationId xmlns:a16="http://schemas.microsoft.com/office/drawing/2014/main" id="{35D3C6BD-365F-4BA4-B252-5E68D16A7B06}"/>
              </a:ext>
            </a:extLst>
          </p:cNvPr>
          <p:cNvGraphicFramePr/>
          <p:nvPr>
            <p:extLst>
              <p:ext uri="{D42A27DB-BD31-4B8C-83A1-F6EECF244321}">
                <p14:modId xmlns:p14="http://schemas.microsoft.com/office/powerpoint/2010/main" val="4105917954"/>
              </p:ext>
            </p:extLst>
          </p:nvPr>
        </p:nvGraphicFramePr>
        <p:xfrm>
          <a:off x="-462642" y="928466"/>
          <a:ext cx="11758424" cy="6309095"/>
        </p:xfrm>
        <a:graphic>
          <a:graphicData uri="http://schemas.openxmlformats.org/drawingml/2006/chart">
            <c:chart xmlns:c="http://schemas.openxmlformats.org/drawingml/2006/chart" xmlns:r="http://schemas.openxmlformats.org/officeDocument/2006/relationships" r:id="rId8"/>
          </a:graphicData>
        </a:graphic>
      </p:graphicFrame>
      <p:sp>
        <p:nvSpPr>
          <p:cNvPr id="13" name="TextBox 8">
            <a:extLst>
              <a:ext uri="{FF2B5EF4-FFF2-40B4-BE49-F238E27FC236}">
                <a16:creationId xmlns:a16="http://schemas.microsoft.com/office/drawing/2014/main" id="{FC3D4B20-9435-492B-902C-2D54FBDB7CDF}"/>
              </a:ext>
            </a:extLst>
          </p:cNvPr>
          <p:cNvSpPr txBox="1"/>
          <p:nvPr/>
        </p:nvSpPr>
        <p:spPr>
          <a:xfrm>
            <a:off x="6571787" y="1531290"/>
            <a:ext cx="2824559" cy="1323439"/>
          </a:xfrm>
          <a:prstGeom prst="rect">
            <a:avLst/>
          </a:prstGeom>
          <a:noFill/>
        </p:spPr>
        <p:txBody>
          <a:bodyPr wrap="square" rtlCol="0">
            <a:spAutoFit/>
          </a:bodyPr>
          <a:lstStyle/>
          <a:p>
            <a:pPr algn="ctr"/>
            <a:r>
              <a:rPr lang="es-GT" sz="2000" b="1" dirty="0">
                <a:solidFill>
                  <a:srgbClr val="0385B3"/>
                </a:solidFill>
              </a:rPr>
              <a:t>Inversión en Capital Humano</a:t>
            </a:r>
            <a:endParaRPr lang="en-US" sz="2000" b="1" dirty="0">
              <a:solidFill>
                <a:srgbClr val="0385B3"/>
              </a:solidFill>
            </a:endParaRPr>
          </a:p>
          <a:p>
            <a:pPr algn="ctr"/>
            <a:endParaRPr lang="es-GT" sz="2000" b="1" dirty="0">
              <a:solidFill>
                <a:srgbClr val="0385B3"/>
              </a:solidFill>
            </a:endParaRPr>
          </a:p>
          <a:p>
            <a:pPr algn="ctr"/>
            <a:endParaRPr lang="es-GT" sz="2000" b="1" dirty="0">
              <a:solidFill>
                <a:srgbClr val="0385B3"/>
              </a:solidFill>
            </a:endParaRPr>
          </a:p>
        </p:txBody>
      </p:sp>
      <p:sp>
        <p:nvSpPr>
          <p:cNvPr id="15" name="CuadroTexto 2">
            <a:extLst>
              <a:ext uri="{FF2B5EF4-FFF2-40B4-BE49-F238E27FC236}">
                <a16:creationId xmlns:a16="http://schemas.microsoft.com/office/drawing/2014/main" id="{BE7EC641-9321-4C5C-AC0E-08CF4EC5C561}"/>
              </a:ext>
            </a:extLst>
          </p:cNvPr>
          <p:cNvSpPr txBox="1"/>
          <p:nvPr/>
        </p:nvSpPr>
        <p:spPr>
          <a:xfrm>
            <a:off x="9335700" y="2286854"/>
            <a:ext cx="2626408" cy="132343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s-GT" sz="1600" dirty="0">
                <a:solidFill>
                  <a:schemeClr val="tx1">
                    <a:lumMod val="95000"/>
                    <a:lumOff val="5000"/>
                  </a:schemeClr>
                </a:solidFill>
              </a:rPr>
              <a:t>Pago de maestros, alimentación escolar, valija didáctica, útiles y textos, transferencias a entidades de educación, entre otros</a:t>
            </a:r>
          </a:p>
        </p:txBody>
      </p:sp>
      <p:sp>
        <p:nvSpPr>
          <p:cNvPr id="17" name="CuadroTexto 4">
            <a:extLst>
              <a:ext uri="{FF2B5EF4-FFF2-40B4-BE49-F238E27FC236}">
                <a16:creationId xmlns:a16="http://schemas.microsoft.com/office/drawing/2014/main" id="{B9D59CC8-4330-4C4A-93AB-B5E40494FC4E}"/>
              </a:ext>
            </a:extLst>
          </p:cNvPr>
          <p:cNvSpPr txBox="1"/>
          <p:nvPr/>
        </p:nvSpPr>
        <p:spPr>
          <a:xfrm>
            <a:off x="9396346" y="3987891"/>
            <a:ext cx="2626408" cy="830997"/>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s-GT" sz="1600" dirty="0">
                <a:solidFill>
                  <a:schemeClr val="tx1">
                    <a:lumMod val="95000"/>
                    <a:lumOff val="5000"/>
                  </a:schemeClr>
                </a:solidFill>
              </a:rPr>
              <a:t>Médico, personal de la salud, medicamentos, material quirúrgico, otros</a:t>
            </a:r>
          </a:p>
        </p:txBody>
      </p:sp>
      <p:sp>
        <p:nvSpPr>
          <p:cNvPr id="18" name="CuadroTexto 17">
            <a:extLst>
              <a:ext uri="{FF2B5EF4-FFF2-40B4-BE49-F238E27FC236}">
                <a16:creationId xmlns:a16="http://schemas.microsoft.com/office/drawing/2014/main" id="{ED03F97D-5500-4E3C-B52A-DE667EB737C9}"/>
              </a:ext>
            </a:extLst>
          </p:cNvPr>
          <p:cNvSpPr txBox="1"/>
          <p:nvPr/>
        </p:nvSpPr>
        <p:spPr>
          <a:xfrm>
            <a:off x="6981221" y="6391199"/>
            <a:ext cx="4647724" cy="276999"/>
          </a:xfrm>
          <a:prstGeom prst="rect">
            <a:avLst/>
          </a:prstGeom>
          <a:noFill/>
        </p:spPr>
        <p:txBody>
          <a:bodyPr wrap="square" rtlCol="0">
            <a:spAutoFit/>
          </a:bodyPr>
          <a:lstStyle/>
          <a:p>
            <a:r>
              <a:rPr lang="es-GT" sz="1200" b="1" dirty="0"/>
              <a:t>Fuente: Ministerio de Finanzas Públicas</a:t>
            </a:r>
          </a:p>
        </p:txBody>
      </p:sp>
      <p:sp>
        <p:nvSpPr>
          <p:cNvPr id="5" name="CuadroTexto 4">
            <a:extLst>
              <a:ext uri="{FF2B5EF4-FFF2-40B4-BE49-F238E27FC236}">
                <a16:creationId xmlns:a16="http://schemas.microsoft.com/office/drawing/2014/main" id="{D4BE2018-6784-4D09-8485-FD54E7395DAE}"/>
              </a:ext>
            </a:extLst>
          </p:cNvPr>
          <p:cNvSpPr txBox="1"/>
          <p:nvPr/>
        </p:nvSpPr>
        <p:spPr>
          <a:xfrm>
            <a:off x="3958322" y="1013043"/>
            <a:ext cx="3022899" cy="369332"/>
          </a:xfrm>
          <a:prstGeom prst="rect">
            <a:avLst/>
          </a:prstGeom>
          <a:noFill/>
        </p:spPr>
        <p:txBody>
          <a:bodyPr wrap="square" rtlCol="0">
            <a:spAutoFit/>
          </a:bodyPr>
          <a:lstStyle/>
          <a:p>
            <a:pPr algn="ctr"/>
            <a:r>
              <a:rPr lang="es-GT" b="1" dirty="0"/>
              <a:t>Millones de Quetzales</a:t>
            </a:r>
          </a:p>
        </p:txBody>
      </p:sp>
      <p:sp>
        <p:nvSpPr>
          <p:cNvPr id="12" name="TextBox 2">
            <a:extLst>
              <a:ext uri="{FF2B5EF4-FFF2-40B4-BE49-F238E27FC236}">
                <a16:creationId xmlns:a16="http://schemas.microsoft.com/office/drawing/2014/main" id="{94E2EEA2-CA97-4F73-A806-C211505D57B8}"/>
              </a:ext>
            </a:extLst>
          </p:cNvPr>
          <p:cNvSpPr txBox="1"/>
          <p:nvPr/>
        </p:nvSpPr>
        <p:spPr>
          <a:xfrm>
            <a:off x="-340423" y="1027571"/>
            <a:ext cx="3390900" cy="707886"/>
          </a:xfrm>
          <a:prstGeom prst="rect">
            <a:avLst/>
          </a:prstGeom>
          <a:noFill/>
        </p:spPr>
        <p:txBody>
          <a:bodyPr wrap="square" rtlCol="0">
            <a:spAutoFit/>
          </a:bodyPr>
          <a:lstStyle/>
          <a:p>
            <a:pPr algn="ctr"/>
            <a:r>
              <a:rPr lang="es-GT" sz="2000" b="1" dirty="0"/>
              <a:t>Techo 2022 fijado en: 100,839.6</a:t>
            </a:r>
            <a:r>
              <a:rPr lang="en-US" sz="2000" b="1" dirty="0"/>
              <a:t> </a:t>
            </a:r>
            <a:r>
              <a:rPr lang="en-US" sz="2000" b="1" dirty="0" err="1"/>
              <a:t>millones</a:t>
            </a:r>
            <a:endParaRPr lang="es-GT" sz="2000" b="1" dirty="0"/>
          </a:p>
        </p:txBody>
      </p:sp>
    </p:spTree>
    <p:custDataLst>
      <p:tags r:id="rId2"/>
    </p:custDataLst>
    <p:extLst>
      <p:ext uri="{BB962C8B-B14F-4D97-AF65-F5344CB8AC3E}">
        <p14:creationId xmlns:p14="http://schemas.microsoft.com/office/powerpoint/2010/main" val="51472102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612C927D-3748-4A4E-816E-96996793B4E7}"/>
              </a:ext>
            </a:extLst>
          </p:cNvPr>
          <p:cNvGraphicFramePr>
            <a:graphicFrameLocks noChangeAspect="1"/>
          </p:cNvGraphicFramePr>
          <p:nvPr>
            <p:custDataLst>
              <p:tags r:id="rId3"/>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6627" name="Diapositiva de think-cell" r:id="rId6" imgW="395" imgH="394" progId="TCLayout.ActiveDocument.1">
                  <p:embed/>
                </p:oleObj>
              </mc:Choice>
              <mc:Fallback>
                <p:oleObj name="Diapositiva de think-cell" r:id="rId6" imgW="395" imgH="394" progId="TCLayout.ActiveDocument.1">
                  <p:embed/>
                  <p:pic>
                    <p:nvPicPr>
                      <p:cNvPr id="4" name="Objeto 3" hidden="1">
                        <a:extLst>
                          <a:ext uri="{FF2B5EF4-FFF2-40B4-BE49-F238E27FC236}">
                            <a16:creationId xmlns:a16="http://schemas.microsoft.com/office/drawing/2014/main" id="{612C927D-3748-4A4E-816E-96996793B4E7}"/>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11" name="Rectángulo 10" hidden="1">
            <a:extLst>
              <a:ext uri="{FF2B5EF4-FFF2-40B4-BE49-F238E27FC236}">
                <a16:creationId xmlns:a16="http://schemas.microsoft.com/office/drawing/2014/main" id="{5CEDD324-C245-420B-A8DC-2EEF4B0D7FE7}"/>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sym typeface="Arial" panose="020B0604020202020204" pitchFamily="34" charset="0"/>
            </a:endParaRPr>
          </a:p>
        </p:txBody>
      </p:sp>
      <p:sp>
        <p:nvSpPr>
          <p:cNvPr id="16" name="Rectángulo 15" hidden="1">
            <a:extLst>
              <a:ext uri="{FF2B5EF4-FFF2-40B4-BE49-F238E27FC236}">
                <a16:creationId xmlns:a16="http://schemas.microsoft.com/office/drawing/2014/main" id="{A70850B7-190D-46D7-A7EC-2EC403037B82}"/>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endParaRPr>
          </a:p>
        </p:txBody>
      </p:sp>
      <p:sp>
        <p:nvSpPr>
          <p:cNvPr id="70" name="Rectángulo 69">
            <a:extLst>
              <a:ext uri="{FF2B5EF4-FFF2-40B4-BE49-F238E27FC236}">
                <a16:creationId xmlns:a16="http://schemas.microsoft.com/office/drawing/2014/main" id="{EB6E8B7F-9F42-4666-8000-893CFEA37FC9}"/>
              </a:ext>
            </a:extLst>
          </p:cNvPr>
          <p:cNvSpPr/>
          <p:nvPr/>
        </p:nvSpPr>
        <p:spPr>
          <a:xfrm>
            <a:off x="466176" y="228729"/>
            <a:ext cx="4855443" cy="461665"/>
          </a:xfrm>
          <a:prstGeom prst="rect">
            <a:avLst/>
          </a:prstGeom>
          <a:noFill/>
        </p:spPr>
        <p:txBody>
          <a:bodyPr wrap="square">
            <a:spAutoFit/>
          </a:bodyPr>
          <a:lstStyle/>
          <a:p>
            <a:r>
              <a:rPr lang="es-ES" sz="2400" b="1" dirty="0">
                <a:solidFill>
                  <a:schemeClr val="bg1"/>
                </a:solidFill>
                <a:latin typeface="Calibri" panose="020F0502020204030204" pitchFamily="34" charset="0"/>
                <a:cs typeface="Calibri" panose="020F0502020204030204" pitchFamily="34" charset="0"/>
              </a:rPr>
              <a:t>Previsión de déficit fiscal para 2022</a:t>
            </a:r>
            <a:endParaRPr lang="es-GT" sz="2400" b="1" dirty="0">
              <a:solidFill>
                <a:schemeClr val="bg1"/>
              </a:solidFill>
              <a:latin typeface="Calibri" panose="020F0502020204030204" pitchFamily="34" charset="0"/>
              <a:cs typeface="Calibri" panose="020F0502020204030204" pitchFamily="34" charset="0"/>
            </a:endParaRPr>
          </a:p>
        </p:txBody>
      </p:sp>
      <p:sp>
        <p:nvSpPr>
          <p:cNvPr id="7" name="CuadroTexto 6">
            <a:extLst>
              <a:ext uri="{FF2B5EF4-FFF2-40B4-BE49-F238E27FC236}">
                <a16:creationId xmlns:a16="http://schemas.microsoft.com/office/drawing/2014/main" id="{8008C0B4-A701-447D-ABAF-398B30D1FB81}"/>
              </a:ext>
            </a:extLst>
          </p:cNvPr>
          <p:cNvSpPr txBox="1"/>
          <p:nvPr/>
        </p:nvSpPr>
        <p:spPr>
          <a:xfrm>
            <a:off x="0" y="1110428"/>
            <a:ext cx="4762500" cy="307777"/>
          </a:xfrm>
          <a:prstGeom prst="rect">
            <a:avLst/>
          </a:prstGeom>
          <a:noFill/>
        </p:spPr>
        <p:txBody>
          <a:bodyPr wrap="square" rtlCol="0">
            <a:spAutoFit/>
          </a:bodyPr>
          <a:lstStyle/>
          <a:p>
            <a:pPr algn="ctr"/>
            <a:r>
              <a:rPr lang="es-GT" sz="1400" b="1" dirty="0"/>
              <a:t>Millones de Quetzales</a:t>
            </a:r>
          </a:p>
        </p:txBody>
      </p:sp>
      <p:sp>
        <p:nvSpPr>
          <p:cNvPr id="13" name="CuadroTexto 12">
            <a:extLst>
              <a:ext uri="{FF2B5EF4-FFF2-40B4-BE49-F238E27FC236}">
                <a16:creationId xmlns:a16="http://schemas.microsoft.com/office/drawing/2014/main" id="{29048CBC-AC97-472F-BAB2-9EEDAC601CFC}"/>
              </a:ext>
            </a:extLst>
          </p:cNvPr>
          <p:cNvSpPr txBox="1"/>
          <p:nvPr/>
        </p:nvSpPr>
        <p:spPr>
          <a:xfrm>
            <a:off x="9461060" y="6572666"/>
            <a:ext cx="4647724" cy="276999"/>
          </a:xfrm>
          <a:prstGeom prst="rect">
            <a:avLst/>
          </a:prstGeom>
          <a:noFill/>
        </p:spPr>
        <p:txBody>
          <a:bodyPr wrap="square" rtlCol="0">
            <a:spAutoFit/>
          </a:bodyPr>
          <a:lstStyle/>
          <a:p>
            <a:r>
              <a:rPr lang="es-GT" sz="1200" b="1" dirty="0"/>
              <a:t>Fuente: Ministerio de Finanzas Públicas</a:t>
            </a:r>
          </a:p>
        </p:txBody>
      </p:sp>
      <p:graphicFrame>
        <p:nvGraphicFramePr>
          <p:cNvPr id="12" name="Table 4">
            <a:extLst>
              <a:ext uri="{FF2B5EF4-FFF2-40B4-BE49-F238E27FC236}">
                <a16:creationId xmlns:a16="http://schemas.microsoft.com/office/drawing/2014/main" id="{704EC959-B8E2-4738-AB95-D5247B4D92DD}"/>
              </a:ext>
            </a:extLst>
          </p:cNvPr>
          <p:cNvGraphicFramePr>
            <a:graphicFrameLocks noGrp="1"/>
          </p:cNvGraphicFramePr>
          <p:nvPr>
            <p:extLst>
              <p:ext uri="{D42A27DB-BD31-4B8C-83A1-F6EECF244321}">
                <p14:modId xmlns:p14="http://schemas.microsoft.com/office/powerpoint/2010/main" val="2220945770"/>
              </p:ext>
            </p:extLst>
          </p:nvPr>
        </p:nvGraphicFramePr>
        <p:xfrm>
          <a:off x="1527974" y="959058"/>
          <a:ext cx="8896186" cy="5621943"/>
        </p:xfrm>
        <a:graphic>
          <a:graphicData uri="http://schemas.openxmlformats.org/drawingml/2006/table">
            <a:tbl>
              <a:tblPr/>
              <a:tblGrid>
                <a:gridCol w="3657212">
                  <a:extLst>
                    <a:ext uri="{9D8B030D-6E8A-4147-A177-3AD203B41FA5}">
                      <a16:colId xmlns:a16="http://schemas.microsoft.com/office/drawing/2014/main" val="1821044268"/>
                    </a:ext>
                  </a:extLst>
                </a:gridCol>
                <a:gridCol w="1484555">
                  <a:extLst>
                    <a:ext uri="{9D8B030D-6E8A-4147-A177-3AD203B41FA5}">
                      <a16:colId xmlns:a16="http://schemas.microsoft.com/office/drawing/2014/main" val="4182557834"/>
                    </a:ext>
                  </a:extLst>
                </a:gridCol>
                <a:gridCol w="1151068">
                  <a:extLst>
                    <a:ext uri="{9D8B030D-6E8A-4147-A177-3AD203B41FA5}">
                      <a16:colId xmlns:a16="http://schemas.microsoft.com/office/drawing/2014/main" val="3864674126"/>
                    </a:ext>
                  </a:extLst>
                </a:gridCol>
                <a:gridCol w="1506071">
                  <a:extLst>
                    <a:ext uri="{9D8B030D-6E8A-4147-A177-3AD203B41FA5}">
                      <a16:colId xmlns:a16="http://schemas.microsoft.com/office/drawing/2014/main" val="2407788813"/>
                    </a:ext>
                  </a:extLst>
                </a:gridCol>
                <a:gridCol w="1097280">
                  <a:extLst>
                    <a:ext uri="{9D8B030D-6E8A-4147-A177-3AD203B41FA5}">
                      <a16:colId xmlns:a16="http://schemas.microsoft.com/office/drawing/2014/main" val="541449223"/>
                    </a:ext>
                  </a:extLst>
                </a:gridCol>
              </a:tblGrid>
              <a:tr h="564887">
                <a:tc>
                  <a:txBody>
                    <a:bodyPr/>
                    <a:lstStyle/>
                    <a:p>
                      <a:pPr algn="ctr" rtl="0" fontAlgn="b"/>
                      <a:r>
                        <a:rPr lang="es-GT" sz="1400" b="0" i="0" u="none" strike="noStrike" dirty="0">
                          <a:solidFill>
                            <a:srgbClr val="000000"/>
                          </a:solidFill>
                          <a:effectLst/>
                          <a:latin typeface="Arial" panose="020B0604020202020204" pitchFamily="34" charset="0"/>
                        </a:rPr>
                        <a:t> </a:t>
                      </a:r>
                    </a:p>
                  </a:txBody>
                  <a:tcPr marL="8025" marR="8025" marT="8025"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gridSpan="2">
                  <a:txBody>
                    <a:bodyPr/>
                    <a:lstStyle/>
                    <a:p>
                      <a:pPr algn="ctr" rtl="0" fontAlgn="b"/>
                      <a:r>
                        <a:rPr lang="es-GT" sz="1600" b="1" i="0" u="none" strike="noStrike" dirty="0">
                          <a:solidFill>
                            <a:srgbClr val="000000"/>
                          </a:solidFill>
                          <a:effectLst/>
                          <a:latin typeface="Arial" panose="020B0604020202020204" pitchFamily="34" charset="0"/>
                        </a:rPr>
                        <a:t>Estimación de cierre 2021</a:t>
                      </a:r>
                    </a:p>
                  </a:txBody>
                  <a:tcPr marL="8025" marR="8025" marT="80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hMerge="1">
                  <a:txBody>
                    <a:bodyPr/>
                    <a:lstStyle/>
                    <a:p>
                      <a:endParaRPr lang="es-GT"/>
                    </a:p>
                  </a:txBody>
                  <a:tcPr/>
                </a:tc>
                <a:tc gridSpan="2">
                  <a:txBody>
                    <a:bodyPr/>
                    <a:lstStyle/>
                    <a:p>
                      <a:pPr algn="ctr" rtl="0" fontAlgn="ctr"/>
                      <a:r>
                        <a:rPr lang="es-GT" sz="1600" b="1" i="0" u="none" strike="noStrike" dirty="0">
                          <a:solidFill>
                            <a:srgbClr val="000000"/>
                          </a:solidFill>
                          <a:effectLst/>
                          <a:latin typeface="Arial" panose="020B0604020202020204" pitchFamily="34" charset="0"/>
                        </a:rPr>
                        <a:t>Estimación 2022</a:t>
                      </a:r>
                    </a:p>
                  </a:txBody>
                  <a:tcPr marL="8025" marR="8025" marT="80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hMerge="1">
                  <a:txBody>
                    <a:bodyPr/>
                    <a:lstStyle/>
                    <a:p>
                      <a:endParaRPr lang="es-GT"/>
                    </a:p>
                  </a:txBody>
                  <a:tcPr/>
                </a:tc>
                <a:extLst>
                  <a:ext uri="{0D108BD9-81ED-4DB2-BD59-A6C34878D82A}">
                    <a16:rowId xmlns:a16="http://schemas.microsoft.com/office/drawing/2014/main" val="615149796"/>
                  </a:ext>
                </a:extLst>
              </a:tr>
              <a:tr h="362352">
                <a:tc>
                  <a:txBody>
                    <a:bodyPr/>
                    <a:lstStyle/>
                    <a:p>
                      <a:pPr algn="ctr" rtl="0" fontAlgn="ctr"/>
                      <a:r>
                        <a:rPr lang="es-GT" sz="1400" b="1" i="0" u="none" strike="noStrike">
                          <a:solidFill>
                            <a:srgbClr val="000000"/>
                          </a:solidFill>
                          <a:effectLst/>
                          <a:latin typeface="Arial" panose="020B0604020202020204" pitchFamily="34" charset="0"/>
                        </a:rPr>
                        <a:t>Concepto</a:t>
                      </a:r>
                    </a:p>
                  </a:txBody>
                  <a:tcPr marL="8025" marR="8025" marT="80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es-GT" sz="1200" b="1" i="0" u="none" strike="noStrike">
                          <a:solidFill>
                            <a:srgbClr val="000000"/>
                          </a:solidFill>
                          <a:effectLst/>
                          <a:latin typeface="Arial" panose="020B0604020202020204" pitchFamily="34" charset="0"/>
                        </a:rPr>
                        <a:t>Millones de Quetzales</a:t>
                      </a:r>
                    </a:p>
                  </a:txBody>
                  <a:tcPr marL="8025" marR="8025" marT="80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es-GT" sz="1200" b="1" i="0" u="none" strike="noStrike" dirty="0">
                          <a:solidFill>
                            <a:srgbClr val="000000"/>
                          </a:solidFill>
                          <a:effectLst/>
                          <a:latin typeface="Arial" panose="020B0604020202020204" pitchFamily="34" charset="0"/>
                        </a:rPr>
                        <a:t>% PIB</a:t>
                      </a:r>
                    </a:p>
                  </a:txBody>
                  <a:tcPr marL="8025" marR="8025" marT="80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b"/>
                      <a:r>
                        <a:rPr lang="es-GT" sz="1200" b="1" i="0" u="none" strike="noStrike">
                          <a:solidFill>
                            <a:srgbClr val="000000"/>
                          </a:solidFill>
                          <a:effectLst/>
                          <a:latin typeface="Arial" panose="020B0604020202020204" pitchFamily="34" charset="0"/>
                        </a:rPr>
                        <a:t>Millones de Quetzales</a:t>
                      </a:r>
                    </a:p>
                  </a:txBody>
                  <a:tcPr marL="8025" marR="8025" marT="80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rtl="0" fontAlgn="ctr"/>
                      <a:r>
                        <a:rPr lang="es-GT" sz="1200" b="1" i="0" u="none" strike="noStrike">
                          <a:solidFill>
                            <a:srgbClr val="000000"/>
                          </a:solidFill>
                          <a:effectLst/>
                          <a:latin typeface="Arial" panose="020B0604020202020204" pitchFamily="34" charset="0"/>
                        </a:rPr>
                        <a:t>% PIB</a:t>
                      </a:r>
                    </a:p>
                  </a:txBody>
                  <a:tcPr marL="8025" marR="8025" marT="80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598818369"/>
                  </a:ext>
                </a:extLst>
              </a:tr>
              <a:tr h="210204">
                <a:tc>
                  <a:txBody>
                    <a:bodyPr/>
                    <a:lstStyle/>
                    <a:p>
                      <a:pPr algn="l" rtl="0" fontAlgn="b"/>
                      <a:r>
                        <a:rPr lang="es-GT" sz="1400" b="1" i="0" u="none" strike="noStrike" dirty="0">
                          <a:solidFill>
                            <a:srgbClr val="000000"/>
                          </a:solidFill>
                          <a:effectLst/>
                          <a:latin typeface="Arial" panose="020B0604020202020204" pitchFamily="34" charset="0"/>
                        </a:rPr>
                        <a:t>Ingresos Totales</a:t>
                      </a:r>
                    </a:p>
                  </a:txBody>
                  <a:tcPr marL="8025" marR="8025" marT="80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chemeClr val="accent5">
                        <a:lumMod val="20000"/>
                        <a:lumOff val="80000"/>
                      </a:schemeClr>
                    </a:solidFill>
                  </a:tcPr>
                </a:tc>
                <a:tc>
                  <a:txBody>
                    <a:bodyPr/>
                    <a:lstStyle/>
                    <a:p>
                      <a:pPr algn="ctr" rtl="0" fontAlgn="b"/>
                      <a:r>
                        <a:rPr lang="es-GT" sz="1400" b="1" i="0" u="none" strike="noStrike" dirty="0">
                          <a:solidFill>
                            <a:srgbClr val="000000"/>
                          </a:solidFill>
                          <a:effectLst/>
                          <a:latin typeface="Arial" panose="020B0604020202020204" pitchFamily="34" charset="0"/>
                        </a:rPr>
                        <a:t>74,719.5</a:t>
                      </a:r>
                    </a:p>
                  </a:txBody>
                  <a:tcPr marL="8025" marR="8025" marT="80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chemeClr val="accent5">
                        <a:lumMod val="20000"/>
                        <a:lumOff val="80000"/>
                      </a:schemeClr>
                    </a:solidFill>
                  </a:tcPr>
                </a:tc>
                <a:tc>
                  <a:txBody>
                    <a:bodyPr/>
                    <a:lstStyle/>
                    <a:p>
                      <a:pPr algn="ctr" rtl="0" fontAlgn="b"/>
                      <a:r>
                        <a:rPr lang="es-GT" sz="1400" b="1" i="0" u="none" strike="noStrike" dirty="0">
                          <a:solidFill>
                            <a:srgbClr val="000000"/>
                          </a:solidFill>
                          <a:effectLst/>
                          <a:latin typeface="Arial" panose="020B0604020202020204" pitchFamily="34" charset="0"/>
                        </a:rPr>
                        <a:t>11.6</a:t>
                      </a:r>
                    </a:p>
                  </a:txBody>
                  <a:tcPr marL="8025" marR="8025" marT="80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chemeClr val="accent5">
                        <a:lumMod val="20000"/>
                        <a:lumOff val="80000"/>
                      </a:schemeClr>
                    </a:solidFill>
                  </a:tcPr>
                </a:tc>
                <a:tc>
                  <a:txBody>
                    <a:bodyPr/>
                    <a:lstStyle/>
                    <a:p>
                      <a:pPr algn="ctr" rtl="0" fontAlgn="b"/>
                      <a:r>
                        <a:rPr lang="es-GT" sz="1400" b="1" i="0" u="none" strike="noStrike" dirty="0">
                          <a:solidFill>
                            <a:srgbClr val="000000"/>
                          </a:solidFill>
                          <a:effectLst/>
                          <a:latin typeface="Arial" panose="020B0604020202020204" pitchFamily="34" charset="0"/>
                        </a:rPr>
                        <a:t>79,630.4</a:t>
                      </a:r>
                    </a:p>
                  </a:txBody>
                  <a:tcPr marL="8025" marR="8025" marT="80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chemeClr val="accent5">
                        <a:lumMod val="20000"/>
                        <a:lumOff val="80000"/>
                      </a:schemeClr>
                    </a:solidFill>
                  </a:tcPr>
                </a:tc>
                <a:tc>
                  <a:txBody>
                    <a:bodyPr/>
                    <a:lstStyle/>
                    <a:p>
                      <a:pPr algn="ctr" rtl="0" fontAlgn="b"/>
                      <a:r>
                        <a:rPr lang="es-GT" sz="1400" b="1" i="0" u="none" strike="noStrike" dirty="0">
                          <a:solidFill>
                            <a:srgbClr val="000000"/>
                          </a:solidFill>
                          <a:effectLst/>
                          <a:latin typeface="Arial" panose="020B0604020202020204" pitchFamily="34" charset="0"/>
                        </a:rPr>
                        <a:t>11.4</a:t>
                      </a:r>
                    </a:p>
                  </a:txBody>
                  <a:tcPr marL="8025" marR="8025" marT="80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690249960"/>
                  </a:ext>
                </a:extLst>
              </a:tr>
              <a:tr h="210204">
                <a:tc>
                  <a:txBody>
                    <a:bodyPr/>
                    <a:lstStyle/>
                    <a:p>
                      <a:pPr algn="l" rtl="0" fontAlgn="b"/>
                      <a:r>
                        <a:rPr lang="es-GT" sz="1400" b="0" i="0" u="none" strike="noStrike">
                          <a:solidFill>
                            <a:srgbClr val="000000"/>
                          </a:solidFill>
                          <a:effectLst/>
                          <a:latin typeface="Arial" panose="020B0604020202020204" pitchFamily="34" charset="0"/>
                        </a:rPr>
                        <a:t>Ingresos Corrientes</a:t>
                      </a:r>
                    </a:p>
                  </a:txBody>
                  <a:tcPr marL="8025" marR="8025" marT="80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2F2F2"/>
                    </a:solidFill>
                  </a:tcPr>
                </a:tc>
                <a:tc>
                  <a:txBody>
                    <a:bodyPr/>
                    <a:lstStyle/>
                    <a:p>
                      <a:pPr algn="ctr" rtl="0" fontAlgn="b"/>
                      <a:r>
                        <a:rPr lang="es-GT" sz="1400" b="0" i="0" u="none" strike="noStrike">
                          <a:solidFill>
                            <a:srgbClr val="000000"/>
                          </a:solidFill>
                          <a:effectLst/>
                          <a:latin typeface="Arial" panose="020B0604020202020204" pitchFamily="34" charset="0"/>
                        </a:rPr>
                        <a:t>74,701.3</a:t>
                      </a:r>
                    </a:p>
                  </a:txBody>
                  <a:tcPr marL="8025" marR="8025" marT="80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2F2F2"/>
                    </a:solidFill>
                  </a:tcPr>
                </a:tc>
                <a:tc>
                  <a:txBody>
                    <a:bodyPr/>
                    <a:lstStyle/>
                    <a:p>
                      <a:pPr algn="ctr" rtl="0" fontAlgn="b"/>
                      <a:r>
                        <a:rPr lang="es-GT" sz="1400" b="0" i="0" u="none" strike="noStrike">
                          <a:solidFill>
                            <a:srgbClr val="000000"/>
                          </a:solidFill>
                          <a:effectLst/>
                          <a:latin typeface="Arial" panose="020B0604020202020204" pitchFamily="34" charset="0"/>
                        </a:rPr>
                        <a:t>11.6</a:t>
                      </a:r>
                    </a:p>
                  </a:txBody>
                  <a:tcPr marL="8025" marR="8025" marT="80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2F2F2"/>
                    </a:solidFill>
                  </a:tcPr>
                </a:tc>
                <a:tc>
                  <a:txBody>
                    <a:bodyPr/>
                    <a:lstStyle/>
                    <a:p>
                      <a:pPr algn="ctr" rtl="0" fontAlgn="b"/>
                      <a:r>
                        <a:rPr lang="es-GT" sz="1400" b="0" i="0" u="none" strike="noStrike">
                          <a:solidFill>
                            <a:srgbClr val="000000"/>
                          </a:solidFill>
                          <a:effectLst/>
                          <a:latin typeface="Arial" panose="020B0604020202020204" pitchFamily="34" charset="0"/>
                        </a:rPr>
                        <a:t>79,628.6</a:t>
                      </a:r>
                    </a:p>
                  </a:txBody>
                  <a:tcPr marL="8025" marR="8025" marT="80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2F2F2"/>
                    </a:solidFill>
                  </a:tcPr>
                </a:tc>
                <a:tc>
                  <a:txBody>
                    <a:bodyPr/>
                    <a:lstStyle/>
                    <a:p>
                      <a:pPr algn="ctr" rtl="0" fontAlgn="b"/>
                      <a:r>
                        <a:rPr lang="es-GT" sz="1400" b="0" i="0" u="none" strike="noStrike">
                          <a:solidFill>
                            <a:srgbClr val="000000"/>
                          </a:solidFill>
                          <a:effectLst/>
                          <a:latin typeface="Arial" panose="020B0604020202020204" pitchFamily="34" charset="0"/>
                        </a:rPr>
                        <a:t>11.4</a:t>
                      </a:r>
                    </a:p>
                  </a:txBody>
                  <a:tcPr marL="8025" marR="8025" marT="80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2F2F2"/>
                    </a:solidFill>
                  </a:tcPr>
                </a:tc>
                <a:extLst>
                  <a:ext uri="{0D108BD9-81ED-4DB2-BD59-A6C34878D82A}">
                    <a16:rowId xmlns:a16="http://schemas.microsoft.com/office/drawing/2014/main" val="3658203478"/>
                  </a:ext>
                </a:extLst>
              </a:tr>
              <a:tr h="210204">
                <a:tc>
                  <a:txBody>
                    <a:bodyPr/>
                    <a:lstStyle/>
                    <a:p>
                      <a:pPr algn="l" rtl="0" fontAlgn="b"/>
                      <a:r>
                        <a:rPr lang="es-GT" sz="1400" b="0" i="0" u="none" strike="noStrike">
                          <a:solidFill>
                            <a:srgbClr val="000000"/>
                          </a:solidFill>
                          <a:effectLst/>
                          <a:latin typeface="Arial" panose="020B0604020202020204" pitchFamily="34" charset="0"/>
                        </a:rPr>
                        <a:t>Tributarios</a:t>
                      </a:r>
                    </a:p>
                  </a:txBody>
                  <a:tcPr marL="144456" marR="8025" marT="80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rtl="0" fontAlgn="b"/>
                      <a:r>
                        <a:rPr lang="es-GT" sz="1400" b="0" i="0" u="none" strike="noStrike">
                          <a:solidFill>
                            <a:srgbClr val="000000"/>
                          </a:solidFill>
                          <a:effectLst/>
                          <a:latin typeface="Arial" panose="020B0604020202020204" pitchFamily="34" charset="0"/>
                        </a:rPr>
                        <a:t>70,768.4</a:t>
                      </a:r>
                    </a:p>
                  </a:txBody>
                  <a:tcPr marL="8025" marR="8025" marT="80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rtl="0" fontAlgn="b"/>
                      <a:r>
                        <a:rPr lang="es-GT" sz="1400" b="0" i="0" u="none" strike="noStrike">
                          <a:solidFill>
                            <a:srgbClr val="000000"/>
                          </a:solidFill>
                          <a:effectLst/>
                          <a:latin typeface="Arial" panose="020B0604020202020204" pitchFamily="34" charset="0"/>
                        </a:rPr>
                        <a:t>11.0</a:t>
                      </a:r>
                    </a:p>
                  </a:txBody>
                  <a:tcPr marL="8025" marR="8025" marT="80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rtl="0" fontAlgn="b"/>
                      <a:r>
                        <a:rPr lang="es-GT" sz="1400" b="0" i="0" u="none" strike="noStrike" dirty="0">
                          <a:solidFill>
                            <a:srgbClr val="000000"/>
                          </a:solidFill>
                          <a:effectLst/>
                          <a:latin typeface="Arial" panose="020B0604020202020204" pitchFamily="34" charset="0"/>
                        </a:rPr>
                        <a:t>74,368.0</a:t>
                      </a:r>
                    </a:p>
                  </a:txBody>
                  <a:tcPr marL="8025" marR="8025" marT="80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rtl="0" fontAlgn="b"/>
                      <a:r>
                        <a:rPr lang="es-GT" sz="1400" b="0" i="0" u="none" strike="noStrike">
                          <a:solidFill>
                            <a:srgbClr val="000000"/>
                          </a:solidFill>
                          <a:effectLst/>
                          <a:latin typeface="Arial" panose="020B0604020202020204" pitchFamily="34" charset="0"/>
                        </a:rPr>
                        <a:t>10.7</a:t>
                      </a:r>
                    </a:p>
                  </a:txBody>
                  <a:tcPr marL="8025" marR="8025" marT="80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2235548081"/>
                  </a:ext>
                </a:extLst>
              </a:tr>
              <a:tr h="210204">
                <a:tc>
                  <a:txBody>
                    <a:bodyPr/>
                    <a:lstStyle/>
                    <a:p>
                      <a:pPr algn="l" rtl="0" fontAlgn="b"/>
                      <a:r>
                        <a:rPr lang="es-GT" sz="1400" b="0" i="0" u="none" strike="noStrike">
                          <a:solidFill>
                            <a:srgbClr val="000000"/>
                          </a:solidFill>
                          <a:effectLst/>
                          <a:latin typeface="Arial" panose="020B0604020202020204" pitchFamily="34" charset="0"/>
                        </a:rPr>
                        <a:t>No Tributarios y Donaciones</a:t>
                      </a:r>
                    </a:p>
                  </a:txBody>
                  <a:tcPr marL="144456" marR="8025" marT="80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rtl="0" fontAlgn="b"/>
                      <a:r>
                        <a:rPr lang="es-GT" sz="1400" b="0" i="0" u="none" strike="noStrike">
                          <a:solidFill>
                            <a:srgbClr val="000000"/>
                          </a:solidFill>
                          <a:effectLst/>
                          <a:latin typeface="Arial" panose="020B0604020202020204" pitchFamily="34" charset="0"/>
                        </a:rPr>
                        <a:t>3,933.0</a:t>
                      </a:r>
                    </a:p>
                  </a:txBody>
                  <a:tcPr marL="8025" marR="8025" marT="80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rtl="0" fontAlgn="b"/>
                      <a:r>
                        <a:rPr lang="es-GT" sz="1400" b="0" i="0" u="none" strike="noStrike">
                          <a:solidFill>
                            <a:srgbClr val="000000"/>
                          </a:solidFill>
                          <a:effectLst/>
                          <a:latin typeface="Arial" panose="020B0604020202020204" pitchFamily="34" charset="0"/>
                        </a:rPr>
                        <a:t>0.6</a:t>
                      </a:r>
                    </a:p>
                  </a:txBody>
                  <a:tcPr marL="8025" marR="8025" marT="80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rtl="0" fontAlgn="b"/>
                      <a:r>
                        <a:rPr lang="es-GT" sz="1400" b="0" i="0" u="none" strike="noStrike" dirty="0">
                          <a:solidFill>
                            <a:srgbClr val="000000"/>
                          </a:solidFill>
                          <a:effectLst/>
                          <a:latin typeface="Arial" panose="020B0604020202020204" pitchFamily="34" charset="0"/>
                        </a:rPr>
                        <a:t>5,260.6</a:t>
                      </a:r>
                    </a:p>
                  </a:txBody>
                  <a:tcPr marL="8025" marR="8025" marT="80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rtl="0" fontAlgn="b"/>
                      <a:r>
                        <a:rPr lang="es-GT" sz="1400" b="0" i="0" u="none" strike="noStrike">
                          <a:solidFill>
                            <a:srgbClr val="000000"/>
                          </a:solidFill>
                          <a:effectLst/>
                          <a:latin typeface="Arial" panose="020B0604020202020204" pitchFamily="34" charset="0"/>
                        </a:rPr>
                        <a:t>0.8</a:t>
                      </a:r>
                    </a:p>
                  </a:txBody>
                  <a:tcPr marL="8025" marR="8025" marT="80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250560177"/>
                  </a:ext>
                </a:extLst>
              </a:tr>
              <a:tr h="250243">
                <a:tc>
                  <a:txBody>
                    <a:bodyPr/>
                    <a:lstStyle/>
                    <a:p>
                      <a:pPr algn="l" rtl="0" fontAlgn="b"/>
                      <a:r>
                        <a:rPr lang="es-GT" sz="1400" b="0" i="0" u="none" strike="noStrike">
                          <a:solidFill>
                            <a:srgbClr val="000000"/>
                          </a:solidFill>
                          <a:effectLst/>
                          <a:latin typeface="Arial" panose="020B0604020202020204" pitchFamily="34" charset="0"/>
                        </a:rPr>
                        <a:t>Ingresos de Capital</a:t>
                      </a:r>
                    </a:p>
                  </a:txBody>
                  <a:tcPr marL="8025" marR="8025" marT="80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2F2F2"/>
                    </a:solidFill>
                  </a:tcPr>
                </a:tc>
                <a:tc>
                  <a:txBody>
                    <a:bodyPr/>
                    <a:lstStyle/>
                    <a:p>
                      <a:pPr algn="ctr" rtl="0" fontAlgn="b"/>
                      <a:r>
                        <a:rPr lang="es-GT" sz="1400" b="0" i="0" u="none" strike="noStrike">
                          <a:solidFill>
                            <a:srgbClr val="000000"/>
                          </a:solidFill>
                          <a:effectLst/>
                          <a:latin typeface="Arial" panose="020B0604020202020204" pitchFamily="34" charset="0"/>
                        </a:rPr>
                        <a:t>18.2</a:t>
                      </a:r>
                    </a:p>
                  </a:txBody>
                  <a:tcPr marL="8025" marR="8025" marT="80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2F2F2"/>
                    </a:solidFill>
                  </a:tcPr>
                </a:tc>
                <a:tc>
                  <a:txBody>
                    <a:bodyPr/>
                    <a:lstStyle/>
                    <a:p>
                      <a:pPr algn="ctr" rtl="0" fontAlgn="b"/>
                      <a:r>
                        <a:rPr lang="es-GT" sz="1400" b="0" i="0" u="none" strike="noStrike">
                          <a:solidFill>
                            <a:srgbClr val="000000"/>
                          </a:solidFill>
                          <a:effectLst/>
                          <a:latin typeface="Arial" panose="020B0604020202020204" pitchFamily="34" charset="0"/>
                        </a:rPr>
                        <a:t>0.0</a:t>
                      </a:r>
                    </a:p>
                  </a:txBody>
                  <a:tcPr marL="8025" marR="8025" marT="80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2F2F2"/>
                    </a:solidFill>
                  </a:tcPr>
                </a:tc>
                <a:tc>
                  <a:txBody>
                    <a:bodyPr/>
                    <a:lstStyle/>
                    <a:p>
                      <a:pPr algn="ctr" rtl="0" fontAlgn="b"/>
                      <a:r>
                        <a:rPr lang="es-GT" sz="1400" b="0" i="0" u="none" strike="noStrike" dirty="0">
                          <a:solidFill>
                            <a:srgbClr val="000000"/>
                          </a:solidFill>
                          <a:effectLst/>
                          <a:latin typeface="Arial" panose="020B0604020202020204" pitchFamily="34" charset="0"/>
                        </a:rPr>
                        <a:t>1.8</a:t>
                      </a:r>
                    </a:p>
                  </a:txBody>
                  <a:tcPr marL="8025" marR="8025" marT="80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2F2F2"/>
                    </a:solidFill>
                  </a:tcPr>
                </a:tc>
                <a:tc>
                  <a:txBody>
                    <a:bodyPr/>
                    <a:lstStyle/>
                    <a:p>
                      <a:pPr algn="ctr" rtl="0" fontAlgn="b"/>
                      <a:r>
                        <a:rPr lang="es-GT" sz="1400" b="0" i="0" u="none" strike="noStrike">
                          <a:solidFill>
                            <a:srgbClr val="000000"/>
                          </a:solidFill>
                          <a:effectLst/>
                          <a:latin typeface="Arial" panose="020B0604020202020204" pitchFamily="34" charset="0"/>
                        </a:rPr>
                        <a:t>0.0</a:t>
                      </a:r>
                    </a:p>
                  </a:txBody>
                  <a:tcPr marL="8025" marR="8025" marT="80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2F2F2"/>
                    </a:solidFill>
                  </a:tcPr>
                </a:tc>
                <a:extLst>
                  <a:ext uri="{0D108BD9-81ED-4DB2-BD59-A6C34878D82A}">
                    <a16:rowId xmlns:a16="http://schemas.microsoft.com/office/drawing/2014/main" val="1563741488"/>
                  </a:ext>
                </a:extLst>
              </a:tr>
              <a:tr h="210204">
                <a:tc>
                  <a:txBody>
                    <a:bodyPr/>
                    <a:lstStyle/>
                    <a:p>
                      <a:pPr algn="l" rtl="0" fontAlgn="b"/>
                      <a:r>
                        <a:rPr lang="es-GT" sz="1400" b="1" i="0" u="none" strike="noStrike" dirty="0">
                          <a:solidFill>
                            <a:srgbClr val="000000"/>
                          </a:solidFill>
                          <a:effectLst/>
                          <a:latin typeface="Arial" panose="020B0604020202020204" pitchFamily="34" charset="0"/>
                        </a:rPr>
                        <a:t>Gasto Total</a:t>
                      </a:r>
                    </a:p>
                  </a:txBody>
                  <a:tcPr marL="8025" marR="8025" marT="80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5">
                        <a:lumMod val="20000"/>
                        <a:lumOff val="80000"/>
                      </a:schemeClr>
                    </a:solidFill>
                  </a:tcPr>
                </a:tc>
                <a:tc>
                  <a:txBody>
                    <a:bodyPr/>
                    <a:lstStyle/>
                    <a:p>
                      <a:pPr algn="ctr" rtl="0" fontAlgn="b"/>
                      <a:r>
                        <a:rPr lang="es-GT" sz="1400" b="1" i="0" u="none" strike="noStrike" dirty="0">
                          <a:solidFill>
                            <a:srgbClr val="000000"/>
                          </a:solidFill>
                          <a:effectLst/>
                          <a:latin typeface="Arial" panose="020B0604020202020204" pitchFamily="34" charset="0"/>
                        </a:rPr>
                        <a:t>89,476.9</a:t>
                      </a:r>
                    </a:p>
                  </a:txBody>
                  <a:tcPr marL="8025" marR="8025" marT="80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5">
                        <a:lumMod val="20000"/>
                        <a:lumOff val="80000"/>
                      </a:schemeClr>
                    </a:solidFill>
                  </a:tcPr>
                </a:tc>
                <a:tc>
                  <a:txBody>
                    <a:bodyPr/>
                    <a:lstStyle/>
                    <a:p>
                      <a:pPr algn="ctr" rtl="0" fontAlgn="b"/>
                      <a:r>
                        <a:rPr lang="es-GT" sz="1400" b="1" i="0" u="none" strike="noStrike" dirty="0">
                          <a:solidFill>
                            <a:srgbClr val="000000"/>
                          </a:solidFill>
                          <a:effectLst/>
                          <a:latin typeface="Arial" panose="020B0604020202020204" pitchFamily="34" charset="0"/>
                        </a:rPr>
                        <a:t>13.9</a:t>
                      </a:r>
                    </a:p>
                  </a:txBody>
                  <a:tcPr marL="8025" marR="8025" marT="80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5">
                        <a:lumMod val="20000"/>
                        <a:lumOff val="80000"/>
                      </a:schemeClr>
                    </a:solidFill>
                  </a:tcPr>
                </a:tc>
                <a:tc>
                  <a:txBody>
                    <a:bodyPr/>
                    <a:lstStyle/>
                    <a:p>
                      <a:pPr algn="ctr" rtl="0" fontAlgn="b"/>
                      <a:r>
                        <a:rPr lang="es-GT" sz="1400" b="1" i="0" u="none" strike="noStrike" dirty="0">
                          <a:solidFill>
                            <a:srgbClr val="000000"/>
                          </a:solidFill>
                          <a:effectLst/>
                          <a:latin typeface="Arial" panose="020B0604020202020204" pitchFamily="34" charset="0"/>
                        </a:rPr>
                        <a:t>97,829.5</a:t>
                      </a:r>
                    </a:p>
                  </a:txBody>
                  <a:tcPr marL="8025" marR="8025" marT="80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5">
                        <a:lumMod val="20000"/>
                        <a:lumOff val="80000"/>
                      </a:schemeClr>
                    </a:solidFill>
                  </a:tcPr>
                </a:tc>
                <a:tc>
                  <a:txBody>
                    <a:bodyPr/>
                    <a:lstStyle/>
                    <a:p>
                      <a:pPr algn="ctr" rtl="0" fontAlgn="b"/>
                      <a:r>
                        <a:rPr lang="es-GT" sz="1400" b="1" i="0" u="none" strike="noStrike" dirty="0">
                          <a:solidFill>
                            <a:srgbClr val="000000"/>
                          </a:solidFill>
                          <a:effectLst/>
                          <a:latin typeface="Arial" panose="020B0604020202020204" pitchFamily="34" charset="0"/>
                        </a:rPr>
                        <a:t>14.1</a:t>
                      </a:r>
                    </a:p>
                  </a:txBody>
                  <a:tcPr marL="8025" marR="8025" marT="80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3132995300"/>
                  </a:ext>
                </a:extLst>
              </a:tr>
              <a:tr h="210204">
                <a:tc>
                  <a:txBody>
                    <a:bodyPr/>
                    <a:lstStyle/>
                    <a:p>
                      <a:pPr algn="l" rtl="0" fontAlgn="b"/>
                      <a:r>
                        <a:rPr lang="es-GT" sz="1400" b="0" i="0" u="none" strike="noStrike">
                          <a:solidFill>
                            <a:srgbClr val="000000"/>
                          </a:solidFill>
                          <a:effectLst/>
                          <a:latin typeface="Arial" panose="020B0604020202020204" pitchFamily="34" charset="0"/>
                        </a:rPr>
                        <a:t>Funcionamiento e Inversión</a:t>
                      </a:r>
                    </a:p>
                  </a:txBody>
                  <a:tcPr marL="8025" marR="8025" marT="80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2F2F2"/>
                    </a:solidFill>
                  </a:tcPr>
                </a:tc>
                <a:tc>
                  <a:txBody>
                    <a:bodyPr/>
                    <a:lstStyle/>
                    <a:p>
                      <a:pPr algn="ctr" rtl="0" fontAlgn="b"/>
                      <a:r>
                        <a:rPr lang="es-GT" sz="1400" b="0" i="0" u="none" strike="noStrike">
                          <a:solidFill>
                            <a:srgbClr val="000000"/>
                          </a:solidFill>
                          <a:effectLst/>
                          <a:latin typeface="Arial" panose="020B0604020202020204" pitchFamily="34" charset="0"/>
                        </a:rPr>
                        <a:t>77,511.0</a:t>
                      </a:r>
                    </a:p>
                  </a:txBody>
                  <a:tcPr marL="8025" marR="8025" marT="80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2F2F2"/>
                    </a:solidFill>
                  </a:tcPr>
                </a:tc>
                <a:tc>
                  <a:txBody>
                    <a:bodyPr/>
                    <a:lstStyle/>
                    <a:p>
                      <a:pPr algn="ctr" rtl="0" fontAlgn="b"/>
                      <a:r>
                        <a:rPr lang="es-GT" sz="1400" b="0" i="0" u="none" strike="noStrike">
                          <a:solidFill>
                            <a:srgbClr val="000000"/>
                          </a:solidFill>
                          <a:effectLst/>
                          <a:latin typeface="Arial" panose="020B0604020202020204" pitchFamily="34" charset="0"/>
                        </a:rPr>
                        <a:t>12.0</a:t>
                      </a:r>
                    </a:p>
                  </a:txBody>
                  <a:tcPr marL="8025" marR="8025" marT="80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2F2F2"/>
                    </a:solidFill>
                  </a:tcPr>
                </a:tc>
                <a:tc>
                  <a:txBody>
                    <a:bodyPr/>
                    <a:lstStyle/>
                    <a:p>
                      <a:pPr algn="ctr" rtl="0" fontAlgn="b"/>
                      <a:r>
                        <a:rPr lang="es-GT" sz="1400" b="0" i="0" u="none" strike="noStrike" dirty="0">
                          <a:solidFill>
                            <a:srgbClr val="000000"/>
                          </a:solidFill>
                          <a:effectLst/>
                          <a:latin typeface="Arial" panose="020B0604020202020204" pitchFamily="34" charset="0"/>
                        </a:rPr>
                        <a:t>84,856.1</a:t>
                      </a:r>
                    </a:p>
                  </a:txBody>
                  <a:tcPr marL="8025" marR="8025" marT="80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2F2F2"/>
                    </a:solidFill>
                  </a:tcPr>
                </a:tc>
                <a:tc>
                  <a:txBody>
                    <a:bodyPr/>
                    <a:lstStyle/>
                    <a:p>
                      <a:pPr algn="ctr" rtl="0" fontAlgn="b"/>
                      <a:r>
                        <a:rPr lang="es-GT" sz="1400" b="0" i="0" u="none" strike="noStrike" dirty="0">
                          <a:solidFill>
                            <a:srgbClr val="000000"/>
                          </a:solidFill>
                          <a:effectLst/>
                          <a:latin typeface="Arial" panose="020B0604020202020204" pitchFamily="34" charset="0"/>
                        </a:rPr>
                        <a:t>12.2</a:t>
                      </a:r>
                    </a:p>
                  </a:txBody>
                  <a:tcPr marL="8025" marR="8025" marT="80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2F2F2"/>
                    </a:solidFill>
                  </a:tcPr>
                </a:tc>
                <a:extLst>
                  <a:ext uri="{0D108BD9-81ED-4DB2-BD59-A6C34878D82A}">
                    <a16:rowId xmlns:a16="http://schemas.microsoft.com/office/drawing/2014/main" val="2328691293"/>
                  </a:ext>
                </a:extLst>
              </a:tr>
              <a:tr h="210204">
                <a:tc>
                  <a:txBody>
                    <a:bodyPr/>
                    <a:lstStyle/>
                    <a:p>
                      <a:pPr algn="l" rtl="0" fontAlgn="b"/>
                      <a:r>
                        <a:rPr lang="es-GT" sz="1400" b="0" i="0" u="none" strike="noStrike">
                          <a:solidFill>
                            <a:srgbClr val="000000"/>
                          </a:solidFill>
                          <a:effectLst/>
                          <a:latin typeface="Arial" panose="020B0604020202020204" pitchFamily="34" charset="0"/>
                        </a:rPr>
                        <a:t>Intereses de la Deuda Pública</a:t>
                      </a:r>
                    </a:p>
                  </a:txBody>
                  <a:tcPr marL="8025" marR="8025" marT="80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2F2F2"/>
                    </a:solidFill>
                  </a:tcPr>
                </a:tc>
                <a:tc>
                  <a:txBody>
                    <a:bodyPr/>
                    <a:lstStyle/>
                    <a:p>
                      <a:pPr algn="ctr" rtl="0" fontAlgn="b"/>
                      <a:r>
                        <a:rPr lang="es-GT" sz="1400" b="0" i="0" u="none" strike="noStrike">
                          <a:solidFill>
                            <a:srgbClr val="000000"/>
                          </a:solidFill>
                          <a:effectLst/>
                          <a:latin typeface="Arial" panose="020B0604020202020204" pitchFamily="34" charset="0"/>
                        </a:rPr>
                        <a:t>11,966.0</a:t>
                      </a:r>
                    </a:p>
                  </a:txBody>
                  <a:tcPr marL="8025" marR="8025" marT="80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2F2F2"/>
                    </a:solidFill>
                  </a:tcPr>
                </a:tc>
                <a:tc>
                  <a:txBody>
                    <a:bodyPr/>
                    <a:lstStyle/>
                    <a:p>
                      <a:pPr algn="ctr" rtl="0" fontAlgn="b"/>
                      <a:r>
                        <a:rPr lang="es-GT" sz="1400" b="0" i="0" u="none" strike="noStrike">
                          <a:solidFill>
                            <a:srgbClr val="000000"/>
                          </a:solidFill>
                          <a:effectLst/>
                          <a:latin typeface="Arial" panose="020B0604020202020204" pitchFamily="34" charset="0"/>
                        </a:rPr>
                        <a:t>1.9</a:t>
                      </a:r>
                    </a:p>
                  </a:txBody>
                  <a:tcPr marL="8025" marR="8025" marT="80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2F2F2"/>
                    </a:solidFill>
                  </a:tcPr>
                </a:tc>
                <a:tc>
                  <a:txBody>
                    <a:bodyPr/>
                    <a:lstStyle/>
                    <a:p>
                      <a:pPr algn="ctr" rtl="0" fontAlgn="b"/>
                      <a:r>
                        <a:rPr lang="es-GT" sz="1400" b="0" i="0" u="none" strike="noStrike" dirty="0">
                          <a:solidFill>
                            <a:srgbClr val="000000"/>
                          </a:solidFill>
                          <a:effectLst/>
                          <a:latin typeface="Arial" panose="020B0604020202020204" pitchFamily="34" charset="0"/>
                        </a:rPr>
                        <a:t>12,973.5</a:t>
                      </a:r>
                    </a:p>
                  </a:txBody>
                  <a:tcPr marL="8025" marR="8025" marT="80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2F2F2"/>
                    </a:solidFill>
                  </a:tcPr>
                </a:tc>
                <a:tc>
                  <a:txBody>
                    <a:bodyPr/>
                    <a:lstStyle/>
                    <a:p>
                      <a:pPr algn="ctr" rtl="0" fontAlgn="b"/>
                      <a:r>
                        <a:rPr lang="es-GT" sz="1400" b="0" i="0" u="none" strike="noStrike">
                          <a:solidFill>
                            <a:srgbClr val="000000"/>
                          </a:solidFill>
                          <a:effectLst/>
                          <a:latin typeface="Arial" panose="020B0604020202020204" pitchFamily="34" charset="0"/>
                        </a:rPr>
                        <a:t>1.9</a:t>
                      </a:r>
                    </a:p>
                  </a:txBody>
                  <a:tcPr marL="8025" marR="8025" marT="80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2F2F2"/>
                    </a:solidFill>
                  </a:tcPr>
                </a:tc>
                <a:extLst>
                  <a:ext uri="{0D108BD9-81ED-4DB2-BD59-A6C34878D82A}">
                    <a16:rowId xmlns:a16="http://schemas.microsoft.com/office/drawing/2014/main" val="3896853977"/>
                  </a:ext>
                </a:extLst>
              </a:tr>
              <a:tr h="240233">
                <a:tc>
                  <a:txBody>
                    <a:bodyPr/>
                    <a:lstStyle/>
                    <a:p>
                      <a:pPr algn="l" rtl="0" fontAlgn="b"/>
                      <a:r>
                        <a:rPr lang="es-GT" sz="1400" b="1" i="0" u="none" strike="noStrike">
                          <a:solidFill>
                            <a:srgbClr val="FF0000"/>
                          </a:solidFill>
                          <a:effectLst/>
                          <a:latin typeface="Arial" panose="020B0604020202020204" pitchFamily="34" charset="0"/>
                        </a:rPr>
                        <a:t>Resultado Presupuestario (Déficit)</a:t>
                      </a:r>
                    </a:p>
                  </a:txBody>
                  <a:tcPr marL="8025" marR="8025" marT="80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2F2F2"/>
                    </a:solidFill>
                  </a:tcPr>
                </a:tc>
                <a:tc>
                  <a:txBody>
                    <a:bodyPr/>
                    <a:lstStyle/>
                    <a:p>
                      <a:pPr algn="ctr" rtl="0" fontAlgn="b"/>
                      <a:r>
                        <a:rPr lang="es-GT" sz="1400" b="1" i="0" u="none" strike="noStrike">
                          <a:solidFill>
                            <a:srgbClr val="FF0000"/>
                          </a:solidFill>
                          <a:effectLst/>
                          <a:latin typeface="Arial" panose="020B0604020202020204" pitchFamily="34" charset="0"/>
                        </a:rPr>
                        <a:t>-14,757.4</a:t>
                      </a:r>
                    </a:p>
                  </a:txBody>
                  <a:tcPr marL="8025" marR="8025" marT="80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2F2F2"/>
                    </a:solidFill>
                  </a:tcPr>
                </a:tc>
                <a:tc>
                  <a:txBody>
                    <a:bodyPr/>
                    <a:lstStyle/>
                    <a:p>
                      <a:pPr algn="ctr" rtl="0" fontAlgn="b"/>
                      <a:r>
                        <a:rPr lang="es-GT" sz="1400" b="1" i="0" u="none" strike="noStrike">
                          <a:solidFill>
                            <a:srgbClr val="FF0000"/>
                          </a:solidFill>
                          <a:effectLst/>
                          <a:latin typeface="Arial" panose="020B0604020202020204" pitchFamily="34" charset="0"/>
                        </a:rPr>
                        <a:t>-2.3</a:t>
                      </a:r>
                    </a:p>
                  </a:txBody>
                  <a:tcPr marL="8025" marR="8025" marT="80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2F2F2"/>
                    </a:solidFill>
                  </a:tcPr>
                </a:tc>
                <a:tc>
                  <a:txBody>
                    <a:bodyPr/>
                    <a:lstStyle/>
                    <a:p>
                      <a:pPr algn="ctr" rtl="0" fontAlgn="b"/>
                      <a:r>
                        <a:rPr lang="es-GT" sz="1400" b="1" i="0" u="none" strike="noStrike" dirty="0">
                          <a:solidFill>
                            <a:srgbClr val="FF0000"/>
                          </a:solidFill>
                          <a:effectLst/>
                          <a:latin typeface="Arial" panose="020B0604020202020204" pitchFamily="34" charset="0"/>
                        </a:rPr>
                        <a:t>-18,199.2</a:t>
                      </a:r>
                    </a:p>
                  </a:txBody>
                  <a:tcPr marL="8025" marR="8025" marT="80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2F2F2"/>
                    </a:solidFill>
                  </a:tcPr>
                </a:tc>
                <a:tc>
                  <a:txBody>
                    <a:bodyPr/>
                    <a:lstStyle/>
                    <a:p>
                      <a:pPr algn="ctr" rtl="0" fontAlgn="b"/>
                      <a:r>
                        <a:rPr lang="es-GT" sz="1400" b="1" i="0" u="none" strike="noStrike" dirty="0">
                          <a:solidFill>
                            <a:srgbClr val="FF0000"/>
                          </a:solidFill>
                          <a:effectLst/>
                          <a:latin typeface="Arial" panose="020B0604020202020204" pitchFamily="34" charset="0"/>
                        </a:rPr>
                        <a:t>-2.6</a:t>
                      </a:r>
                    </a:p>
                  </a:txBody>
                  <a:tcPr marL="8025" marR="8025" marT="80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2F2F2"/>
                    </a:solidFill>
                  </a:tcPr>
                </a:tc>
                <a:extLst>
                  <a:ext uri="{0D108BD9-81ED-4DB2-BD59-A6C34878D82A}">
                    <a16:rowId xmlns:a16="http://schemas.microsoft.com/office/drawing/2014/main" val="3048389169"/>
                  </a:ext>
                </a:extLst>
              </a:tr>
              <a:tr h="210204">
                <a:tc>
                  <a:txBody>
                    <a:bodyPr/>
                    <a:lstStyle/>
                    <a:p>
                      <a:pPr algn="l" rtl="0" fontAlgn="b"/>
                      <a:r>
                        <a:rPr lang="es-GT" sz="1400" b="1" i="0" u="none" strike="noStrike" dirty="0">
                          <a:solidFill>
                            <a:srgbClr val="000000"/>
                          </a:solidFill>
                          <a:effectLst/>
                          <a:latin typeface="Arial" panose="020B0604020202020204" pitchFamily="34" charset="0"/>
                        </a:rPr>
                        <a:t>Financiamiento</a:t>
                      </a:r>
                    </a:p>
                  </a:txBody>
                  <a:tcPr marL="8025" marR="8025" marT="80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5">
                        <a:lumMod val="20000"/>
                        <a:lumOff val="80000"/>
                      </a:schemeClr>
                    </a:solidFill>
                  </a:tcPr>
                </a:tc>
                <a:tc>
                  <a:txBody>
                    <a:bodyPr/>
                    <a:lstStyle/>
                    <a:p>
                      <a:pPr algn="ctr" rtl="0" fontAlgn="b"/>
                      <a:r>
                        <a:rPr lang="es-GT" sz="1400" b="1" i="0" u="none" strike="noStrike" dirty="0">
                          <a:solidFill>
                            <a:srgbClr val="000000"/>
                          </a:solidFill>
                          <a:effectLst/>
                          <a:latin typeface="Arial" panose="020B0604020202020204" pitchFamily="34" charset="0"/>
                        </a:rPr>
                        <a:t>14,757.4</a:t>
                      </a:r>
                    </a:p>
                  </a:txBody>
                  <a:tcPr marL="8025" marR="8025" marT="80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5">
                        <a:lumMod val="20000"/>
                        <a:lumOff val="80000"/>
                      </a:schemeClr>
                    </a:solidFill>
                  </a:tcPr>
                </a:tc>
                <a:tc>
                  <a:txBody>
                    <a:bodyPr/>
                    <a:lstStyle/>
                    <a:p>
                      <a:pPr algn="ctr" rtl="0" fontAlgn="b"/>
                      <a:r>
                        <a:rPr lang="es-GT" sz="1400" b="1" i="0" u="none" strike="noStrike" dirty="0">
                          <a:solidFill>
                            <a:srgbClr val="000000"/>
                          </a:solidFill>
                          <a:effectLst/>
                          <a:latin typeface="Arial" panose="020B0604020202020204" pitchFamily="34" charset="0"/>
                        </a:rPr>
                        <a:t>2.3</a:t>
                      </a:r>
                    </a:p>
                  </a:txBody>
                  <a:tcPr marL="8025" marR="8025" marT="80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5">
                        <a:lumMod val="20000"/>
                        <a:lumOff val="80000"/>
                      </a:schemeClr>
                    </a:solidFill>
                  </a:tcPr>
                </a:tc>
                <a:tc>
                  <a:txBody>
                    <a:bodyPr/>
                    <a:lstStyle/>
                    <a:p>
                      <a:pPr algn="ctr" rtl="0" fontAlgn="b"/>
                      <a:r>
                        <a:rPr lang="es-GT" sz="1400" b="1" i="0" u="none" strike="noStrike" dirty="0">
                          <a:solidFill>
                            <a:srgbClr val="000000"/>
                          </a:solidFill>
                          <a:effectLst/>
                          <a:latin typeface="Arial" panose="020B0604020202020204" pitchFamily="34" charset="0"/>
                        </a:rPr>
                        <a:t>18,199.2</a:t>
                      </a:r>
                    </a:p>
                  </a:txBody>
                  <a:tcPr marL="8025" marR="8025" marT="80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5">
                        <a:lumMod val="20000"/>
                        <a:lumOff val="80000"/>
                      </a:schemeClr>
                    </a:solidFill>
                  </a:tcPr>
                </a:tc>
                <a:tc>
                  <a:txBody>
                    <a:bodyPr/>
                    <a:lstStyle/>
                    <a:p>
                      <a:pPr algn="ctr" rtl="0" fontAlgn="b"/>
                      <a:r>
                        <a:rPr lang="es-GT" sz="1400" b="1" i="0" u="none" strike="noStrike" dirty="0">
                          <a:solidFill>
                            <a:srgbClr val="000000"/>
                          </a:solidFill>
                          <a:effectLst/>
                          <a:latin typeface="Arial" panose="020B0604020202020204" pitchFamily="34" charset="0"/>
                        </a:rPr>
                        <a:t>2.6</a:t>
                      </a:r>
                    </a:p>
                  </a:txBody>
                  <a:tcPr marL="8025" marR="8025" marT="80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060921662"/>
                  </a:ext>
                </a:extLst>
              </a:tr>
              <a:tr h="250243">
                <a:tc>
                  <a:txBody>
                    <a:bodyPr/>
                    <a:lstStyle/>
                    <a:p>
                      <a:pPr algn="l" rtl="0" fontAlgn="b"/>
                      <a:r>
                        <a:rPr lang="es-GT" sz="1400" b="0" i="0" u="none" strike="noStrike">
                          <a:solidFill>
                            <a:srgbClr val="000000"/>
                          </a:solidFill>
                          <a:effectLst/>
                          <a:latin typeface="Arial" panose="020B0604020202020204" pitchFamily="34" charset="0"/>
                        </a:rPr>
                        <a:t>Financiamiento Externo Neto</a:t>
                      </a:r>
                    </a:p>
                  </a:txBody>
                  <a:tcPr marL="8025" marR="8025" marT="80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2F2F2"/>
                    </a:solidFill>
                  </a:tcPr>
                </a:tc>
                <a:tc>
                  <a:txBody>
                    <a:bodyPr/>
                    <a:lstStyle/>
                    <a:p>
                      <a:pPr algn="ctr" rtl="0" fontAlgn="b"/>
                      <a:r>
                        <a:rPr lang="es-GT" sz="1400" b="0" i="0" u="none" strike="noStrike">
                          <a:solidFill>
                            <a:srgbClr val="000000"/>
                          </a:solidFill>
                          <a:effectLst/>
                          <a:latin typeface="Arial" panose="020B0604020202020204" pitchFamily="34" charset="0"/>
                        </a:rPr>
                        <a:t>-2,376.7</a:t>
                      </a:r>
                    </a:p>
                  </a:txBody>
                  <a:tcPr marL="8025" marR="8025" marT="80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2F2F2"/>
                    </a:solidFill>
                  </a:tcPr>
                </a:tc>
                <a:tc>
                  <a:txBody>
                    <a:bodyPr/>
                    <a:lstStyle/>
                    <a:p>
                      <a:pPr algn="ctr" rtl="0" fontAlgn="b"/>
                      <a:r>
                        <a:rPr lang="es-GT" sz="1400" b="0" i="0" u="none" strike="noStrike">
                          <a:solidFill>
                            <a:srgbClr val="000000"/>
                          </a:solidFill>
                          <a:effectLst/>
                          <a:latin typeface="Arial" panose="020B0604020202020204" pitchFamily="34" charset="0"/>
                        </a:rPr>
                        <a:t>-0.4</a:t>
                      </a:r>
                    </a:p>
                  </a:txBody>
                  <a:tcPr marL="8025" marR="8025" marT="80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2F2F2"/>
                    </a:solidFill>
                  </a:tcPr>
                </a:tc>
                <a:tc>
                  <a:txBody>
                    <a:bodyPr/>
                    <a:lstStyle/>
                    <a:p>
                      <a:pPr algn="ctr" rtl="0" fontAlgn="b"/>
                      <a:r>
                        <a:rPr lang="es-GT" sz="1400" b="0" i="0" u="none" strike="noStrike">
                          <a:solidFill>
                            <a:srgbClr val="000000"/>
                          </a:solidFill>
                          <a:effectLst/>
                          <a:latin typeface="Arial" panose="020B0604020202020204" pitchFamily="34" charset="0"/>
                        </a:rPr>
                        <a:t>-558.6</a:t>
                      </a:r>
                    </a:p>
                  </a:txBody>
                  <a:tcPr marL="8025" marR="8025" marT="80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2F2F2"/>
                    </a:solidFill>
                  </a:tcPr>
                </a:tc>
                <a:tc>
                  <a:txBody>
                    <a:bodyPr/>
                    <a:lstStyle/>
                    <a:p>
                      <a:pPr algn="ctr" rtl="0" fontAlgn="b"/>
                      <a:r>
                        <a:rPr lang="es-GT" sz="1400" b="0" i="0" u="none" strike="noStrike">
                          <a:solidFill>
                            <a:srgbClr val="000000"/>
                          </a:solidFill>
                          <a:effectLst/>
                          <a:latin typeface="Arial" panose="020B0604020202020204" pitchFamily="34" charset="0"/>
                        </a:rPr>
                        <a:t>-0.1</a:t>
                      </a:r>
                    </a:p>
                  </a:txBody>
                  <a:tcPr marL="8025" marR="8025" marT="80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2F2F2"/>
                    </a:solidFill>
                  </a:tcPr>
                </a:tc>
                <a:extLst>
                  <a:ext uri="{0D108BD9-81ED-4DB2-BD59-A6C34878D82A}">
                    <a16:rowId xmlns:a16="http://schemas.microsoft.com/office/drawing/2014/main" val="785851504"/>
                  </a:ext>
                </a:extLst>
              </a:tr>
              <a:tr h="210204">
                <a:tc>
                  <a:txBody>
                    <a:bodyPr/>
                    <a:lstStyle/>
                    <a:p>
                      <a:pPr algn="l" rtl="0" fontAlgn="b"/>
                      <a:r>
                        <a:rPr lang="es-GT" sz="1400" b="0" i="0" u="none" strike="noStrike">
                          <a:solidFill>
                            <a:srgbClr val="000000"/>
                          </a:solidFill>
                          <a:effectLst/>
                          <a:latin typeface="Arial" panose="020B0604020202020204" pitchFamily="34" charset="0"/>
                        </a:rPr>
                        <a:t>Desembolsos</a:t>
                      </a:r>
                    </a:p>
                  </a:txBody>
                  <a:tcPr marL="144456" marR="8025" marT="80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rtl="0" fontAlgn="b"/>
                      <a:r>
                        <a:rPr lang="es-GT" sz="1400" b="0" i="0" u="none" strike="noStrike">
                          <a:solidFill>
                            <a:srgbClr val="000000"/>
                          </a:solidFill>
                          <a:effectLst/>
                          <a:latin typeface="Arial" panose="020B0604020202020204" pitchFamily="34" charset="0"/>
                        </a:rPr>
                        <a:t>579.8</a:t>
                      </a:r>
                    </a:p>
                  </a:txBody>
                  <a:tcPr marL="8025" marR="8025" marT="80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rtl="0" fontAlgn="b"/>
                      <a:r>
                        <a:rPr lang="es-GT" sz="1400" b="0" i="0" u="none" strike="noStrike">
                          <a:solidFill>
                            <a:srgbClr val="000000"/>
                          </a:solidFill>
                          <a:effectLst/>
                          <a:latin typeface="Arial" panose="020B0604020202020204" pitchFamily="34" charset="0"/>
                        </a:rPr>
                        <a:t>0.1</a:t>
                      </a:r>
                    </a:p>
                  </a:txBody>
                  <a:tcPr marL="8025" marR="8025" marT="80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rtl="0" fontAlgn="b"/>
                      <a:r>
                        <a:rPr lang="es-GT" sz="1400" b="0" i="0" u="none" strike="noStrike">
                          <a:solidFill>
                            <a:srgbClr val="000000"/>
                          </a:solidFill>
                          <a:effectLst/>
                          <a:latin typeface="Arial" panose="020B0604020202020204" pitchFamily="34" charset="0"/>
                        </a:rPr>
                        <a:t>2,451.5</a:t>
                      </a:r>
                    </a:p>
                  </a:txBody>
                  <a:tcPr marL="8025" marR="8025" marT="80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rtl="0" fontAlgn="b"/>
                      <a:r>
                        <a:rPr lang="es-GT" sz="1400" b="0" i="0" u="none" strike="noStrike">
                          <a:solidFill>
                            <a:srgbClr val="000000"/>
                          </a:solidFill>
                          <a:effectLst/>
                          <a:latin typeface="Arial" panose="020B0604020202020204" pitchFamily="34" charset="0"/>
                        </a:rPr>
                        <a:t>0.4</a:t>
                      </a:r>
                    </a:p>
                  </a:txBody>
                  <a:tcPr marL="8025" marR="8025" marT="80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453361933"/>
                  </a:ext>
                </a:extLst>
              </a:tr>
              <a:tr h="210204">
                <a:tc>
                  <a:txBody>
                    <a:bodyPr/>
                    <a:lstStyle/>
                    <a:p>
                      <a:pPr algn="l" rtl="0" fontAlgn="b"/>
                      <a:r>
                        <a:rPr lang="es-GT" sz="1400" b="0" i="0" u="none" strike="noStrike">
                          <a:solidFill>
                            <a:srgbClr val="000000"/>
                          </a:solidFill>
                          <a:effectLst/>
                          <a:latin typeface="Arial" panose="020B0604020202020204" pitchFamily="34" charset="0"/>
                        </a:rPr>
                        <a:t>Amortizaciones</a:t>
                      </a:r>
                    </a:p>
                  </a:txBody>
                  <a:tcPr marL="144456" marR="8025" marT="80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rtl="0" fontAlgn="b"/>
                      <a:r>
                        <a:rPr lang="es-GT" sz="1400" b="0" i="0" u="none" strike="noStrike">
                          <a:solidFill>
                            <a:srgbClr val="000000"/>
                          </a:solidFill>
                          <a:effectLst/>
                          <a:latin typeface="Arial" panose="020B0604020202020204" pitchFamily="34" charset="0"/>
                        </a:rPr>
                        <a:t>2,956.5</a:t>
                      </a:r>
                    </a:p>
                  </a:txBody>
                  <a:tcPr marL="8025" marR="8025" marT="80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rtl="0" fontAlgn="b"/>
                      <a:r>
                        <a:rPr lang="es-GT" sz="1400" b="0" i="0" u="none" strike="noStrike">
                          <a:solidFill>
                            <a:srgbClr val="000000"/>
                          </a:solidFill>
                          <a:effectLst/>
                          <a:latin typeface="Arial" panose="020B0604020202020204" pitchFamily="34" charset="0"/>
                        </a:rPr>
                        <a:t>0.5</a:t>
                      </a:r>
                    </a:p>
                  </a:txBody>
                  <a:tcPr marL="8025" marR="8025" marT="80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rtl="0" fontAlgn="b"/>
                      <a:r>
                        <a:rPr lang="es-GT" sz="1400" b="0" i="0" u="none" strike="noStrike">
                          <a:solidFill>
                            <a:srgbClr val="000000"/>
                          </a:solidFill>
                          <a:effectLst/>
                          <a:latin typeface="Arial" panose="020B0604020202020204" pitchFamily="34" charset="0"/>
                        </a:rPr>
                        <a:t>3,010.1</a:t>
                      </a:r>
                    </a:p>
                  </a:txBody>
                  <a:tcPr marL="8025" marR="8025" marT="80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rtl="0" fontAlgn="b"/>
                      <a:r>
                        <a:rPr lang="es-GT" sz="1400" b="0" i="0" u="none" strike="noStrike">
                          <a:solidFill>
                            <a:srgbClr val="000000"/>
                          </a:solidFill>
                          <a:effectLst/>
                          <a:latin typeface="Arial" panose="020B0604020202020204" pitchFamily="34" charset="0"/>
                        </a:rPr>
                        <a:t>0.4</a:t>
                      </a:r>
                    </a:p>
                  </a:txBody>
                  <a:tcPr marL="8025" marR="8025" marT="80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999170188"/>
                  </a:ext>
                </a:extLst>
              </a:tr>
              <a:tr h="210204">
                <a:tc>
                  <a:txBody>
                    <a:bodyPr/>
                    <a:lstStyle/>
                    <a:p>
                      <a:pPr algn="l" rtl="0" fontAlgn="b"/>
                      <a:r>
                        <a:rPr lang="es-GT" sz="1400" b="0" i="0" u="none" strike="noStrike">
                          <a:solidFill>
                            <a:srgbClr val="000000"/>
                          </a:solidFill>
                          <a:effectLst/>
                          <a:latin typeface="Arial" panose="020B0604020202020204" pitchFamily="34" charset="0"/>
                        </a:rPr>
                        <a:t>Financiamiento Interno Neto</a:t>
                      </a:r>
                    </a:p>
                  </a:txBody>
                  <a:tcPr marL="8025" marR="8025" marT="80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2F2F2"/>
                    </a:solidFill>
                  </a:tcPr>
                </a:tc>
                <a:tc>
                  <a:txBody>
                    <a:bodyPr/>
                    <a:lstStyle/>
                    <a:p>
                      <a:pPr algn="ctr" rtl="0" fontAlgn="b"/>
                      <a:r>
                        <a:rPr lang="es-GT" sz="1400" b="0" i="0" u="none" strike="noStrike" dirty="0">
                          <a:solidFill>
                            <a:srgbClr val="000000"/>
                          </a:solidFill>
                          <a:effectLst/>
                          <a:latin typeface="Arial" panose="020B0604020202020204" pitchFamily="34" charset="0"/>
                        </a:rPr>
                        <a:t>17,134.1</a:t>
                      </a:r>
                    </a:p>
                  </a:txBody>
                  <a:tcPr marL="8025" marR="8025" marT="80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2F2F2"/>
                    </a:solidFill>
                  </a:tcPr>
                </a:tc>
                <a:tc>
                  <a:txBody>
                    <a:bodyPr/>
                    <a:lstStyle/>
                    <a:p>
                      <a:pPr algn="ctr" rtl="0" fontAlgn="b"/>
                      <a:r>
                        <a:rPr lang="es-GT" sz="1400" b="0" i="0" u="none" strike="noStrike">
                          <a:solidFill>
                            <a:srgbClr val="000000"/>
                          </a:solidFill>
                          <a:effectLst/>
                          <a:latin typeface="Arial" panose="020B0604020202020204" pitchFamily="34" charset="0"/>
                        </a:rPr>
                        <a:t>2.7</a:t>
                      </a:r>
                    </a:p>
                  </a:txBody>
                  <a:tcPr marL="8025" marR="8025" marT="80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2F2F2"/>
                    </a:solidFill>
                  </a:tcPr>
                </a:tc>
                <a:tc>
                  <a:txBody>
                    <a:bodyPr/>
                    <a:lstStyle/>
                    <a:p>
                      <a:pPr algn="ctr" rtl="0" fontAlgn="b"/>
                      <a:r>
                        <a:rPr lang="es-GT" sz="1400" b="0" i="0" u="none" strike="noStrike">
                          <a:solidFill>
                            <a:srgbClr val="000000"/>
                          </a:solidFill>
                          <a:effectLst/>
                          <a:latin typeface="Arial" panose="020B0604020202020204" pitchFamily="34" charset="0"/>
                        </a:rPr>
                        <a:t>18,757.7</a:t>
                      </a:r>
                    </a:p>
                  </a:txBody>
                  <a:tcPr marL="8025" marR="8025" marT="80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2F2F2"/>
                    </a:solidFill>
                  </a:tcPr>
                </a:tc>
                <a:tc>
                  <a:txBody>
                    <a:bodyPr/>
                    <a:lstStyle/>
                    <a:p>
                      <a:pPr algn="ctr" rtl="0" fontAlgn="b"/>
                      <a:r>
                        <a:rPr lang="es-GT" sz="1400" b="0" i="0" u="none" strike="noStrike">
                          <a:solidFill>
                            <a:srgbClr val="000000"/>
                          </a:solidFill>
                          <a:effectLst/>
                          <a:latin typeface="Arial" panose="020B0604020202020204" pitchFamily="34" charset="0"/>
                        </a:rPr>
                        <a:t>2.7</a:t>
                      </a:r>
                    </a:p>
                  </a:txBody>
                  <a:tcPr marL="8025" marR="8025" marT="80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2F2F2"/>
                    </a:solidFill>
                  </a:tcPr>
                </a:tc>
                <a:extLst>
                  <a:ext uri="{0D108BD9-81ED-4DB2-BD59-A6C34878D82A}">
                    <a16:rowId xmlns:a16="http://schemas.microsoft.com/office/drawing/2014/main" val="2115277400"/>
                  </a:ext>
                </a:extLst>
              </a:tr>
              <a:tr h="210204">
                <a:tc>
                  <a:txBody>
                    <a:bodyPr/>
                    <a:lstStyle/>
                    <a:p>
                      <a:pPr algn="l" rtl="0" fontAlgn="b"/>
                      <a:r>
                        <a:rPr lang="es-GT" sz="1400" b="0" i="0" u="none" strike="noStrike">
                          <a:solidFill>
                            <a:srgbClr val="000000"/>
                          </a:solidFill>
                          <a:effectLst/>
                          <a:latin typeface="Arial" panose="020B0604020202020204" pitchFamily="34" charset="0"/>
                        </a:rPr>
                        <a:t>Negociaciones</a:t>
                      </a:r>
                    </a:p>
                  </a:txBody>
                  <a:tcPr marL="144456" marR="8025" marT="80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rtl="0" fontAlgn="b"/>
                      <a:r>
                        <a:rPr lang="es-GT" sz="1400" b="0" i="0" u="none" strike="noStrike">
                          <a:solidFill>
                            <a:srgbClr val="000000"/>
                          </a:solidFill>
                          <a:effectLst/>
                          <a:latin typeface="Arial" panose="020B0604020202020204" pitchFamily="34" charset="0"/>
                        </a:rPr>
                        <a:t>24,478.5</a:t>
                      </a:r>
                    </a:p>
                  </a:txBody>
                  <a:tcPr marL="8025" marR="8025" marT="80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rtl="0" fontAlgn="b"/>
                      <a:r>
                        <a:rPr lang="es-GT" sz="1400" b="0" i="0" u="none" strike="noStrike">
                          <a:solidFill>
                            <a:srgbClr val="000000"/>
                          </a:solidFill>
                          <a:effectLst/>
                          <a:latin typeface="Arial" panose="020B0604020202020204" pitchFamily="34" charset="0"/>
                        </a:rPr>
                        <a:t>3.8</a:t>
                      </a:r>
                    </a:p>
                  </a:txBody>
                  <a:tcPr marL="8025" marR="8025" marT="80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rtl="0" fontAlgn="b"/>
                      <a:r>
                        <a:rPr lang="es-GT" sz="1400" b="0" i="0" u="none" strike="noStrike">
                          <a:solidFill>
                            <a:srgbClr val="000000"/>
                          </a:solidFill>
                          <a:effectLst/>
                          <a:latin typeface="Arial" panose="020B0604020202020204" pitchFamily="34" charset="0"/>
                        </a:rPr>
                        <a:t>15,398.9</a:t>
                      </a:r>
                    </a:p>
                  </a:txBody>
                  <a:tcPr marL="8025" marR="8025" marT="80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rtl="0" fontAlgn="b"/>
                      <a:r>
                        <a:rPr lang="es-GT" sz="1400" b="0" i="0" u="none" strike="noStrike">
                          <a:solidFill>
                            <a:srgbClr val="000000"/>
                          </a:solidFill>
                          <a:effectLst/>
                          <a:latin typeface="Arial" panose="020B0604020202020204" pitchFamily="34" charset="0"/>
                        </a:rPr>
                        <a:t>2.2</a:t>
                      </a:r>
                    </a:p>
                  </a:txBody>
                  <a:tcPr marL="8025" marR="8025" marT="80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240311350"/>
                  </a:ext>
                </a:extLst>
              </a:tr>
              <a:tr h="210204">
                <a:tc>
                  <a:txBody>
                    <a:bodyPr/>
                    <a:lstStyle/>
                    <a:p>
                      <a:pPr algn="l" rtl="0" fontAlgn="b"/>
                      <a:r>
                        <a:rPr lang="es-GT" sz="1400" b="0" i="0" u="none" strike="noStrike">
                          <a:solidFill>
                            <a:srgbClr val="000000"/>
                          </a:solidFill>
                          <a:effectLst/>
                          <a:latin typeface="Arial" panose="020B0604020202020204" pitchFamily="34" charset="0"/>
                        </a:rPr>
                        <a:t>Amortizaciones</a:t>
                      </a:r>
                    </a:p>
                  </a:txBody>
                  <a:tcPr marL="144456" marR="8025" marT="80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rtl="0" fontAlgn="b"/>
                      <a:r>
                        <a:rPr lang="es-GT" sz="1400" b="0" i="0" u="none" strike="noStrike">
                          <a:solidFill>
                            <a:srgbClr val="000000"/>
                          </a:solidFill>
                          <a:effectLst/>
                          <a:latin typeface="Arial" panose="020B0604020202020204" pitchFamily="34" charset="0"/>
                        </a:rPr>
                        <a:t>5,398.0</a:t>
                      </a:r>
                    </a:p>
                  </a:txBody>
                  <a:tcPr marL="8025" marR="8025" marT="80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rtl="0" fontAlgn="b"/>
                      <a:r>
                        <a:rPr lang="es-GT" sz="1400" b="0" i="0" u="none" strike="noStrike">
                          <a:solidFill>
                            <a:srgbClr val="000000"/>
                          </a:solidFill>
                          <a:effectLst/>
                          <a:latin typeface="Arial" panose="020B0604020202020204" pitchFamily="34" charset="0"/>
                        </a:rPr>
                        <a:t>0.8</a:t>
                      </a:r>
                    </a:p>
                  </a:txBody>
                  <a:tcPr marL="8025" marR="8025" marT="80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rtl="0" fontAlgn="b"/>
                      <a:r>
                        <a:rPr lang="es-GT" sz="1400" b="0" i="0" u="none" strike="noStrike">
                          <a:solidFill>
                            <a:srgbClr val="000000"/>
                          </a:solidFill>
                          <a:effectLst/>
                          <a:latin typeface="Arial" panose="020B0604020202020204" pitchFamily="34" charset="0"/>
                        </a:rPr>
                        <a:t>428.5</a:t>
                      </a:r>
                    </a:p>
                  </a:txBody>
                  <a:tcPr marL="8025" marR="8025" marT="80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rtl="0" fontAlgn="b"/>
                      <a:r>
                        <a:rPr lang="es-GT" sz="1400" b="0" i="0" u="none" strike="noStrike">
                          <a:solidFill>
                            <a:srgbClr val="000000"/>
                          </a:solidFill>
                          <a:effectLst/>
                          <a:latin typeface="Arial" panose="020B0604020202020204" pitchFamily="34" charset="0"/>
                        </a:rPr>
                        <a:t>0.1</a:t>
                      </a:r>
                    </a:p>
                  </a:txBody>
                  <a:tcPr marL="8025" marR="8025" marT="80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64820555"/>
                  </a:ext>
                </a:extLst>
              </a:tr>
              <a:tr h="220214">
                <a:tc>
                  <a:txBody>
                    <a:bodyPr/>
                    <a:lstStyle/>
                    <a:p>
                      <a:pPr algn="l" rtl="0" fontAlgn="b"/>
                      <a:r>
                        <a:rPr lang="es-GT" sz="1400" b="0" i="0" u="none" strike="noStrike">
                          <a:solidFill>
                            <a:srgbClr val="000000"/>
                          </a:solidFill>
                          <a:effectLst/>
                          <a:latin typeface="Arial" panose="020B0604020202020204" pitchFamily="34" charset="0"/>
                        </a:rPr>
                        <a:t>Variación de Caja y Bancos</a:t>
                      </a:r>
                    </a:p>
                  </a:txBody>
                  <a:tcPr marL="8025" marR="8025" marT="80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b"/>
                      <a:r>
                        <a:rPr lang="es-GT" sz="1400" b="0" i="0" u="none" strike="noStrike">
                          <a:solidFill>
                            <a:srgbClr val="000000"/>
                          </a:solidFill>
                          <a:effectLst/>
                          <a:latin typeface="Arial" panose="020B0604020202020204" pitchFamily="34" charset="0"/>
                        </a:rPr>
                        <a:t>-4,556.0</a:t>
                      </a:r>
                    </a:p>
                  </a:txBody>
                  <a:tcPr marL="8025" marR="8025" marT="80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b"/>
                      <a:r>
                        <a:rPr lang="es-GT" sz="1400" b="0" i="0" u="none" strike="noStrike">
                          <a:solidFill>
                            <a:srgbClr val="000000"/>
                          </a:solidFill>
                          <a:effectLst/>
                          <a:latin typeface="Arial" panose="020B0604020202020204" pitchFamily="34" charset="0"/>
                        </a:rPr>
                        <a:t>-0.7</a:t>
                      </a:r>
                    </a:p>
                  </a:txBody>
                  <a:tcPr marL="8025" marR="8025" marT="80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b"/>
                      <a:r>
                        <a:rPr lang="es-GT" sz="1400" b="0" i="0" u="none" strike="noStrike">
                          <a:solidFill>
                            <a:srgbClr val="000000"/>
                          </a:solidFill>
                          <a:effectLst/>
                          <a:latin typeface="Arial" panose="020B0604020202020204" pitchFamily="34" charset="0"/>
                        </a:rPr>
                        <a:t>3,787.3</a:t>
                      </a:r>
                    </a:p>
                  </a:txBody>
                  <a:tcPr marL="8025" marR="8025" marT="80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rtl="0" fontAlgn="b"/>
                      <a:r>
                        <a:rPr lang="es-GT" sz="1400" b="0" i="0" u="none" strike="noStrike">
                          <a:solidFill>
                            <a:srgbClr val="000000"/>
                          </a:solidFill>
                          <a:effectLst/>
                          <a:latin typeface="Arial" panose="020B0604020202020204" pitchFamily="34" charset="0"/>
                        </a:rPr>
                        <a:t>0.5</a:t>
                      </a:r>
                    </a:p>
                  </a:txBody>
                  <a:tcPr marL="8025" marR="8025" marT="80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189984236"/>
                  </a:ext>
                </a:extLst>
              </a:tr>
              <a:tr h="210204">
                <a:tc>
                  <a:txBody>
                    <a:bodyPr/>
                    <a:lstStyle/>
                    <a:p>
                      <a:pPr algn="l" rtl="0" fontAlgn="b"/>
                      <a:r>
                        <a:rPr lang="es-GT" sz="1400" b="0" i="0" u="none" strike="noStrike">
                          <a:solidFill>
                            <a:srgbClr val="000000"/>
                          </a:solidFill>
                          <a:effectLst/>
                          <a:latin typeface="Arial" panose="020B0604020202020204" pitchFamily="34" charset="0"/>
                        </a:rPr>
                        <a:t> </a:t>
                      </a:r>
                    </a:p>
                  </a:txBody>
                  <a:tcPr marL="8025" marR="8025" marT="8025" marB="0" anchor="b">
                    <a:lnL>
                      <a:noFill/>
                    </a:lnL>
                    <a:lnR>
                      <a:noFill/>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rtl="0" fontAlgn="b"/>
                      <a:r>
                        <a:rPr lang="es-GT" sz="1400" b="0" i="0" u="none" strike="noStrike" dirty="0">
                          <a:solidFill>
                            <a:srgbClr val="000000"/>
                          </a:solidFill>
                          <a:effectLst/>
                          <a:latin typeface="Arial" panose="020B0604020202020204" pitchFamily="34" charset="0"/>
                        </a:rPr>
                        <a:t> </a:t>
                      </a:r>
                    </a:p>
                  </a:txBody>
                  <a:tcPr marL="8025" marR="8025" marT="8025" marB="0" anchor="b">
                    <a:lnL>
                      <a:noFill/>
                    </a:lnL>
                    <a:lnR>
                      <a:noFill/>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rtl="0" fontAlgn="b"/>
                      <a:r>
                        <a:rPr lang="es-GT" sz="1400" b="0" i="0" u="none" strike="noStrike">
                          <a:solidFill>
                            <a:srgbClr val="000000"/>
                          </a:solidFill>
                          <a:effectLst/>
                          <a:latin typeface="Arial" panose="020B0604020202020204" pitchFamily="34" charset="0"/>
                        </a:rPr>
                        <a:t> </a:t>
                      </a:r>
                    </a:p>
                  </a:txBody>
                  <a:tcPr marL="8025" marR="8025" marT="8025" marB="0" anchor="b">
                    <a:lnL>
                      <a:noFill/>
                    </a:lnL>
                    <a:lnR>
                      <a:noFill/>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rtl="0" fontAlgn="b"/>
                      <a:r>
                        <a:rPr lang="es-GT" sz="1400" b="0" i="0" u="none" strike="noStrike">
                          <a:solidFill>
                            <a:srgbClr val="000000"/>
                          </a:solidFill>
                          <a:effectLst/>
                          <a:latin typeface="Arial" panose="020B0604020202020204" pitchFamily="34" charset="0"/>
                        </a:rPr>
                        <a:t> </a:t>
                      </a:r>
                    </a:p>
                  </a:txBody>
                  <a:tcPr marL="8025" marR="8025" marT="8025" marB="0" anchor="b">
                    <a:lnL>
                      <a:noFill/>
                    </a:lnL>
                    <a:lnR>
                      <a:noFill/>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gn="ctr" rtl="0" fontAlgn="b"/>
                      <a:r>
                        <a:rPr lang="es-GT" sz="1400" b="0" i="0" u="none" strike="noStrike">
                          <a:solidFill>
                            <a:srgbClr val="000000"/>
                          </a:solidFill>
                          <a:effectLst/>
                          <a:latin typeface="Arial" panose="020B0604020202020204" pitchFamily="34" charset="0"/>
                        </a:rPr>
                        <a:t> </a:t>
                      </a:r>
                    </a:p>
                  </a:txBody>
                  <a:tcPr marL="8025" marR="8025" marT="8025" marB="0" anchor="b">
                    <a:lnL>
                      <a:noFill/>
                    </a:lnL>
                    <a:lnR>
                      <a:noFill/>
                    </a:lnR>
                    <a:lnT w="12700" cap="flat" cmpd="sng" algn="ctr">
                      <a:solidFill>
                        <a:srgbClr val="000000"/>
                      </a:solidFill>
                      <a:prstDash val="solid"/>
                      <a:round/>
                      <a:headEnd type="none" w="med" len="med"/>
                      <a:tailEnd type="none" w="med" len="med"/>
                    </a:lnT>
                    <a:lnB>
                      <a:noFill/>
                    </a:lnB>
                    <a:solidFill>
                      <a:srgbClr val="F2F2F2"/>
                    </a:solidFill>
                  </a:tcPr>
                </a:tc>
                <a:extLst>
                  <a:ext uri="{0D108BD9-81ED-4DB2-BD59-A6C34878D82A}">
                    <a16:rowId xmlns:a16="http://schemas.microsoft.com/office/drawing/2014/main" val="501297334"/>
                  </a:ext>
                </a:extLst>
              </a:tr>
              <a:tr h="210204">
                <a:tc>
                  <a:txBody>
                    <a:bodyPr/>
                    <a:lstStyle/>
                    <a:p>
                      <a:pPr algn="l" rtl="0" fontAlgn="b"/>
                      <a:r>
                        <a:rPr lang="es-GT" sz="1100" b="1" i="0" u="none" strike="noStrike">
                          <a:solidFill>
                            <a:srgbClr val="000000"/>
                          </a:solidFill>
                          <a:effectLst/>
                          <a:latin typeface="Arial" panose="020B0604020202020204" pitchFamily="34" charset="0"/>
                        </a:rPr>
                        <a:t>PIB (Escenario Bajo Banguat)</a:t>
                      </a:r>
                    </a:p>
                  </a:txBody>
                  <a:tcPr marL="8025" marR="8025" marT="8025" marB="0" anchor="b">
                    <a:lnL>
                      <a:noFill/>
                    </a:lnL>
                    <a:lnR>
                      <a:noFill/>
                    </a:lnR>
                    <a:lnT>
                      <a:noFill/>
                    </a:lnT>
                    <a:lnB>
                      <a:noFill/>
                    </a:lnB>
                  </a:tcPr>
                </a:tc>
                <a:tc>
                  <a:txBody>
                    <a:bodyPr/>
                    <a:lstStyle/>
                    <a:p>
                      <a:pPr algn="l" rtl="0" fontAlgn="b"/>
                      <a:endParaRPr lang="es-GT" sz="1200" b="1" i="0" u="none" strike="noStrike">
                        <a:solidFill>
                          <a:srgbClr val="000000"/>
                        </a:solidFill>
                        <a:effectLst/>
                        <a:latin typeface="Arial" panose="020B0604020202020204" pitchFamily="34" charset="0"/>
                      </a:endParaRPr>
                    </a:p>
                  </a:txBody>
                  <a:tcPr marL="8025" marR="8025" marT="8025" marB="0" anchor="b">
                    <a:lnL>
                      <a:noFill/>
                    </a:lnL>
                    <a:lnR>
                      <a:noFill/>
                    </a:lnR>
                    <a:lnT>
                      <a:noFill/>
                    </a:lnT>
                    <a:lnB>
                      <a:noFill/>
                    </a:lnB>
                  </a:tcPr>
                </a:tc>
                <a:tc>
                  <a:txBody>
                    <a:bodyPr/>
                    <a:lstStyle/>
                    <a:p>
                      <a:pPr algn="r" rtl="0" fontAlgn="b"/>
                      <a:r>
                        <a:rPr lang="es-GT" sz="1200" b="1" i="0" u="none" strike="noStrike">
                          <a:solidFill>
                            <a:srgbClr val="000000"/>
                          </a:solidFill>
                          <a:effectLst/>
                          <a:latin typeface="Arial" panose="020B0604020202020204" pitchFamily="34" charset="0"/>
                        </a:rPr>
                        <a:t>642,602.7</a:t>
                      </a:r>
                    </a:p>
                  </a:txBody>
                  <a:tcPr marL="8025" marR="8025" marT="8025" marB="0" anchor="b">
                    <a:lnL>
                      <a:noFill/>
                    </a:lnL>
                    <a:lnR>
                      <a:noFill/>
                    </a:lnR>
                    <a:lnT>
                      <a:noFill/>
                    </a:lnT>
                    <a:lnB>
                      <a:noFill/>
                    </a:lnB>
                  </a:tcPr>
                </a:tc>
                <a:tc>
                  <a:txBody>
                    <a:bodyPr/>
                    <a:lstStyle/>
                    <a:p>
                      <a:pPr algn="r" rtl="0" fontAlgn="b"/>
                      <a:endParaRPr lang="es-GT" sz="1400" b="1" i="0" u="none" strike="noStrike">
                        <a:solidFill>
                          <a:srgbClr val="000000"/>
                        </a:solidFill>
                        <a:effectLst/>
                        <a:latin typeface="Arial" panose="020B0604020202020204" pitchFamily="34" charset="0"/>
                      </a:endParaRPr>
                    </a:p>
                  </a:txBody>
                  <a:tcPr marL="8025" marR="8025" marT="8025" marB="0" anchor="b">
                    <a:lnL>
                      <a:noFill/>
                    </a:lnL>
                    <a:lnR>
                      <a:noFill/>
                    </a:lnR>
                    <a:lnT>
                      <a:noFill/>
                    </a:lnT>
                    <a:lnB>
                      <a:noFill/>
                    </a:lnB>
                  </a:tcPr>
                </a:tc>
                <a:tc>
                  <a:txBody>
                    <a:bodyPr/>
                    <a:lstStyle/>
                    <a:p>
                      <a:pPr algn="r" rtl="0" fontAlgn="b"/>
                      <a:r>
                        <a:rPr lang="es-GT" sz="1200" b="1" i="0" u="none" strike="noStrike">
                          <a:solidFill>
                            <a:srgbClr val="000000"/>
                          </a:solidFill>
                          <a:effectLst/>
                          <a:latin typeface="Arial" panose="020B0604020202020204" pitchFamily="34" charset="0"/>
                        </a:rPr>
                        <a:t>677,133.6</a:t>
                      </a:r>
                    </a:p>
                  </a:txBody>
                  <a:tcPr marL="8025" marR="8025" marT="8025" marB="0" anchor="b">
                    <a:lnL>
                      <a:noFill/>
                    </a:lnL>
                    <a:lnR>
                      <a:noFill/>
                    </a:lnR>
                    <a:lnT>
                      <a:noFill/>
                    </a:lnT>
                    <a:lnB>
                      <a:noFill/>
                    </a:lnB>
                  </a:tcPr>
                </a:tc>
                <a:extLst>
                  <a:ext uri="{0D108BD9-81ED-4DB2-BD59-A6C34878D82A}">
                    <a16:rowId xmlns:a16="http://schemas.microsoft.com/office/drawing/2014/main" val="1893237685"/>
                  </a:ext>
                </a:extLst>
              </a:tr>
              <a:tr h="200196">
                <a:tc>
                  <a:txBody>
                    <a:bodyPr/>
                    <a:lstStyle/>
                    <a:p>
                      <a:pPr algn="l" rtl="0" fontAlgn="b"/>
                      <a:r>
                        <a:rPr lang="es-GT" sz="1100" b="1" i="0" u="none" strike="noStrike">
                          <a:solidFill>
                            <a:srgbClr val="000000"/>
                          </a:solidFill>
                          <a:effectLst/>
                          <a:latin typeface="Arial" panose="020B0604020202020204" pitchFamily="34" charset="0"/>
                        </a:rPr>
                        <a:t>Total Presupuesto Gasto</a:t>
                      </a:r>
                      <a:endParaRPr lang="es-GT" sz="1100" b="1" i="0" u="none" strike="noStrike" dirty="0">
                        <a:solidFill>
                          <a:srgbClr val="000000"/>
                        </a:solidFill>
                        <a:effectLst/>
                        <a:latin typeface="Arial" panose="020B0604020202020204" pitchFamily="34" charset="0"/>
                      </a:endParaRPr>
                    </a:p>
                  </a:txBody>
                  <a:tcPr marL="8025" marR="8025" marT="8025" marB="0" anchor="b">
                    <a:lnL>
                      <a:noFill/>
                    </a:lnL>
                    <a:lnR>
                      <a:noFill/>
                    </a:lnR>
                    <a:lnT>
                      <a:noFill/>
                    </a:lnT>
                    <a:lnB>
                      <a:noFill/>
                    </a:lnB>
                  </a:tcPr>
                </a:tc>
                <a:tc>
                  <a:txBody>
                    <a:bodyPr/>
                    <a:lstStyle/>
                    <a:p>
                      <a:pPr algn="r" rtl="0" fontAlgn="b"/>
                      <a:r>
                        <a:rPr lang="es-GT" sz="1200" b="0" i="0" u="none" strike="noStrike">
                          <a:solidFill>
                            <a:srgbClr val="000000"/>
                          </a:solidFill>
                          <a:effectLst/>
                          <a:latin typeface="Arial" panose="020B0604020202020204" pitchFamily="34" charset="0"/>
                        </a:rPr>
                        <a:t>92,433.5</a:t>
                      </a:r>
                    </a:p>
                  </a:txBody>
                  <a:tcPr marL="8025" marR="8025" marT="8025" marB="0" anchor="b">
                    <a:lnL>
                      <a:noFill/>
                    </a:lnL>
                    <a:lnR>
                      <a:noFill/>
                    </a:lnR>
                    <a:lnT>
                      <a:noFill/>
                    </a:lnT>
                    <a:lnB>
                      <a:noFill/>
                    </a:lnB>
                  </a:tcPr>
                </a:tc>
                <a:tc>
                  <a:txBody>
                    <a:bodyPr/>
                    <a:lstStyle/>
                    <a:p>
                      <a:pPr algn="ctr" rtl="0" fontAlgn="b"/>
                      <a:r>
                        <a:rPr lang="es-GT" sz="1200" b="0" i="0" u="none" strike="noStrike">
                          <a:solidFill>
                            <a:srgbClr val="000000"/>
                          </a:solidFill>
                          <a:effectLst/>
                          <a:latin typeface="Arial" panose="020B0604020202020204" pitchFamily="34" charset="0"/>
                        </a:rPr>
                        <a:t>14.4</a:t>
                      </a:r>
                    </a:p>
                  </a:txBody>
                  <a:tcPr marL="8025" marR="8025" marT="8025" marB="0" anchor="b">
                    <a:lnL>
                      <a:noFill/>
                    </a:lnL>
                    <a:lnR>
                      <a:noFill/>
                    </a:lnR>
                    <a:lnT>
                      <a:noFill/>
                    </a:lnT>
                    <a:lnB>
                      <a:noFill/>
                    </a:lnB>
                  </a:tcPr>
                </a:tc>
                <a:tc>
                  <a:txBody>
                    <a:bodyPr/>
                    <a:lstStyle/>
                    <a:p>
                      <a:pPr algn="r" rtl="0" fontAlgn="b"/>
                      <a:r>
                        <a:rPr lang="es-GT" sz="1200" b="0" i="0" u="none" strike="noStrike">
                          <a:solidFill>
                            <a:srgbClr val="000000"/>
                          </a:solidFill>
                          <a:effectLst/>
                          <a:latin typeface="Arial" panose="020B0604020202020204" pitchFamily="34" charset="0"/>
                        </a:rPr>
                        <a:t>100,839.61</a:t>
                      </a:r>
                    </a:p>
                  </a:txBody>
                  <a:tcPr marL="8025" marR="8025" marT="8025" marB="0" anchor="b">
                    <a:lnL>
                      <a:noFill/>
                    </a:lnL>
                    <a:lnR>
                      <a:noFill/>
                    </a:lnR>
                    <a:lnT>
                      <a:noFill/>
                    </a:lnT>
                    <a:lnB>
                      <a:noFill/>
                    </a:lnB>
                  </a:tcPr>
                </a:tc>
                <a:tc>
                  <a:txBody>
                    <a:bodyPr/>
                    <a:lstStyle/>
                    <a:p>
                      <a:pPr algn="ctr" rtl="0" fontAlgn="b"/>
                      <a:r>
                        <a:rPr lang="es-GT" sz="1200" b="0" i="0" u="none" strike="noStrike">
                          <a:solidFill>
                            <a:srgbClr val="000000"/>
                          </a:solidFill>
                          <a:effectLst/>
                          <a:latin typeface="Arial" panose="020B0604020202020204" pitchFamily="34" charset="0"/>
                        </a:rPr>
                        <a:t>14.9</a:t>
                      </a:r>
                    </a:p>
                  </a:txBody>
                  <a:tcPr marL="8025" marR="8025" marT="8025" marB="0" anchor="b">
                    <a:lnL>
                      <a:noFill/>
                    </a:lnL>
                    <a:lnR>
                      <a:noFill/>
                    </a:lnR>
                    <a:lnT>
                      <a:noFill/>
                    </a:lnT>
                    <a:lnB>
                      <a:noFill/>
                    </a:lnB>
                  </a:tcPr>
                </a:tc>
                <a:extLst>
                  <a:ext uri="{0D108BD9-81ED-4DB2-BD59-A6C34878D82A}">
                    <a16:rowId xmlns:a16="http://schemas.microsoft.com/office/drawing/2014/main" val="3516766605"/>
                  </a:ext>
                </a:extLst>
              </a:tr>
              <a:tr h="200196">
                <a:tc>
                  <a:txBody>
                    <a:bodyPr/>
                    <a:lstStyle/>
                    <a:p>
                      <a:pPr algn="l" rtl="0" fontAlgn="b"/>
                      <a:r>
                        <a:rPr lang="es-GT" sz="1100" b="1" i="0" u="none" strike="noStrike">
                          <a:solidFill>
                            <a:srgbClr val="000000"/>
                          </a:solidFill>
                          <a:effectLst/>
                          <a:latin typeface="Arial" panose="020B0604020202020204" pitchFamily="34" charset="0"/>
                        </a:rPr>
                        <a:t>Total Presupuesto Ingresos</a:t>
                      </a:r>
                      <a:endParaRPr lang="es-GT" sz="1100" b="1" i="0" u="none" strike="noStrike" dirty="0">
                        <a:solidFill>
                          <a:srgbClr val="000000"/>
                        </a:solidFill>
                        <a:effectLst/>
                        <a:latin typeface="Arial" panose="020B0604020202020204" pitchFamily="34" charset="0"/>
                      </a:endParaRPr>
                    </a:p>
                  </a:txBody>
                  <a:tcPr marL="8025" marR="8025" marT="8025" marB="0" anchor="b">
                    <a:lnL>
                      <a:noFill/>
                    </a:lnL>
                    <a:lnR>
                      <a:noFill/>
                    </a:lnR>
                    <a:lnT>
                      <a:noFill/>
                    </a:lnT>
                    <a:lnB>
                      <a:noFill/>
                    </a:lnB>
                  </a:tcPr>
                </a:tc>
                <a:tc>
                  <a:txBody>
                    <a:bodyPr/>
                    <a:lstStyle/>
                    <a:p>
                      <a:pPr algn="r" rtl="0" fontAlgn="b"/>
                      <a:r>
                        <a:rPr lang="es-GT" sz="1200" b="0" i="0" u="none" strike="noStrike">
                          <a:solidFill>
                            <a:srgbClr val="000000"/>
                          </a:solidFill>
                          <a:effectLst/>
                          <a:latin typeface="Arial" panose="020B0604020202020204" pitchFamily="34" charset="0"/>
                        </a:rPr>
                        <a:t>92,433.5</a:t>
                      </a:r>
                      <a:endParaRPr lang="es-GT" sz="1200" b="0" i="0" u="none" strike="noStrike" dirty="0">
                        <a:solidFill>
                          <a:srgbClr val="000000"/>
                        </a:solidFill>
                        <a:effectLst/>
                        <a:latin typeface="Arial" panose="020B0604020202020204" pitchFamily="34" charset="0"/>
                      </a:endParaRPr>
                    </a:p>
                  </a:txBody>
                  <a:tcPr marL="8025" marR="8025" marT="8025" marB="0" anchor="b">
                    <a:lnL>
                      <a:noFill/>
                    </a:lnL>
                    <a:lnR>
                      <a:noFill/>
                    </a:lnR>
                    <a:lnT>
                      <a:noFill/>
                    </a:lnT>
                    <a:lnB>
                      <a:noFill/>
                    </a:lnB>
                  </a:tcPr>
                </a:tc>
                <a:tc>
                  <a:txBody>
                    <a:bodyPr/>
                    <a:lstStyle/>
                    <a:p>
                      <a:pPr algn="r" rtl="0" fontAlgn="b"/>
                      <a:endParaRPr lang="es-GT" sz="1200" b="0" i="0" u="none" strike="noStrike" dirty="0">
                        <a:solidFill>
                          <a:srgbClr val="000000"/>
                        </a:solidFill>
                        <a:effectLst/>
                        <a:latin typeface="Arial" panose="020B0604020202020204" pitchFamily="34" charset="0"/>
                      </a:endParaRPr>
                    </a:p>
                  </a:txBody>
                  <a:tcPr marL="8025" marR="8025" marT="8025" marB="0" anchor="b">
                    <a:lnL>
                      <a:noFill/>
                    </a:lnL>
                    <a:lnR>
                      <a:noFill/>
                    </a:lnR>
                    <a:lnT>
                      <a:noFill/>
                    </a:lnT>
                    <a:lnB>
                      <a:noFill/>
                    </a:lnB>
                  </a:tcPr>
                </a:tc>
                <a:tc>
                  <a:txBody>
                    <a:bodyPr/>
                    <a:lstStyle/>
                    <a:p>
                      <a:pPr algn="r" rtl="0" fontAlgn="b"/>
                      <a:r>
                        <a:rPr lang="es-GT" sz="1200" b="0" i="0" u="none" strike="noStrike">
                          <a:solidFill>
                            <a:srgbClr val="000000"/>
                          </a:solidFill>
                          <a:effectLst/>
                          <a:latin typeface="Arial" panose="020B0604020202020204" pitchFamily="34" charset="0"/>
                        </a:rPr>
                        <a:t>100,839.61</a:t>
                      </a:r>
                      <a:endParaRPr lang="es-GT" sz="1200" b="0" i="0" u="none" strike="noStrike" dirty="0">
                        <a:solidFill>
                          <a:srgbClr val="000000"/>
                        </a:solidFill>
                        <a:effectLst/>
                        <a:latin typeface="Arial" panose="020B0604020202020204" pitchFamily="34" charset="0"/>
                      </a:endParaRPr>
                    </a:p>
                  </a:txBody>
                  <a:tcPr marL="8025" marR="8025" marT="8025" marB="0" anchor="b">
                    <a:lnL>
                      <a:noFill/>
                    </a:lnL>
                    <a:lnR>
                      <a:noFill/>
                    </a:lnR>
                    <a:lnT>
                      <a:noFill/>
                    </a:lnT>
                    <a:lnB>
                      <a:noFill/>
                    </a:lnB>
                  </a:tcPr>
                </a:tc>
                <a:tc>
                  <a:txBody>
                    <a:bodyPr/>
                    <a:lstStyle/>
                    <a:p>
                      <a:pPr algn="r" rtl="0" fontAlgn="b"/>
                      <a:endParaRPr lang="es-GT" sz="1200" b="0" i="0" u="none" strike="noStrike" dirty="0">
                        <a:solidFill>
                          <a:srgbClr val="000000"/>
                        </a:solidFill>
                        <a:effectLst/>
                        <a:latin typeface="Arial" panose="020B0604020202020204" pitchFamily="34" charset="0"/>
                      </a:endParaRPr>
                    </a:p>
                  </a:txBody>
                  <a:tcPr marL="8025" marR="8025" marT="8025" marB="0" anchor="b">
                    <a:lnL>
                      <a:noFill/>
                    </a:lnL>
                    <a:lnR>
                      <a:noFill/>
                    </a:lnR>
                    <a:lnT>
                      <a:noFill/>
                    </a:lnT>
                    <a:lnB>
                      <a:noFill/>
                    </a:lnB>
                  </a:tcPr>
                </a:tc>
                <a:extLst>
                  <a:ext uri="{0D108BD9-81ED-4DB2-BD59-A6C34878D82A}">
                    <a16:rowId xmlns:a16="http://schemas.microsoft.com/office/drawing/2014/main" val="2185485531"/>
                  </a:ext>
                </a:extLst>
              </a:tr>
            </a:tbl>
          </a:graphicData>
        </a:graphic>
      </p:graphicFrame>
    </p:spTree>
    <p:custDataLst>
      <p:tags r:id="rId2"/>
    </p:custDataLst>
    <p:extLst>
      <p:ext uri="{BB962C8B-B14F-4D97-AF65-F5344CB8AC3E}">
        <p14:creationId xmlns:p14="http://schemas.microsoft.com/office/powerpoint/2010/main" val="382565497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612C927D-3748-4A4E-816E-96996793B4E7}"/>
              </a:ext>
            </a:extLst>
          </p:cNvPr>
          <p:cNvGraphicFramePr>
            <a:graphicFrameLocks noChangeAspect="1"/>
          </p:cNvGraphicFramePr>
          <p:nvPr>
            <p:custDataLst>
              <p:tags r:id="rId3"/>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7651" name="Diapositiva de think-cell" r:id="rId6" imgW="395" imgH="394" progId="TCLayout.ActiveDocument.1">
                  <p:embed/>
                </p:oleObj>
              </mc:Choice>
              <mc:Fallback>
                <p:oleObj name="Diapositiva de think-cell" r:id="rId6" imgW="395" imgH="394" progId="TCLayout.ActiveDocument.1">
                  <p:embed/>
                  <p:pic>
                    <p:nvPicPr>
                      <p:cNvPr id="4" name="Objeto 3" hidden="1">
                        <a:extLst>
                          <a:ext uri="{FF2B5EF4-FFF2-40B4-BE49-F238E27FC236}">
                            <a16:creationId xmlns:a16="http://schemas.microsoft.com/office/drawing/2014/main" id="{612C927D-3748-4A4E-816E-96996793B4E7}"/>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11" name="Rectángulo 10" hidden="1">
            <a:extLst>
              <a:ext uri="{FF2B5EF4-FFF2-40B4-BE49-F238E27FC236}">
                <a16:creationId xmlns:a16="http://schemas.microsoft.com/office/drawing/2014/main" id="{5CEDD324-C245-420B-A8DC-2EEF4B0D7FE7}"/>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sym typeface="Arial" panose="020B0604020202020204" pitchFamily="34" charset="0"/>
            </a:endParaRPr>
          </a:p>
        </p:txBody>
      </p:sp>
      <p:sp>
        <p:nvSpPr>
          <p:cNvPr id="16" name="Rectángulo 15" hidden="1">
            <a:extLst>
              <a:ext uri="{FF2B5EF4-FFF2-40B4-BE49-F238E27FC236}">
                <a16:creationId xmlns:a16="http://schemas.microsoft.com/office/drawing/2014/main" id="{A70850B7-190D-46D7-A7EC-2EC403037B82}"/>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endParaRPr>
          </a:p>
        </p:txBody>
      </p:sp>
      <p:sp>
        <p:nvSpPr>
          <p:cNvPr id="70" name="Rectángulo 69">
            <a:extLst>
              <a:ext uri="{FF2B5EF4-FFF2-40B4-BE49-F238E27FC236}">
                <a16:creationId xmlns:a16="http://schemas.microsoft.com/office/drawing/2014/main" id="{EB6E8B7F-9F42-4666-8000-893CFEA37FC9}"/>
              </a:ext>
            </a:extLst>
          </p:cNvPr>
          <p:cNvSpPr/>
          <p:nvPr/>
        </p:nvSpPr>
        <p:spPr>
          <a:xfrm>
            <a:off x="427728" y="85650"/>
            <a:ext cx="6878327" cy="830997"/>
          </a:xfrm>
          <a:prstGeom prst="rect">
            <a:avLst/>
          </a:prstGeom>
          <a:noFill/>
        </p:spPr>
        <p:txBody>
          <a:bodyPr wrap="square">
            <a:spAutoFit/>
          </a:bodyPr>
          <a:lstStyle/>
          <a:p>
            <a:r>
              <a:rPr lang="es-ES" sz="2400" b="1" dirty="0">
                <a:solidFill>
                  <a:schemeClr val="bg1"/>
                </a:solidFill>
                <a:latin typeface="Calibri" panose="020F0502020204030204" pitchFamily="34" charset="0"/>
                <a:cs typeface="Calibri" panose="020F0502020204030204" pitchFamily="34" charset="0"/>
              </a:rPr>
              <a:t>Guatemala con una deuda de las más bajas de América y el Mundo</a:t>
            </a:r>
            <a:endParaRPr lang="es-GT" sz="2400" b="1" dirty="0">
              <a:solidFill>
                <a:schemeClr val="bg1"/>
              </a:solidFill>
              <a:latin typeface="Calibri" panose="020F0502020204030204" pitchFamily="34" charset="0"/>
              <a:cs typeface="Calibri" panose="020F0502020204030204" pitchFamily="34" charset="0"/>
            </a:endParaRPr>
          </a:p>
        </p:txBody>
      </p:sp>
      <p:grpSp>
        <p:nvGrpSpPr>
          <p:cNvPr id="10" name="Grupo 9">
            <a:extLst>
              <a:ext uri="{FF2B5EF4-FFF2-40B4-BE49-F238E27FC236}">
                <a16:creationId xmlns:a16="http://schemas.microsoft.com/office/drawing/2014/main" id="{7BEDB072-65D4-49A3-9951-EE911A8D57CA}"/>
              </a:ext>
            </a:extLst>
          </p:cNvPr>
          <p:cNvGrpSpPr/>
          <p:nvPr/>
        </p:nvGrpSpPr>
        <p:grpSpPr>
          <a:xfrm>
            <a:off x="2326582" y="1103993"/>
            <a:ext cx="7676759" cy="5673566"/>
            <a:chOff x="6509613" y="1715755"/>
            <a:chExt cx="5442712" cy="5673566"/>
          </a:xfrm>
        </p:grpSpPr>
        <p:graphicFrame>
          <p:nvGraphicFramePr>
            <p:cNvPr id="12" name="Gráfico 11">
              <a:extLst>
                <a:ext uri="{FF2B5EF4-FFF2-40B4-BE49-F238E27FC236}">
                  <a16:creationId xmlns:a16="http://schemas.microsoft.com/office/drawing/2014/main" id="{BC640E6D-A936-4C13-9B9A-110A1E12A1D9}"/>
                </a:ext>
              </a:extLst>
            </p:cNvPr>
            <p:cNvGraphicFramePr/>
            <p:nvPr>
              <p:extLst>
                <p:ext uri="{D42A27DB-BD31-4B8C-83A1-F6EECF244321}">
                  <p14:modId xmlns:p14="http://schemas.microsoft.com/office/powerpoint/2010/main" val="2025884293"/>
                </p:ext>
              </p:extLst>
            </p:nvPr>
          </p:nvGraphicFramePr>
          <p:xfrm>
            <a:off x="6509613" y="2526064"/>
            <a:ext cx="5344928" cy="4863257"/>
          </p:xfrm>
          <a:graphic>
            <a:graphicData uri="http://schemas.openxmlformats.org/drawingml/2006/chart">
              <c:chart xmlns:c="http://schemas.openxmlformats.org/drawingml/2006/chart" xmlns:r="http://schemas.openxmlformats.org/officeDocument/2006/relationships" r:id="rId8"/>
            </a:graphicData>
          </a:graphic>
        </p:graphicFrame>
        <p:sp>
          <p:nvSpPr>
            <p:cNvPr id="13" name="CuadroTexto 12">
              <a:extLst>
                <a:ext uri="{FF2B5EF4-FFF2-40B4-BE49-F238E27FC236}">
                  <a16:creationId xmlns:a16="http://schemas.microsoft.com/office/drawing/2014/main" id="{1A47777D-456A-4428-9ADD-27D32049EA95}"/>
                </a:ext>
              </a:extLst>
            </p:cNvPr>
            <p:cNvSpPr txBox="1"/>
            <p:nvPr/>
          </p:nvSpPr>
          <p:spPr>
            <a:xfrm>
              <a:off x="6607397" y="1715755"/>
              <a:ext cx="5344928" cy="769441"/>
            </a:xfrm>
            <a:prstGeom prst="rect">
              <a:avLst/>
            </a:prstGeom>
            <a:noFill/>
          </p:spPr>
          <p:txBody>
            <a:bodyPr wrap="square" rtlCol="0">
              <a:spAutoFit/>
            </a:bodyPr>
            <a:lstStyle/>
            <a:p>
              <a:pPr algn="ctr"/>
              <a:r>
                <a:rPr lang="es-GT" sz="2400" b="1" dirty="0">
                  <a:solidFill>
                    <a:srgbClr val="0B3963"/>
                  </a:solidFill>
                </a:rPr>
                <a:t>Estimación del indicador deuda/PIB en 2022 </a:t>
              </a:r>
              <a:r>
                <a:rPr lang="es-GT" sz="2000" b="1" dirty="0">
                  <a:solidFill>
                    <a:srgbClr val="0B3963"/>
                  </a:solidFill>
                </a:rPr>
                <a:t>para Latinoamérica  </a:t>
              </a:r>
              <a:r>
                <a:rPr lang="es-GT" sz="2000" dirty="0">
                  <a:solidFill>
                    <a:srgbClr val="0B3963"/>
                  </a:solidFill>
                </a:rPr>
                <a:t>(en porcentaje)</a:t>
              </a:r>
            </a:p>
          </p:txBody>
        </p:sp>
        <p:sp>
          <p:nvSpPr>
            <p:cNvPr id="14" name="CuadroTexto 13">
              <a:extLst>
                <a:ext uri="{FF2B5EF4-FFF2-40B4-BE49-F238E27FC236}">
                  <a16:creationId xmlns:a16="http://schemas.microsoft.com/office/drawing/2014/main" id="{112BC253-346E-409F-B108-A247C9CB7D3F}"/>
                </a:ext>
              </a:extLst>
            </p:cNvPr>
            <p:cNvSpPr txBox="1"/>
            <p:nvPr/>
          </p:nvSpPr>
          <p:spPr>
            <a:xfrm>
              <a:off x="6607397" y="6107107"/>
              <a:ext cx="1895193" cy="900246"/>
            </a:xfrm>
            <a:prstGeom prst="rect">
              <a:avLst/>
            </a:prstGeom>
            <a:noFill/>
          </p:spPr>
          <p:txBody>
            <a:bodyPr wrap="square" rtlCol="0">
              <a:spAutoFit/>
            </a:bodyPr>
            <a:lstStyle/>
            <a:p>
              <a:r>
                <a:rPr lang="es-GT" sz="1050" b="1" dirty="0"/>
                <a:t>Fuente: Dirección de Análisis y Política Fiscal información el Fondo Monetario </a:t>
              </a:r>
            </a:p>
            <a:p>
              <a:r>
                <a:rPr lang="es-GT" sz="1050" b="1" dirty="0"/>
                <a:t>Internacional a excepción de Guatemala.</a:t>
              </a:r>
            </a:p>
            <a:p>
              <a:r>
                <a:rPr lang="es-GT" sz="1050" b="1" dirty="0"/>
                <a:t>Nota: No hay información disponible para Argentina</a:t>
              </a:r>
            </a:p>
          </p:txBody>
        </p:sp>
      </p:grpSp>
    </p:spTree>
    <p:custDataLst>
      <p:tags r:id="rId2"/>
    </p:custDataLst>
    <p:extLst>
      <p:ext uri="{BB962C8B-B14F-4D97-AF65-F5344CB8AC3E}">
        <p14:creationId xmlns:p14="http://schemas.microsoft.com/office/powerpoint/2010/main" val="3879154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a:extLst>
              <a:ext uri="{FF2B5EF4-FFF2-40B4-BE49-F238E27FC236}">
                <a16:creationId xmlns:a16="http://schemas.microsoft.com/office/drawing/2014/main" id="{D1ECC426-8EC0-7345-B01B-621D05D9A84E}"/>
              </a:ext>
            </a:extLst>
          </p:cNvPr>
          <p:cNvSpPr>
            <a:spLocks noGrp="1"/>
          </p:cNvSpPr>
          <p:nvPr>
            <p:ph type="ctrTitle"/>
          </p:nvPr>
        </p:nvSpPr>
        <p:spPr>
          <a:xfrm>
            <a:off x="1313688" y="1840702"/>
            <a:ext cx="9144000" cy="2387600"/>
          </a:xfrm>
        </p:spPr>
        <p:txBody>
          <a:bodyPr>
            <a:noAutofit/>
          </a:bodyPr>
          <a:lstStyle/>
          <a:p>
            <a:pPr algn="l"/>
            <a:r>
              <a:rPr lang="es-ES" b="0" dirty="0"/>
              <a:t>Proyección</a:t>
            </a:r>
            <a:r>
              <a:rPr lang="es-ES" dirty="0"/>
              <a:t> </a:t>
            </a:r>
            <a:br>
              <a:rPr lang="es-ES" dirty="0"/>
            </a:br>
            <a:r>
              <a:rPr lang="es-ES" sz="6600" dirty="0"/>
              <a:t>de Mediano plazo</a:t>
            </a:r>
            <a:endParaRPr lang="es-GT" dirty="0"/>
          </a:p>
        </p:txBody>
      </p:sp>
    </p:spTree>
    <p:extLst>
      <p:ext uri="{BB962C8B-B14F-4D97-AF65-F5344CB8AC3E}">
        <p14:creationId xmlns:p14="http://schemas.microsoft.com/office/powerpoint/2010/main" val="11087686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612C927D-3748-4A4E-816E-96996793B4E7}"/>
              </a:ext>
            </a:extLst>
          </p:cNvPr>
          <p:cNvGraphicFramePr>
            <a:graphicFrameLocks noChangeAspect="1"/>
          </p:cNvGraphicFramePr>
          <p:nvPr>
            <p:custDataLst>
              <p:tags r:id="rId3"/>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8675" name="Diapositiva de think-cell" r:id="rId6" imgW="395" imgH="394" progId="TCLayout.ActiveDocument.1">
                  <p:embed/>
                </p:oleObj>
              </mc:Choice>
              <mc:Fallback>
                <p:oleObj name="Diapositiva de think-cell" r:id="rId6" imgW="395" imgH="394" progId="TCLayout.ActiveDocument.1">
                  <p:embed/>
                  <p:pic>
                    <p:nvPicPr>
                      <p:cNvPr id="4" name="Objeto 3" hidden="1">
                        <a:extLst>
                          <a:ext uri="{FF2B5EF4-FFF2-40B4-BE49-F238E27FC236}">
                            <a16:creationId xmlns:a16="http://schemas.microsoft.com/office/drawing/2014/main" id="{612C927D-3748-4A4E-816E-96996793B4E7}"/>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11" name="Rectángulo 10" hidden="1">
            <a:extLst>
              <a:ext uri="{FF2B5EF4-FFF2-40B4-BE49-F238E27FC236}">
                <a16:creationId xmlns:a16="http://schemas.microsoft.com/office/drawing/2014/main" id="{5CEDD324-C245-420B-A8DC-2EEF4B0D7FE7}"/>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sym typeface="Arial" panose="020B0604020202020204" pitchFamily="34" charset="0"/>
            </a:endParaRPr>
          </a:p>
        </p:txBody>
      </p:sp>
      <p:sp>
        <p:nvSpPr>
          <p:cNvPr id="16" name="Rectángulo 15" hidden="1">
            <a:extLst>
              <a:ext uri="{FF2B5EF4-FFF2-40B4-BE49-F238E27FC236}">
                <a16:creationId xmlns:a16="http://schemas.microsoft.com/office/drawing/2014/main" id="{A70850B7-190D-46D7-A7EC-2EC403037B82}"/>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endParaRPr>
          </a:p>
        </p:txBody>
      </p:sp>
      <p:sp>
        <p:nvSpPr>
          <p:cNvPr id="18" name="Título 1">
            <a:extLst>
              <a:ext uri="{FF2B5EF4-FFF2-40B4-BE49-F238E27FC236}">
                <a16:creationId xmlns:a16="http://schemas.microsoft.com/office/drawing/2014/main" id="{138826A5-4EBC-4884-A039-681D45109432}"/>
              </a:ext>
            </a:extLst>
          </p:cNvPr>
          <p:cNvSpPr>
            <a:spLocks noGrp="1"/>
          </p:cNvSpPr>
          <p:nvPr>
            <p:ph type="title"/>
          </p:nvPr>
        </p:nvSpPr>
        <p:spPr>
          <a:xfrm>
            <a:off x="347699" y="87885"/>
            <a:ext cx="5581761" cy="849898"/>
          </a:xfrm>
          <a:noFill/>
        </p:spPr>
        <p:txBody>
          <a:bodyPr vert="horz">
            <a:normAutofit/>
          </a:bodyPr>
          <a:lstStyle/>
          <a:p>
            <a:r>
              <a:rPr lang="es-GT" sz="3200" b="1" dirty="0">
                <a:solidFill>
                  <a:schemeClr val="bg1"/>
                </a:solidFill>
              </a:rPr>
              <a:t>Perspectivas macroeconómicas</a:t>
            </a:r>
          </a:p>
        </p:txBody>
      </p:sp>
      <p:sp>
        <p:nvSpPr>
          <p:cNvPr id="24" name="CuadroTexto 23">
            <a:extLst>
              <a:ext uri="{FF2B5EF4-FFF2-40B4-BE49-F238E27FC236}">
                <a16:creationId xmlns:a16="http://schemas.microsoft.com/office/drawing/2014/main" id="{EBAEF374-7C28-41C9-A23A-FC34499E04E6}"/>
              </a:ext>
            </a:extLst>
          </p:cNvPr>
          <p:cNvSpPr txBox="1"/>
          <p:nvPr/>
        </p:nvSpPr>
        <p:spPr>
          <a:xfrm>
            <a:off x="2412335" y="1204702"/>
            <a:ext cx="7450066" cy="461665"/>
          </a:xfrm>
          <a:prstGeom prst="rect">
            <a:avLst/>
          </a:prstGeom>
          <a:noFill/>
        </p:spPr>
        <p:txBody>
          <a:bodyPr wrap="square" rtlCol="0">
            <a:spAutoFit/>
          </a:bodyPr>
          <a:lstStyle/>
          <a:p>
            <a:pPr algn="ctr"/>
            <a:r>
              <a:rPr lang="es-GT" sz="2400" b="1" dirty="0">
                <a:solidFill>
                  <a:srgbClr val="0B3963"/>
                </a:solidFill>
              </a:rPr>
              <a:t>Millones de Quetzales y Variación en Porcentajes </a:t>
            </a:r>
          </a:p>
        </p:txBody>
      </p:sp>
      <p:sp>
        <p:nvSpPr>
          <p:cNvPr id="12" name="CuadroTexto 11">
            <a:extLst>
              <a:ext uri="{FF2B5EF4-FFF2-40B4-BE49-F238E27FC236}">
                <a16:creationId xmlns:a16="http://schemas.microsoft.com/office/drawing/2014/main" id="{DA0129B8-0715-4692-9F2A-96773DEC6862}"/>
              </a:ext>
            </a:extLst>
          </p:cNvPr>
          <p:cNvSpPr txBox="1"/>
          <p:nvPr/>
        </p:nvSpPr>
        <p:spPr>
          <a:xfrm>
            <a:off x="347699" y="6493116"/>
            <a:ext cx="3375271" cy="276999"/>
          </a:xfrm>
          <a:prstGeom prst="rect">
            <a:avLst/>
          </a:prstGeom>
          <a:noFill/>
        </p:spPr>
        <p:txBody>
          <a:bodyPr wrap="square">
            <a:spAutoFit/>
          </a:bodyPr>
          <a:lstStyle/>
          <a:p>
            <a:r>
              <a:rPr lang="es-GT" sz="1200" b="1" dirty="0"/>
              <a:t>Fuente: Banco de Guatemala</a:t>
            </a:r>
          </a:p>
        </p:txBody>
      </p:sp>
      <p:graphicFrame>
        <p:nvGraphicFramePr>
          <p:cNvPr id="13" name="Tabla 4">
            <a:extLst>
              <a:ext uri="{FF2B5EF4-FFF2-40B4-BE49-F238E27FC236}">
                <a16:creationId xmlns:a16="http://schemas.microsoft.com/office/drawing/2014/main" id="{2BF9DF59-9FCE-4E22-AF95-9DAFFD6F11D3}"/>
              </a:ext>
            </a:extLst>
          </p:cNvPr>
          <p:cNvGraphicFramePr>
            <a:graphicFrameLocks noGrp="1"/>
          </p:cNvGraphicFramePr>
          <p:nvPr>
            <p:extLst>
              <p:ext uri="{D42A27DB-BD31-4B8C-83A1-F6EECF244321}">
                <p14:modId xmlns:p14="http://schemas.microsoft.com/office/powerpoint/2010/main" val="1644487168"/>
              </p:ext>
            </p:extLst>
          </p:nvPr>
        </p:nvGraphicFramePr>
        <p:xfrm>
          <a:off x="430435" y="1702454"/>
          <a:ext cx="11413866" cy="4800742"/>
        </p:xfrm>
        <a:graphic>
          <a:graphicData uri="http://schemas.openxmlformats.org/drawingml/2006/table">
            <a:tbl>
              <a:tblPr firstRow="1" bandRow="1">
                <a:tableStyleId>{69012ECD-51FC-41F1-AA8D-1B2483CD663E}</a:tableStyleId>
              </a:tblPr>
              <a:tblGrid>
                <a:gridCol w="2535350">
                  <a:extLst>
                    <a:ext uri="{9D8B030D-6E8A-4147-A177-3AD203B41FA5}">
                      <a16:colId xmlns:a16="http://schemas.microsoft.com/office/drawing/2014/main" val="4250551680"/>
                    </a:ext>
                  </a:extLst>
                </a:gridCol>
                <a:gridCol w="1412524">
                  <a:extLst>
                    <a:ext uri="{9D8B030D-6E8A-4147-A177-3AD203B41FA5}">
                      <a16:colId xmlns:a16="http://schemas.microsoft.com/office/drawing/2014/main" val="1711621162"/>
                    </a:ext>
                  </a:extLst>
                </a:gridCol>
                <a:gridCol w="1174740">
                  <a:extLst>
                    <a:ext uri="{9D8B030D-6E8A-4147-A177-3AD203B41FA5}">
                      <a16:colId xmlns:a16="http://schemas.microsoft.com/office/drawing/2014/main" val="2781292659"/>
                    </a:ext>
                  </a:extLst>
                </a:gridCol>
                <a:gridCol w="1259464">
                  <a:extLst>
                    <a:ext uri="{9D8B030D-6E8A-4147-A177-3AD203B41FA5}">
                      <a16:colId xmlns:a16="http://schemas.microsoft.com/office/drawing/2014/main" val="1795379704"/>
                    </a:ext>
                  </a:extLst>
                </a:gridCol>
                <a:gridCol w="1223408">
                  <a:extLst>
                    <a:ext uri="{9D8B030D-6E8A-4147-A177-3AD203B41FA5}">
                      <a16:colId xmlns:a16="http://schemas.microsoft.com/office/drawing/2014/main" val="142098834"/>
                    </a:ext>
                  </a:extLst>
                </a:gridCol>
                <a:gridCol w="1269460">
                  <a:extLst>
                    <a:ext uri="{9D8B030D-6E8A-4147-A177-3AD203B41FA5}">
                      <a16:colId xmlns:a16="http://schemas.microsoft.com/office/drawing/2014/main" val="3329410532"/>
                    </a:ext>
                  </a:extLst>
                </a:gridCol>
                <a:gridCol w="1269460">
                  <a:extLst>
                    <a:ext uri="{9D8B030D-6E8A-4147-A177-3AD203B41FA5}">
                      <a16:colId xmlns:a16="http://schemas.microsoft.com/office/drawing/2014/main" val="2978604712"/>
                    </a:ext>
                  </a:extLst>
                </a:gridCol>
                <a:gridCol w="1269460">
                  <a:extLst>
                    <a:ext uri="{9D8B030D-6E8A-4147-A177-3AD203B41FA5}">
                      <a16:colId xmlns:a16="http://schemas.microsoft.com/office/drawing/2014/main" val="2486323924"/>
                    </a:ext>
                  </a:extLst>
                </a:gridCol>
              </a:tblGrid>
              <a:tr h="777498">
                <a:tc>
                  <a:txBody>
                    <a:bodyPr/>
                    <a:lstStyle/>
                    <a:p>
                      <a:endParaRPr lang="es-GT"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0B3963"/>
                    </a:solidFill>
                  </a:tcPr>
                </a:tc>
                <a:tc>
                  <a:txBody>
                    <a:bodyPr/>
                    <a:lstStyle/>
                    <a:p>
                      <a:pPr algn="ctr"/>
                      <a:r>
                        <a:rPr lang="es-GT" dirty="0"/>
                        <a:t>2020 (observad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0B396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GT" b="1" dirty="0">
                          <a:solidFill>
                            <a:schemeClr val="bg1"/>
                          </a:solidFill>
                        </a:rPr>
                        <a:t>2021</a:t>
                      </a:r>
                    </a:p>
                    <a:p>
                      <a:pPr marL="0" marR="0" lvl="0" indent="0" algn="ctr" defTabSz="914400" rtl="0" eaLnBrk="1" fontAlgn="auto" latinLnBrk="0" hangingPunct="1">
                        <a:lnSpc>
                          <a:spcPct val="100000"/>
                        </a:lnSpc>
                        <a:spcBef>
                          <a:spcPts val="0"/>
                        </a:spcBef>
                        <a:spcAft>
                          <a:spcPts val="0"/>
                        </a:spcAft>
                        <a:buClrTx/>
                        <a:buSzTx/>
                        <a:buFontTx/>
                        <a:buNone/>
                        <a:tabLst/>
                        <a:defRPr/>
                      </a:pPr>
                      <a:r>
                        <a:rPr lang="es-GT" b="1" dirty="0">
                          <a:solidFill>
                            <a:schemeClr val="bg1"/>
                          </a:solidFill>
                        </a:rPr>
                        <a:t>(Bajo)</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B3963"/>
                    </a:solidFill>
                  </a:tcPr>
                </a:tc>
                <a:tc>
                  <a:txBody>
                    <a:bodyPr/>
                    <a:lstStyle/>
                    <a:p>
                      <a:pPr algn="ctr"/>
                      <a:r>
                        <a:rPr lang="es-GT" b="1" dirty="0">
                          <a:solidFill>
                            <a:schemeClr val="bg1"/>
                          </a:solidFill>
                        </a:rPr>
                        <a:t>2022</a:t>
                      </a:r>
                    </a:p>
                    <a:p>
                      <a:pPr algn="ctr"/>
                      <a:r>
                        <a:rPr lang="es-GT" b="1" dirty="0">
                          <a:solidFill>
                            <a:schemeClr val="bg1"/>
                          </a:solidFill>
                        </a:rPr>
                        <a:t>(Bajo)</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B396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GT" b="1" dirty="0">
                          <a:solidFill>
                            <a:schemeClr val="bg1"/>
                          </a:solidFill>
                        </a:rPr>
                        <a:t>2023 (Medio)</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B396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GT" b="1" dirty="0">
                          <a:solidFill>
                            <a:schemeClr val="bg1"/>
                          </a:solidFill>
                        </a:rPr>
                        <a:t>2024 (Medio)</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B396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GT" b="1" dirty="0">
                          <a:solidFill>
                            <a:schemeClr val="bg1"/>
                          </a:solidFill>
                        </a:rPr>
                        <a:t>2025 (Medio)</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B396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GT" b="1" dirty="0">
                          <a:solidFill>
                            <a:schemeClr val="bg1"/>
                          </a:solidFill>
                        </a:rPr>
                        <a:t>2026 (Medio)</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B3963"/>
                    </a:solidFill>
                  </a:tcPr>
                </a:tc>
                <a:extLst>
                  <a:ext uri="{0D108BD9-81ED-4DB2-BD59-A6C34878D82A}">
                    <a16:rowId xmlns:a16="http://schemas.microsoft.com/office/drawing/2014/main" val="3947713643"/>
                  </a:ext>
                </a:extLst>
              </a:tr>
              <a:tr h="444286">
                <a:tc rowSpan="2">
                  <a:txBody>
                    <a:bodyPr/>
                    <a:lstStyle/>
                    <a:p>
                      <a:r>
                        <a:rPr lang="es-GT" dirty="0"/>
                        <a:t>PIB real Q.</a:t>
                      </a:r>
                    </a:p>
                    <a:p>
                      <a:r>
                        <a:rPr lang="es-GT" b="1" dirty="0"/>
                        <a:t>    Variación %</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GT" dirty="0"/>
                        <a:t>506,368.0</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s-GT" sz="1800" b="0" i="0" u="none" strike="noStrike" dirty="0">
                          <a:solidFill>
                            <a:srgbClr val="000000"/>
                          </a:solidFill>
                          <a:effectLst/>
                          <a:latin typeface="Calibri" panose="020F0502020204030204" pitchFamily="34" charset="0"/>
                        </a:rPr>
                        <a:t>526,688.1</a:t>
                      </a:r>
                    </a:p>
                  </a:txBody>
                  <a:tcPr marL="7620" marR="7620" marT="7620" marB="0" anchor="ctr">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es-GT" sz="1800" b="0" i="0" u="none" strike="noStrike" dirty="0">
                          <a:solidFill>
                            <a:srgbClr val="000000"/>
                          </a:solidFill>
                          <a:effectLst/>
                          <a:latin typeface="Calibri" panose="020F0502020204030204" pitchFamily="34" charset="0"/>
                        </a:rPr>
                        <a:t>550,350.8</a:t>
                      </a:r>
                    </a:p>
                  </a:txBody>
                  <a:tcPr marL="7620" marR="7620" marT="762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s-GT" sz="1800" b="0" i="0" u="none" strike="noStrike" dirty="0">
                          <a:solidFill>
                            <a:srgbClr val="000000"/>
                          </a:solidFill>
                          <a:effectLst/>
                          <a:latin typeface="Calibri" panose="020F0502020204030204" pitchFamily="34" charset="0"/>
                        </a:rPr>
                        <a:t>575,957.5</a:t>
                      </a:r>
                    </a:p>
                  </a:txBody>
                  <a:tcPr marL="7620" marR="7620" marT="7620" marB="0" anchor="ctr">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s-GT" sz="1800" b="0" i="0" u="none" strike="noStrike" dirty="0">
                          <a:solidFill>
                            <a:srgbClr val="000000"/>
                          </a:solidFill>
                          <a:effectLst/>
                          <a:latin typeface="Calibri" panose="020F0502020204030204" pitchFamily="34" charset="0"/>
                        </a:rPr>
                        <a:t>596,778.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s-GT" sz="1800" b="0" i="0" u="none" strike="noStrike" dirty="0">
                          <a:solidFill>
                            <a:srgbClr val="000000"/>
                          </a:solidFill>
                          <a:effectLst/>
                          <a:latin typeface="Calibri" panose="020F0502020204030204" pitchFamily="34" charset="0"/>
                        </a:rPr>
                        <a:t>618,235.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s-GT" sz="1800" b="0" i="0" u="none" strike="noStrike" dirty="0">
                          <a:solidFill>
                            <a:srgbClr val="000000"/>
                          </a:solidFill>
                          <a:effectLst/>
                          <a:latin typeface="Calibri" panose="020F0502020204030204" pitchFamily="34" charset="0"/>
                        </a:rPr>
                        <a:t>641,232.5</a:t>
                      </a:r>
                    </a:p>
                  </a:txBody>
                  <a:tcPr marL="7620" marR="7620" marT="762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182551297"/>
                  </a:ext>
                </a:extLst>
              </a:tr>
              <a:tr h="444286">
                <a:tc vMerge="1">
                  <a:txBody>
                    <a:bodyPr/>
                    <a:lstStyle/>
                    <a:p>
                      <a:endParaRPr lang="es-GT"/>
                    </a:p>
                  </a:txBody>
                  <a:tcPr/>
                </a:tc>
                <a:tc>
                  <a:txBody>
                    <a:bodyPr/>
                    <a:lstStyle/>
                    <a:p>
                      <a:pPr algn="ctr"/>
                      <a:r>
                        <a:rPr lang="es-GT" b="1" dirty="0"/>
                        <a:t>-1.5</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s-GT" sz="1800" b="1" i="0" u="none" strike="noStrike" dirty="0">
                          <a:solidFill>
                            <a:srgbClr val="000000"/>
                          </a:solidFill>
                          <a:effectLst/>
                          <a:latin typeface="Calibri" panose="020F0502020204030204" pitchFamily="34" charset="0"/>
                        </a:rPr>
                        <a:t>4.0</a:t>
                      </a:r>
                    </a:p>
                  </a:txBody>
                  <a:tcPr marL="7620" marR="7620" marT="7620" marB="0" anchor="ctr">
                    <a:lnL w="12700" cap="flat" cmpd="sng" algn="ctr">
                      <a:solidFill>
                        <a:schemeClr val="accent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es-GT" sz="1800" b="1" i="0" u="none" strike="noStrike" dirty="0">
                          <a:solidFill>
                            <a:srgbClr val="000000"/>
                          </a:solidFill>
                          <a:effectLst/>
                          <a:latin typeface="Calibri" panose="020F0502020204030204" pitchFamily="34" charset="0"/>
                        </a:rPr>
                        <a:t>3.5</a:t>
                      </a:r>
                    </a:p>
                  </a:txBody>
                  <a:tcPr marL="7620" marR="7620" marT="762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s-GT" sz="1800" b="1" i="0" u="none" strike="noStrike" dirty="0">
                          <a:solidFill>
                            <a:srgbClr val="000000"/>
                          </a:solidFill>
                          <a:effectLst/>
                          <a:latin typeface="Calibri" panose="020F0502020204030204" pitchFamily="34" charset="0"/>
                        </a:rPr>
                        <a:t>3.7</a:t>
                      </a:r>
                    </a:p>
                  </a:txBody>
                  <a:tcPr marL="7620" marR="7620" marT="7620" marB="0" anchor="ctr">
                    <a:lnL w="12700" cap="flat" cmpd="sng" algn="ctr">
                      <a:solidFill>
                        <a:schemeClr val="accent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s-GT" sz="1800" b="1" i="0" u="none" strike="noStrike" dirty="0">
                          <a:solidFill>
                            <a:srgbClr val="000000"/>
                          </a:solidFill>
                          <a:effectLst/>
                          <a:latin typeface="Calibri" panose="020F0502020204030204" pitchFamily="34" charset="0"/>
                        </a:rPr>
                        <a:t>3.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s-GT" sz="1800" b="1" i="0" u="none" strike="noStrike">
                          <a:solidFill>
                            <a:srgbClr val="000000"/>
                          </a:solidFill>
                          <a:effectLst/>
                          <a:latin typeface="Calibri" panose="020F0502020204030204" pitchFamily="34" charset="0"/>
                        </a:rPr>
                        <a:t>3.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s-GT" sz="1800" b="1" i="0" u="none" strike="noStrike">
                          <a:solidFill>
                            <a:srgbClr val="000000"/>
                          </a:solidFill>
                          <a:effectLst/>
                          <a:latin typeface="Calibri" panose="020F0502020204030204" pitchFamily="34" charset="0"/>
                        </a:rPr>
                        <a:t>3.7</a:t>
                      </a:r>
                    </a:p>
                  </a:txBody>
                  <a:tcPr marL="7620" marR="7620" marT="762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872248052"/>
                  </a:ext>
                </a:extLst>
              </a:tr>
              <a:tr h="444286">
                <a:tc rowSpan="2">
                  <a:txBody>
                    <a:bodyPr/>
                    <a:lstStyle/>
                    <a:p>
                      <a:r>
                        <a:rPr lang="es-GT" dirty="0"/>
                        <a:t>PIB nominal Q.</a:t>
                      </a:r>
                    </a:p>
                    <a:p>
                      <a:r>
                        <a:rPr lang="es-GT" b="1" dirty="0"/>
                        <a:t>    Variación %</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GT" dirty="0"/>
                        <a:t>599,235.8</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tcPr>
                </a:tc>
                <a:tc>
                  <a:txBody>
                    <a:bodyPr/>
                    <a:lstStyle/>
                    <a:p>
                      <a:pPr algn="ctr" fontAlgn="b"/>
                      <a:r>
                        <a:rPr lang="es-GT" sz="1800" b="0" i="0" u="none" strike="noStrike" dirty="0">
                          <a:solidFill>
                            <a:srgbClr val="000000"/>
                          </a:solidFill>
                          <a:effectLst/>
                          <a:latin typeface="Calibri" panose="020F0502020204030204" pitchFamily="34" charset="0"/>
                        </a:rPr>
                        <a:t>645,421.8</a:t>
                      </a:r>
                    </a:p>
                  </a:txBody>
                  <a:tcPr marL="7620" marR="7620" marT="7620" marB="0" anchor="ctr">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es-GT" sz="1800" b="0" i="0" u="none" strike="noStrike" dirty="0">
                          <a:solidFill>
                            <a:srgbClr val="000000"/>
                          </a:solidFill>
                          <a:effectLst/>
                          <a:latin typeface="Calibri" panose="020F0502020204030204" pitchFamily="34" charset="0"/>
                        </a:rPr>
                        <a:t>695,829.2</a:t>
                      </a:r>
                    </a:p>
                  </a:txBody>
                  <a:tcPr marL="7620" marR="7620" marT="762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s-GT" sz="1800" b="0" i="0" u="none" strike="noStrike" dirty="0">
                          <a:solidFill>
                            <a:srgbClr val="000000"/>
                          </a:solidFill>
                          <a:effectLst/>
                          <a:latin typeface="Calibri" panose="020F0502020204030204" pitchFamily="34" charset="0"/>
                        </a:rPr>
                        <a:t>746,806.3</a:t>
                      </a:r>
                    </a:p>
                  </a:txBody>
                  <a:tcPr marL="7620" marR="7620" marT="7620" marB="0" anchor="ctr">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s-GT" sz="1800" b="0" i="0" u="none" strike="noStrike" dirty="0">
                          <a:solidFill>
                            <a:srgbClr val="000000"/>
                          </a:solidFill>
                          <a:effectLst/>
                          <a:latin typeface="Calibri" panose="020F0502020204030204" pitchFamily="34" charset="0"/>
                        </a:rPr>
                        <a:t>793,343.9</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s-GT" sz="1800" b="0" i="0" u="none" strike="noStrike">
                          <a:solidFill>
                            <a:srgbClr val="000000"/>
                          </a:solidFill>
                          <a:effectLst/>
                          <a:latin typeface="Calibri" panose="020F0502020204030204" pitchFamily="34" charset="0"/>
                        </a:rPr>
                        <a:t>842,856.6</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s-GT" sz="1800" b="0" i="0" u="none" strike="noStrike">
                          <a:solidFill>
                            <a:srgbClr val="000000"/>
                          </a:solidFill>
                          <a:effectLst/>
                          <a:latin typeface="Calibri" panose="020F0502020204030204" pitchFamily="34" charset="0"/>
                        </a:rPr>
                        <a:t>896,938.6</a:t>
                      </a:r>
                    </a:p>
                  </a:txBody>
                  <a:tcPr marL="7620" marR="7620" marT="762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75837060"/>
                  </a:ext>
                </a:extLst>
              </a:tr>
              <a:tr h="444286">
                <a:tc vMerge="1">
                  <a:txBody>
                    <a:bodyPr/>
                    <a:lstStyle/>
                    <a:p>
                      <a:endParaRPr lang="es-GT"/>
                    </a:p>
                  </a:txBody>
                  <a:tcPr/>
                </a:tc>
                <a:tc>
                  <a:txBody>
                    <a:bodyPr/>
                    <a:lstStyle/>
                    <a:p>
                      <a:pPr algn="ctr"/>
                      <a:r>
                        <a:rPr lang="es-GT" b="1" dirty="0"/>
                        <a:t>1.1</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s-GT" sz="1800" b="1" i="0" u="none" strike="noStrike" dirty="0">
                          <a:solidFill>
                            <a:srgbClr val="000000"/>
                          </a:solidFill>
                          <a:effectLst/>
                          <a:latin typeface="Calibri" panose="020F0502020204030204" pitchFamily="34" charset="0"/>
                        </a:rPr>
                        <a:t>7.7</a:t>
                      </a:r>
                    </a:p>
                  </a:txBody>
                  <a:tcPr marL="7620" marR="7620" marT="7620" marB="0" anchor="ctr">
                    <a:lnL w="12700" cap="flat" cmpd="sng" algn="ctr">
                      <a:solidFill>
                        <a:schemeClr val="accent1"/>
                      </a:solidFill>
                      <a:prstDash val="solid"/>
                      <a:round/>
                      <a:headEnd type="none" w="med" len="med"/>
                      <a:tailEnd type="none" w="med" len="med"/>
                    </a:lnL>
                    <a:lnR>
                      <a:noFill/>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es-GT" sz="1800" b="1" i="0" u="none" strike="noStrike" dirty="0">
                          <a:solidFill>
                            <a:srgbClr val="000000"/>
                          </a:solidFill>
                          <a:effectLst/>
                          <a:latin typeface="Calibri" panose="020F0502020204030204" pitchFamily="34" charset="0"/>
                        </a:rPr>
                        <a:t>6.8</a:t>
                      </a:r>
                    </a:p>
                  </a:txBody>
                  <a:tcPr marL="7620" marR="7620" marT="762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s-GT" sz="1800" b="1" i="0" u="none" strike="noStrike" dirty="0">
                          <a:solidFill>
                            <a:srgbClr val="000000"/>
                          </a:solidFill>
                          <a:effectLst/>
                          <a:latin typeface="Calibri" panose="020F0502020204030204" pitchFamily="34" charset="0"/>
                        </a:rPr>
                        <a:t>6.3</a:t>
                      </a:r>
                    </a:p>
                  </a:txBody>
                  <a:tcPr marL="7620" marR="7620" marT="7620" marB="0" anchor="ctr">
                    <a:lnL w="12700" cap="flat" cmpd="sng" algn="ctr">
                      <a:solidFill>
                        <a:schemeClr val="accent1"/>
                      </a:solidFill>
                      <a:prstDash val="solid"/>
                      <a:round/>
                      <a:headEnd type="none" w="med" len="med"/>
                      <a:tailEnd type="none" w="med" len="med"/>
                    </a:lnL>
                    <a:lnR>
                      <a:noFill/>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s-GT" sz="1800" b="1" i="0" u="none" strike="noStrike" dirty="0">
                          <a:solidFill>
                            <a:srgbClr val="000000"/>
                          </a:solidFill>
                          <a:effectLst/>
                          <a:latin typeface="Calibri" panose="020F0502020204030204" pitchFamily="34" charset="0"/>
                        </a:rPr>
                        <a:t>6.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s-GT" sz="1800" b="1" i="0" u="none" strike="noStrike" dirty="0">
                          <a:solidFill>
                            <a:srgbClr val="000000"/>
                          </a:solidFill>
                          <a:effectLst/>
                          <a:latin typeface="Calibri" panose="020F0502020204030204" pitchFamily="34" charset="0"/>
                        </a:rPr>
                        <a:t>6.2</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s-GT" sz="1800" b="1" i="0" u="none" strike="noStrike">
                          <a:solidFill>
                            <a:srgbClr val="000000"/>
                          </a:solidFill>
                          <a:effectLst/>
                          <a:latin typeface="Calibri" panose="020F0502020204030204" pitchFamily="34" charset="0"/>
                        </a:rPr>
                        <a:t>6.4</a:t>
                      </a:r>
                    </a:p>
                  </a:txBody>
                  <a:tcPr marL="7620" marR="7620" marT="762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848581302"/>
                  </a:ext>
                </a:extLst>
              </a:tr>
              <a:tr h="444286">
                <a:tc rowSpan="2">
                  <a:txBody>
                    <a:bodyPr/>
                    <a:lstStyle/>
                    <a:p>
                      <a:r>
                        <a:rPr lang="es-GT" dirty="0"/>
                        <a:t>Importaciones FOB $.</a:t>
                      </a:r>
                    </a:p>
                    <a:p>
                      <a:pPr marL="0" marR="0" lvl="0" indent="0" algn="l" defTabSz="914400" rtl="0" eaLnBrk="1" fontAlgn="auto" latinLnBrk="0" hangingPunct="1">
                        <a:lnSpc>
                          <a:spcPct val="100000"/>
                        </a:lnSpc>
                        <a:spcBef>
                          <a:spcPts val="0"/>
                        </a:spcBef>
                        <a:spcAft>
                          <a:spcPts val="0"/>
                        </a:spcAft>
                        <a:buClrTx/>
                        <a:buSzTx/>
                        <a:buFontTx/>
                        <a:buNone/>
                        <a:tabLst/>
                        <a:defRPr/>
                      </a:pPr>
                      <a:r>
                        <a:rPr lang="es-GT" b="1" dirty="0"/>
                        <a:t>    Variación %</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GT" dirty="0"/>
                        <a:t>16,441.2</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tcPr>
                </a:tc>
                <a:tc>
                  <a:txBody>
                    <a:bodyPr/>
                    <a:lstStyle/>
                    <a:p>
                      <a:pPr algn="ctr" fontAlgn="b"/>
                      <a:r>
                        <a:rPr lang="es-GT" sz="1800" b="0" i="0" u="none" strike="noStrike" dirty="0">
                          <a:solidFill>
                            <a:srgbClr val="000000"/>
                          </a:solidFill>
                          <a:effectLst/>
                          <a:latin typeface="Calibri" panose="020F0502020204030204" pitchFamily="34" charset="0"/>
                        </a:rPr>
                        <a:t>19,476.0</a:t>
                      </a:r>
                    </a:p>
                  </a:txBody>
                  <a:tcPr marL="7620" marR="7620" marT="7620" marB="0" anchor="ctr">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es-GT" sz="1800" b="0" i="0" u="none" strike="noStrike" dirty="0">
                          <a:solidFill>
                            <a:srgbClr val="000000"/>
                          </a:solidFill>
                          <a:effectLst/>
                          <a:latin typeface="Calibri" panose="020F0502020204030204" pitchFamily="34" charset="0"/>
                        </a:rPr>
                        <a:t>20,907.9</a:t>
                      </a:r>
                    </a:p>
                  </a:txBody>
                  <a:tcPr marL="7620" marR="7620" marT="762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s-GT" sz="1800" b="0" i="0" u="none" strike="noStrike" dirty="0">
                          <a:solidFill>
                            <a:srgbClr val="000000"/>
                          </a:solidFill>
                          <a:effectLst/>
                          <a:latin typeface="Calibri" panose="020F0502020204030204" pitchFamily="34" charset="0"/>
                        </a:rPr>
                        <a:t>22,907.1</a:t>
                      </a:r>
                    </a:p>
                  </a:txBody>
                  <a:tcPr marL="7620" marR="7620" marT="7620" marB="0" anchor="ctr">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s-GT" sz="1800" b="0" i="0" u="none" strike="noStrike">
                          <a:solidFill>
                            <a:srgbClr val="000000"/>
                          </a:solidFill>
                          <a:effectLst/>
                          <a:latin typeface="Calibri" panose="020F0502020204030204" pitchFamily="34" charset="0"/>
                        </a:rPr>
                        <a:t>24,614.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s-GT" sz="1800" b="0" i="0" u="none" strike="noStrike" dirty="0">
                          <a:solidFill>
                            <a:srgbClr val="000000"/>
                          </a:solidFill>
                          <a:effectLst/>
                          <a:latin typeface="Calibri" panose="020F0502020204030204" pitchFamily="34" charset="0"/>
                        </a:rPr>
                        <a:t>26,335.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s-GT" sz="1800" b="0" i="0" u="none" strike="noStrike">
                          <a:solidFill>
                            <a:srgbClr val="000000"/>
                          </a:solidFill>
                          <a:effectLst/>
                          <a:latin typeface="Calibri" panose="020F0502020204030204" pitchFamily="34" charset="0"/>
                        </a:rPr>
                        <a:t>28,307.4</a:t>
                      </a:r>
                    </a:p>
                  </a:txBody>
                  <a:tcPr marL="7620" marR="7620" marT="762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791138312"/>
                  </a:ext>
                </a:extLst>
              </a:tr>
              <a:tr h="444286">
                <a:tc vMerge="1">
                  <a:txBody>
                    <a:bodyPr/>
                    <a:lstStyle/>
                    <a:p>
                      <a:endParaRPr lang="es-GT"/>
                    </a:p>
                  </a:txBody>
                  <a:tcPr/>
                </a:tc>
                <a:tc>
                  <a:txBody>
                    <a:bodyPr/>
                    <a:lstStyle/>
                    <a:p>
                      <a:pPr algn="ctr"/>
                      <a:r>
                        <a:rPr lang="es-GT" b="1" dirty="0"/>
                        <a:t>-8.1</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s-GT" sz="1800" b="1" i="0" u="none" strike="noStrike" dirty="0">
                          <a:solidFill>
                            <a:srgbClr val="000000"/>
                          </a:solidFill>
                          <a:effectLst/>
                          <a:latin typeface="Calibri" panose="020F0502020204030204" pitchFamily="34" charset="0"/>
                        </a:rPr>
                        <a:t>18.5</a:t>
                      </a:r>
                    </a:p>
                  </a:txBody>
                  <a:tcPr marL="7620" marR="7620" marT="7620" marB="0" anchor="ctr">
                    <a:lnL w="12700" cap="flat" cmpd="sng" algn="ctr">
                      <a:solidFill>
                        <a:schemeClr val="accent1"/>
                      </a:solidFill>
                      <a:prstDash val="solid"/>
                      <a:round/>
                      <a:headEnd type="none" w="med" len="med"/>
                      <a:tailEnd type="none" w="med" len="med"/>
                    </a:lnL>
                    <a:lnR>
                      <a:noFill/>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es-GT" sz="1800" b="1" i="0" u="none" strike="noStrike" dirty="0">
                          <a:solidFill>
                            <a:srgbClr val="000000"/>
                          </a:solidFill>
                          <a:effectLst/>
                          <a:latin typeface="Calibri" panose="020F0502020204030204" pitchFamily="34" charset="0"/>
                        </a:rPr>
                        <a:t>6.0</a:t>
                      </a:r>
                    </a:p>
                  </a:txBody>
                  <a:tcPr marL="7620" marR="7620" marT="762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s-GT" sz="1800" b="1" i="0" u="none" strike="noStrike" dirty="0">
                          <a:solidFill>
                            <a:srgbClr val="000000"/>
                          </a:solidFill>
                          <a:effectLst/>
                          <a:latin typeface="Calibri" panose="020F0502020204030204" pitchFamily="34" charset="0"/>
                        </a:rPr>
                        <a:t>8.0</a:t>
                      </a:r>
                    </a:p>
                  </a:txBody>
                  <a:tcPr marL="7620" marR="7620" marT="7620" marB="0" anchor="ctr">
                    <a:lnL w="12700" cap="flat" cmpd="sng" algn="ctr">
                      <a:solidFill>
                        <a:schemeClr val="accent1"/>
                      </a:solidFill>
                      <a:prstDash val="solid"/>
                      <a:round/>
                      <a:headEnd type="none" w="med" len="med"/>
                      <a:tailEnd type="none" w="med" len="med"/>
                    </a:lnL>
                    <a:lnR>
                      <a:noFill/>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s-GT" sz="1800" b="1" i="0" u="none" strike="noStrike">
                          <a:solidFill>
                            <a:srgbClr val="000000"/>
                          </a:solidFill>
                          <a:effectLst/>
                          <a:latin typeface="Calibri" panose="020F0502020204030204" pitchFamily="34" charset="0"/>
                        </a:rPr>
                        <a:t>7.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s-GT" sz="1800" b="1" i="0" u="none" strike="noStrike" dirty="0">
                          <a:solidFill>
                            <a:srgbClr val="000000"/>
                          </a:solidFill>
                          <a:effectLst/>
                          <a:latin typeface="Calibri" panose="020F0502020204030204" pitchFamily="34" charset="0"/>
                        </a:rPr>
                        <a:t>7.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s-GT" sz="1800" b="1" i="0" u="none" strike="noStrike">
                          <a:solidFill>
                            <a:srgbClr val="000000"/>
                          </a:solidFill>
                          <a:effectLst/>
                          <a:latin typeface="Calibri" panose="020F0502020204030204" pitchFamily="34" charset="0"/>
                        </a:rPr>
                        <a:t>7.5</a:t>
                      </a:r>
                    </a:p>
                  </a:txBody>
                  <a:tcPr marL="7620" marR="7620" marT="762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3124784328"/>
                  </a:ext>
                </a:extLst>
              </a:tr>
              <a:tr h="444286">
                <a:tc rowSpan="2">
                  <a:txBody>
                    <a:bodyPr/>
                    <a:lstStyle/>
                    <a:p>
                      <a:r>
                        <a:rPr lang="es-GT" dirty="0"/>
                        <a:t>Exportaciones FOB $.</a:t>
                      </a:r>
                    </a:p>
                    <a:p>
                      <a:pPr marL="0" marR="0" lvl="0" indent="0" algn="l" defTabSz="914400" rtl="0" eaLnBrk="1" fontAlgn="auto" latinLnBrk="0" hangingPunct="1">
                        <a:lnSpc>
                          <a:spcPct val="100000"/>
                        </a:lnSpc>
                        <a:spcBef>
                          <a:spcPts val="0"/>
                        </a:spcBef>
                        <a:spcAft>
                          <a:spcPts val="0"/>
                        </a:spcAft>
                        <a:buClrTx/>
                        <a:buSzTx/>
                        <a:buFontTx/>
                        <a:buNone/>
                        <a:tabLst/>
                        <a:defRPr/>
                      </a:pPr>
                      <a:r>
                        <a:rPr lang="es-GT" b="1" dirty="0"/>
                        <a:t>    Variación %</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GT" dirty="0"/>
                        <a:t>10,514.5</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tcPr>
                </a:tc>
                <a:tc>
                  <a:txBody>
                    <a:bodyPr/>
                    <a:lstStyle/>
                    <a:p>
                      <a:pPr algn="ctr" fontAlgn="b"/>
                      <a:r>
                        <a:rPr lang="es-GT" sz="1800" b="0" i="0" u="none" strike="noStrike" dirty="0">
                          <a:solidFill>
                            <a:srgbClr val="000000"/>
                          </a:solidFill>
                          <a:effectLst/>
                          <a:latin typeface="Calibri" panose="020F0502020204030204" pitchFamily="34" charset="0"/>
                        </a:rPr>
                        <a:t>11,618.3</a:t>
                      </a:r>
                    </a:p>
                  </a:txBody>
                  <a:tcPr marL="7620" marR="7620" marT="7620" marB="0" anchor="ctr">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es-GT" sz="1800" b="0" i="0" u="none" strike="noStrike" dirty="0">
                          <a:solidFill>
                            <a:srgbClr val="000000"/>
                          </a:solidFill>
                          <a:effectLst/>
                          <a:latin typeface="Calibri" panose="020F0502020204030204" pitchFamily="34" charset="0"/>
                        </a:rPr>
                        <a:t>12,483.9</a:t>
                      </a:r>
                    </a:p>
                  </a:txBody>
                  <a:tcPr marL="7620" marR="7620" marT="762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s-GT" sz="1800" b="0" i="0" u="none" strike="noStrike" dirty="0">
                          <a:solidFill>
                            <a:srgbClr val="000000"/>
                          </a:solidFill>
                          <a:effectLst/>
                          <a:latin typeface="Calibri" panose="020F0502020204030204" pitchFamily="34" charset="0"/>
                        </a:rPr>
                        <a:t>13,418.8</a:t>
                      </a:r>
                    </a:p>
                  </a:txBody>
                  <a:tcPr marL="7620" marR="7620" marT="7620" marB="0" anchor="ctr">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s-GT" sz="1800" b="0" i="0" u="none" strike="noStrike" dirty="0">
                          <a:solidFill>
                            <a:srgbClr val="000000"/>
                          </a:solidFill>
                          <a:effectLst/>
                          <a:latin typeface="Calibri" panose="020F0502020204030204" pitchFamily="34" charset="0"/>
                        </a:rPr>
                        <a:t>14,157.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s-GT" sz="1800" b="0" i="0" u="none" strike="noStrike" dirty="0">
                          <a:solidFill>
                            <a:srgbClr val="000000"/>
                          </a:solidFill>
                          <a:effectLst/>
                          <a:latin typeface="Calibri" panose="020F0502020204030204" pitchFamily="34" charset="0"/>
                        </a:rPr>
                        <a:t>14,861.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s-GT" sz="1800" b="0" i="0" u="none" strike="noStrike" dirty="0">
                          <a:solidFill>
                            <a:srgbClr val="000000"/>
                          </a:solidFill>
                          <a:effectLst/>
                          <a:latin typeface="Calibri" panose="020F0502020204030204" pitchFamily="34" charset="0"/>
                        </a:rPr>
                        <a:t>15,673.8</a:t>
                      </a:r>
                    </a:p>
                  </a:txBody>
                  <a:tcPr marL="7620" marR="7620" marT="762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2177328072"/>
                  </a:ext>
                </a:extLst>
              </a:tr>
              <a:tr h="444286">
                <a:tc vMerge="1">
                  <a:txBody>
                    <a:bodyPr/>
                    <a:lstStyle/>
                    <a:p>
                      <a:endParaRPr lang="es-GT"/>
                    </a:p>
                  </a:txBody>
                  <a:tcPr/>
                </a:tc>
                <a:tc>
                  <a:txBody>
                    <a:bodyPr/>
                    <a:lstStyle/>
                    <a:p>
                      <a:pPr algn="ctr"/>
                      <a:r>
                        <a:rPr lang="es-GT" b="1" dirty="0"/>
                        <a:t>6.0</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s-GT" sz="1800" b="1" i="0" u="none" strike="noStrike" dirty="0">
                          <a:solidFill>
                            <a:srgbClr val="000000"/>
                          </a:solidFill>
                          <a:effectLst/>
                          <a:latin typeface="Calibri" panose="020F0502020204030204" pitchFamily="34" charset="0"/>
                        </a:rPr>
                        <a:t>10.5</a:t>
                      </a:r>
                    </a:p>
                  </a:txBody>
                  <a:tcPr marL="7620" marR="7620" marT="7620" marB="0" anchor="ctr">
                    <a:lnL w="12700" cap="flat" cmpd="sng" algn="ctr">
                      <a:solidFill>
                        <a:schemeClr val="accent1"/>
                      </a:solidFill>
                      <a:prstDash val="solid"/>
                      <a:round/>
                      <a:headEnd type="none" w="med" len="med"/>
                      <a:tailEnd type="none" w="med" len="med"/>
                    </a:lnL>
                    <a:lnR>
                      <a:noFill/>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es-GT" sz="1800" b="1" i="0" u="none" strike="noStrike" dirty="0">
                          <a:solidFill>
                            <a:srgbClr val="000000"/>
                          </a:solidFill>
                          <a:effectLst/>
                          <a:latin typeface="Calibri" panose="020F0502020204030204" pitchFamily="34" charset="0"/>
                        </a:rPr>
                        <a:t>6.0</a:t>
                      </a:r>
                    </a:p>
                  </a:txBody>
                  <a:tcPr marL="7620" marR="7620" marT="762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s-GT" sz="1800" b="1" i="0" u="none" strike="noStrike" dirty="0">
                          <a:solidFill>
                            <a:srgbClr val="000000"/>
                          </a:solidFill>
                          <a:effectLst/>
                          <a:latin typeface="Calibri" panose="020F0502020204030204" pitchFamily="34" charset="0"/>
                        </a:rPr>
                        <a:t>6.0</a:t>
                      </a:r>
                    </a:p>
                  </a:txBody>
                  <a:tcPr marL="7620" marR="7620" marT="7620" marB="0" anchor="ctr">
                    <a:lnL w="12700" cap="flat" cmpd="sng" algn="ctr">
                      <a:solidFill>
                        <a:schemeClr val="accent1"/>
                      </a:solidFill>
                      <a:prstDash val="solid"/>
                      <a:round/>
                      <a:headEnd type="none" w="med" len="med"/>
                      <a:tailEnd type="none" w="med" len="med"/>
                    </a:lnL>
                    <a:lnR>
                      <a:noFill/>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s-GT" sz="1800" b="1" i="0" u="none" strike="noStrike">
                          <a:solidFill>
                            <a:srgbClr val="000000"/>
                          </a:solidFill>
                          <a:effectLst/>
                          <a:latin typeface="Calibri" panose="020F0502020204030204" pitchFamily="34" charset="0"/>
                        </a:rPr>
                        <a:t>5.5</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s-GT" sz="1800" b="1" i="0" u="none" strike="noStrike" dirty="0">
                          <a:solidFill>
                            <a:srgbClr val="000000"/>
                          </a:solidFill>
                          <a:effectLst/>
                          <a:latin typeface="Calibri" panose="020F0502020204030204" pitchFamily="34" charset="0"/>
                        </a:rPr>
                        <a:t>5.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s-GT" sz="1800" b="1" i="0" u="none" strike="noStrike" dirty="0">
                          <a:solidFill>
                            <a:srgbClr val="000000"/>
                          </a:solidFill>
                          <a:effectLst/>
                          <a:latin typeface="Calibri" panose="020F0502020204030204" pitchFamily="34" charset="0"/>
                        </a:rPr>
                        <a:t>5.5</a:t>
                      </a:r>
                    </a:p>
                  </a:txBody>
                  <a:tcPr marL="7620" marR="7620" marT="762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801109024"/>
                  </a:ext>
                </a:extLst>
              </a:tr>
              <a:tr h="468956">
                <a:tc>
                  <a:txBody>
                    <a:bodyPr/>
                    <a:lstStyle/>
                    <a:p>
                      <a:r>
                        <a:rPr lang="es-GT" dirty="0"/>
                        <a:t>Inflación %</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GT" dirty="0"/>
                        <a:t>4.82</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s-GT" sz="1800" b="0" i="0" u="none" strike="noStrike" dirty="0">
                          <a:solidFill>
                            <a:srgbClr val="000000"/>
                          </a:solidFill>
                          <a:effectLst/>
                          <a:latin typeface="Calibri" panose="020F0502020204030204" pitchFamily="34" charset="0"/>
                        </a:rPr>
                        <a:t>3.0</a:t>
                      </a:r>
                    </a:p>
                  </a:txBody>
                  <a:tcPr marL="7620" marR="7620" marT="7620" marB="0" anchor="ctr">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ctr" fontAlgn="b"/>
                      <a:r>
                        <a:rPr lang="es-GT" sz="1800" b="0" i="0" u="none" strike="noStrike" dirty="0">
                          <a:solidFill>
                            <a:srgbClr val="000000"/>
                          </a:solidFill>
                          <a:effectLst/>
                          <a:latin typeface="Calibri" panose="020F0502020204030204" pitchFamily="34" charset="0"/>
                        </a:rPr>
                        <a:t>3.00</a:t>
                      </a:r>
                    </a:p>
                  </a:txBody>
                  <a:tcPr marL="7620" marR="7620" marT="762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s-GT" sz="1800" b="0" i="0" u="none" strike="noStrike" dirty="0">
                          <a:solidFill>
                            <a:srgbClr val="000000"/>
                          </a:solidFill>
                          <a:effectLst/>
                          <a:latin typeface="Calibri" panose="020F0502020204030204" pitchFamily="34" charset="0"/>
                        </a:rPr>
                        <a:t>4.00</a:t>
                      </a:r>
                    </a:p>
                  </a:txBody>
                  <a:tcPr marL="7620" marR="7620" marT="7620" marB="0" anchor="ctr">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s-GT" sz="1800" b="0" i="0" u="none" strike="noStrike" dirty="0">
                          <a:solidFill>
                            <a:srgbClr val="000000"/>
                          </a:solidFill>
                          <a:effectLst/>
                          <a:latin typeface="Calibri" panose="020F0502020204030204" pitchFamily="34" charset="0"/>
                        </a:rPr>
                        <a:t>4.0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s-GT" sz="1800" b="0" i="0" u="none" strike="noStrike" dirty="0">
                          <a:solidFill>
                            <a:srgbClr val="000000"/>
                          </a:solidFill>
                          <a:effectLst/>
                          <a:latin typeface="Calibri" panose="020F0502020204030204" pitchFamily="34" charset="0"/>
                        </a:rPr>
                        <a:t>4.0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s-GT" sz="1800" b="0" i="0" u="none" strike="noStrike" dirty="0">
                          <a:solidFill>
                            <a:srgbClr val="000000"/>
                          </a:solidFill>
                          <a:effectLst/>
                          <a:latin typeface="Calibri" panose="020F0502020204030204" pitchFamily="34" charset="0"/>
                        </a:rPr>
                        <a:t>4.00</a:t>
                      </a:r>
                    </a:p>
                  </a:txBody>
                  <a:tcPr marL="7620" marR="7620" marT="762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4288196150"/>
                  </a:ext>
                </a:extLst>
              </a:tr>
            </a:tbl>
          </a:graphicData>
        </a:graphic>
      </p:graphicFrame>
    </p:spTree>
    <p:custDataLst>
      <p:tags r:id="rId2"/>
    </p:custDataLst>
    <p:extLst>
      <p:ext uri="{BB962C8B-B14F-4D97-AF65-F5344CB8AC3E}">
        <p14:creationId xmlns:p14="http://schemas.microsoft.com/office/powerpoint/2010/main" val="41520582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612C927D-3748-4A4E-816E-96996793B4E7}"/>
              </a:ext>
            </a:extLst>
          </p:cNvPr>
          <p:cNvGraphicFramePr>
            <a:graphicFrameLocks noChangeAspect="1"/>
          </p:cNvGraphicFramePr>
          <p:nvPr>
            <p:custDataLst>
              <p:tags r:id="rId3"/>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7171" name="Diapositiva de think-cell" r:id="rId6" imgW="395" imgH="394" progId="TCLayout.ActiveDocument.1">
                  <p:embed/>
                </p:oleObj>
              </mc:Choice>
              <mc:Fallback>
                <p:oleObj name="Diapositiva de think-cell" r:id="rId6" imgW="395" imgH="394" progId="TCLayout.ActiveDocument.1">
                  <p:embed/>
                  <p:pic>
                    <p:nvPicPr>
                      <p:cNvPr id="4" name="Objeto 3" hidden="1">
                        <a:extLst>
                          <a:ext uri="{FF2B5EF4-FFF2-40B4-BE49-F238E27FC236}">
                            <a16:creationId xmlns:a16="http://schemas.microsoft.com/office/drawing/2014/main" id="{612C927D-3748-4A4E-816E-96996793B4E7}"/>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11" name="Rectángulo 10" hidden="1">
            <a:extLst>
              <a:ext uri="{FF2B5EF4-FFF2-40B4-BE49-F238E27FC236}">
                <a16:creationId xmlns:a16="http://schemas.microsoft.com/office/drawing/2014/main" id="{5CEDD324-C245-420B-A8DC-2EEF4B0D7FE7}"/>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sym typeface="Arial" panose="020B0604020202020204" pitchFamily="34" charset="0"/>
            </a:endParaRPr>
          </a:p>
        </p:txBody>
      </p:sp>
      <p:sp>
        <p:nvSpPr>
          <p:cNvPr id="16" name="Rectángulo 15" hidden="1">
            <a:extLst>
              <a:ext uri="{FF2B5EF4-FFF2-40B4-BE49-F238E27FC236}">
                <a16:creationId xmlns:a16="http://schemas.microsoft.com/office/drawing/2014/main" id="{A70850B7-190D-46D7-A7EC-2EC403037B82}"/>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endParaRPr>
          </a:p>
        </p:txBody>
      </p:sp>
      <p:sp>
        <p:nvSpPr>
          <p:cNvPr id="12" name="Título 1">
            <a:extLst>
              <a:ext uri="{FF2B5EF4-FFF2-40B4-BE49-F238E27FC236}">
                <a16:creationId xmlns:a16="http://schemas.microsoft.com/office/drawing/2014/main" id="{AC816F7C-C4E0-4936-9568-36996F5BE48D}"/>
              </a:ext>
            </a:extLst>
          </p:cNvPr>
          <p:cNvSpPr>
            <a:spLocks noGrp="1"/>
          </p:cNvSpPr>
          <p:nvPr>
            <p:ph type="title"/>
          </p:nvPr>
        </p:nvSpPr>
        <p:spPr>
          <a:xfrm>
            <a:off x="479836" y="176930"/>
            <a:ext cx="7036531" cy="836023"/>
          </a:xfrm>
          <a:noFill/>
        </p:spPr>
        <p:txBody>
          <a:bodyPr vert="horz"/>
          <a:lstStyle/>
          <a:p>
            <a:r>
              <a:rPr lang="es-ES" sz="2400" b="1" dirty="0">
                <a:solidFill>
                  <a:schemeClr val="bg1"/>
                </a:solidFill>
              </a:rPr>
              <a:t>Asignación de 2021 opera con presupuesto de 2020</a:t>
            </a:r>
            <a:endParaRPr lang="es-GT" sz="2400" b="1" dirty="0">
              <a:solidFill>
                <a:schemeClr val="bg1"/>
              </a:solidFill>
            </a:endParaRPr>
          </a:p>
        </p:txBody>
      </p:sp>
      <p:graphicFrame>
        <p:nvGraphicFramePr>
          <p:cNvPr id="13" name="Diagrama 12">
            <a:extLst>
              <a:ext uri="{FF2B5EF4-FFF2-40B4-BE49-F238E27FC236}">
                <a16:creationId xmlns:a16="http://schemas.microsoft.com/office/drawing/2014/main" id="{148ED378-0891-41D6-AABB-99F56EC316E1}"/>
              </a:ext>
            </a:extLst>
          </p:cNvPr>
          <p:cNvGraphicFramePr/>
          <p:nvPr>
            <p:extLst>
              <p:ext uri="{D42A27DB-BD31-4B8C-83A1-F6EECF244321}">
                <p14:modId xmlns:p14="http://schemas.microsoft.com/office/powerpoint/2010/main" val="3623749171"/>
              </p:ext>
            </p:extLst>
          </p:nvPr>
        </p:nvGraphicFramePr>
        <p:xfrm>
          <a:off x="479837" y="1350235"/>
          <a:ext cx="11485739" cy="508263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custDataLst>
      <p:tags r:id="rId2"/>
    </p:custDataLst>
    <p:extLst>
      <p:ext uri="{BB962C8B-B14F-4D97-AF65-F5344CB8AC3E}">
        <p14:creationId xmlns:p14="http://schemas.microsoft.com/office/powerpoint/2010/main" val="8651953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612C927D-3748-4A4E-816E-96996793B4E7}"/>
              </a:ext>
            </a:extLst>
          </p:cNvPr>
          <p:cNvGraphicFramePr>
            <a:graphicFrameLocks noChangeAspect="1"/>
          </p:cNvGraphicFramePr>
          <p:nvPr>
            <p:custDataLst>
              <p:tags r:id="rId3"/>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9699" name="Diapositiva de think-cell" r:id="rId6" imgW="395" imgH="394" progId="TCLayout.ActiveDocument.1">
                  <p:embed/>
                </p:oleObj>
              </mc:Choice>
              <mc:Fallback>
                <p:oleObj name="Diapositiva de think-cell" r:id="rId6" imgW="395" imgH="394" progId="TCLayout.ActiveDocument.1">
                  <p:embed/>
                  <p:pic>
                    <p:nvPicPr>
                      <p:cNvPr id="4" name="Objeto 3" hidden="1">
                        <a:extLst>
                          <a:ext uri="{FF2B5EF4-FFF2-40B4-BE49-F238E27FC236}">
                            <a16:creationId xmlns:a16="http://schemas.microsoft.com/office/drawing/2014/main" id="{612C927D-3748-4A4E-816E-96996793B4E7}"/>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11" name="Rectángulo 10" hidden="1">
            <a:extLst>
              <a:ext uri="{FF2B5EF4-FFF2-40B4-BE49-F238E27FC236}">
                <a16:creationId xmlns:a16="http://schemas.microsoft.com/office/drawing/2014/main" id="{5CEDD324-C245-420B-A8DC-2EEF4B0D7FE7}"/>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sym typeface="Arial" panose="020B0604020202020204" pitchFamily="34" charset="0"/>
            </a:endParaRPr>
          </a:p>
        </p:txBody>
      </p:sp>
      <p:sp>
        <p:nvSpPr>
          <p:cNvPr id="16" name="Rectángulo 15" hidden="1">
            <a:extLst>
              <a:ext uri="{FF2B5EF4-FFF2-40B4-BE49-F238E27FC236}">
                <a16:creationId xmlns:a16="http://schemas.microsoft.com/office/drawing/2014/main" id="{A70850B7-190D-46D7-A7EC-2EC403037B82}"/>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endParaRPr>
          </a:p>
        </p:txBody>
      </p:sp>
      <p:sp>
        <p:nvSpPr>
          <p:cNvPr id="70" name="Rectángulo 69">
            <a:extLst>
              <a:ext uri="{FF2B5EF4-FFF2-40B4-BE49-F238E27FC236}">
                <a16:creationId xmlns:a16="http://schemas.microsoft.com/office/drawing/2014/main" id="{EB6E8B7F-9F42-4666-8000-893CFEA37FC9}"/>
              </a:ext>
            </a:extLst>
          </p:cNvPr>
          <p:cNvSpPr/>
          <p:nvPr/>
        </p:nvSpPr>
        <p:spPr>
          <a:xfrm>
            <a:off x="565134" y="82786"/>
            <a:ext cx="6542677" cy="830997"/>
          </a:xfrm>
          <a:prstGeom prst="rect">
            <a:avLst/>
          </a:prstGeom>
          <a:noFill/>
        </p:spPr>
        <p:txBody>
          <a:bodyPr wrap="square">
            <a:spAutoFit/>
          </a:bodyPr>
          <a:lstStyle/>
          <a:p>
            <a:r>
              <a:rPr lang="es-ES" sz="2400" b="1" dirty="0">
                <a:solidFill>
                  <a:schemeClr val="bg1"/>
                </a:solidFill>
                <a:latin typeface="Calibri" panose="020F0502020204030204" pitchFamily="34" charset="0"/>
                <a:cs typeface="Calibri" panose="020F0502020204030204" pitchFamily="34" charset="0"/>
              </a:rPr>
              <a:t>Perspectivas de recaudación tributaria de mediano plazo</a:t>
            </a:r>
            <a:endParaRPr lang="es-GT" sz="2400" b="1" dirty="0">
              <a:solidFill>
                <a:schemeClr val="bg1"/>
              </a:solidFill>
              <a:latin typeface="Calibri" panose="020F0502020204030204" pitchFamily="34" charset="0"/>
              <a:cs typeface="Calibri" panose="020F0502020204030204" pitchFamily="34" charset="0"/>
            </a:endParaRPr>
          </a:p>
        </p:txBody>
      </p:sp>
      <p:graphicFrame>
        <p:nvGraphicFramePr>
          <p:cNvPr id="10" name="Marcador de contenido 5">
            <a:extLst>
              <a:ext uri="{FF2B5EF4-FFF2-40B4-BE49-F238E27FC236}">
                <a16:creationId xmlns:a16="http://schemas.microsoft.com/office/drawing/2014/main" id="{5765FE1F-D718-4CC6-A24A-489994259D3F}"/>
              </a:ext>
            </a:extLst>
          </p:cNvPr>
          <p:cNvGraphicFramePr>
            <a:graphicFrameLocks noGrp="1"/>
          </p:cNvGraphicFramePr>
          <p:nvPr>
            <p:ph idx="1"/>
            <p:extLst>
              <p:ext uri="{D42A27DB-BD31-4B8C-83A1-F6EECF244321}">
                <p14:modId xmlns:p14="http://schemas.microsoft.com/office/powerpoint/2010/main" val="2978200479"/>
              </p:ext>
            </p:extLst>
          </p:nvPr>
        </p:nvGraphicFramePr>
        <p:xfrm>
          <a:off x="679288" y="1190782"/>
          <a:ext cx="10057841" cy="5156695"/>
        </p:xfrm>
        <a:graphic>
          <a:graphicData uri="http://schemas.openxmlformats.org/drawingml/2006/chart">
            <c:chart xmlns:c="http://schemas.openxmlformats.org/drawingml/2006/chart" xmlns:r="http://schemas.openxmlformats.org/officeDocument/2006/relationships" r:id="rId8"/>
          </a:graphicData>
        </a:graphic>
      </p:graphicFrame>
      <p:sp>
        <p:nvSpPr>
          <p:cNvPr id="2" name="CuadroTexto 1">
            <a:extLst>
              <a:ext uri="{FF2B5EF4-FFF2-40B4-BE49-F238E27FC236}">
                <a16:creationId xmlns:a16="http://schemas.microsoft.com/office/drawing/2014/main" id="{EAF051C7-F17C-4C8A-BFA9-260000D91E3E}"/>
              </a:ext>
            </a:extLst>
          </p:cNvPr>
          <p:cNvSpPr txBox="1"/>
          <p:nvPr/>
        </p:nvSpPr>
        <p:spPr>
          <a:xfrm>
            <a:off x="4275775" y="1076132"/>
            <a:ext cx="3184263" cy="400110"/>
          </a:xfrm>
          <a:prstGeom prst="rect">
            <a:avLst/>
          </a:prstGeom>
          <a:noFill/>
        </p:spPr>
        <p:txBody>
          <a:bodyPr wrap="square" rtlCol="0">
            <a:spAutoFit/>
          </a:bodyPr>
          <a:lstStyle/>
          <a:p>
            <a:pPr algn="ctr"/>
            <a:r>
              <a:rPr lang="es-GT" sz="2000" b="1" dirty="0">
                <a:solidFill>
                  <a:srgbClr val="0B3963"/>
                </a:solidFill>
              </a:rPr>
              <a:t>Porcentajes del PIB</a:t>
            </a:r>
          </a:p>
        </p:txBody>
      </p:sp>
      <p:sp>
        <p:nvSpPr>
          <p:cNvPr id="12" name="CuadroTexto 11">
            <a:extLst>
              <a:ext uri="{FF2B5EF4-FFF2-40B4-BE49-F238E27FC236}">
                <a16:creationId xmlns:a16="http://schemas.microsoft.com/office/drawing/2014/main" id="{68C4C26C-B5FF-4677-8824-CA0F338C087C}"/>
              </a:ext>
            </a:extLst>
          </p:cNvPr>
          <p:cNvSpPr txBox="1"/>
          <p:nvPr/>
        </p:nvSpPr>
        <p:spPr>
          <a:xfrm>
            <a:off x="797087" y="6552616"/>
            <a:ext cx="4647724" cy="276999"/>
          </a:xfrm>
          <a:prstGeom prst="rect">
            <a:avLst/>
          </a:prstGeom>
          <a:noFill/>
        </p:spPr>
        <p:txBody>
          <a:bodyPr wrap="square" rtlCol="0">
            <a:spAutoFit/>
          </a:bodyPr>
          <a:lstStyle/>
          <a:p>
            <a:r>
              <a:rPr lang="es-GT" sz="1200" b="1" dirty="0"/>
              <a:t>Fuente: Ministerio de Finanzas Públicas</a:t>
            </a:r>
          </a:p>
        </p:txBody>
      </p:sp>
      <p:sp>
        <p:nvSpPr>
          <p:cNvPr id="3" name="CuadroTexto 2">
            <a:extLst>
              <a:ext uri="{FF2B5EF4-FFF2-40B4-BE49-F238E27FC236}">
                <a16:creationId xmlns:a16="http://schemas.microsoft.com/office/drawing/2014/main" id="{9A222C98-5278-427A-BAE4-6C465B990E50}"/>
              </a:ext>
            </a:extLst>
          </p:cNvPr>
          <p:cNvSpPr txBox="1"/>
          <p:nvPr/>
        </p:nvSpPr>
        <p:spPr>
          <a:xfrm>
            <a:off x="797087" y="6347477"/>
            <a:ext cx="9665230" cy="276999"/>
          </a:xfrm>
          <a:prstGeom prst="rect">
            <a:avLst/>
          </a:prstGeom>
          <a:noFill/>
        </p:spPr>
        <p:txBody>
          <a:bodyPr wrap="square" rtlCol="0">
            <a:spAutoFit/>
          </a:bodyPr>
          <a:lstStyle/>
          <a:p>
            <a:r>
              <a:rPr lang="es-GT" sz="1200" b="1" dirty="0"/>
              <a:t>Nota: Estimaciones para techos presupuestarios: 2021-2022 con escenario bajo y 2023-2026 con escenario medio</a:t>
            </a:r>
          </a:p>
        </p:txBody>
      </p:sp>
    </p:spTree>
    <p:custDataLst>
      <p:tags r:id="rId2"/>
    </p:custDataLst>
    <p:extLst>
      <p:ext uri="{BB962C8B-B14F-4D97-AF65-F5344CB8AC3E}">
        <p14:creationId xmlns:p14="http://schemas.microsoft.com/office/powerpoint/2010/main" val="12547839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612C927D-3748-4A4E-816E-96996793B4E7}"/>
              </a:ext>
            </a:extLst>
          </p:cNvPr>
          <p:cNvGraphicFramePr>
            <a:graphicFrameLocks noChangeAspect="1"/>
          </p:cNvGraphicFramePr>
          <p:nvPr>
            <p:custDataLst>
              <p:tags r:id="rId3"/>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30723" name="Diapositiva de think-cell" r:id="rId6" imgW="395" imgH="394" progId="TCLayout.ActiveDocument.1">
                  <p:embed/>
                </p:oleObj>
              </mc:Choice>
              <mc:Fallback>
                <p:oleObj name="Diapositiva de think-cell" r:id="rId6" imgW="395" imgH="394" progId="TCLayout.ActiveDocument.1">
                  <p:embed/>
                  <p:pic>
                    <p:nvPicPr>
                      <p:cNvPr id="4" name="Objeto 3" hidden="1">
                        <a:extLst>
                          <a:ext uri="{FF2B5EF4-FFF2-40B4-BE49-F238E27FC236}">
                            <a16:creationId xmlns:a16="http://schemas.microsoft.com/office/drawing/2014/main" id="{612C927D-3748-4A4E-816E-96996793B4E7}"/>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11" name="Rectángulo 10" hidden="1">
            <a:extLst>
              <a:ext uri="{FF2B5EF4-FFF2-40B4-BE49-F238E27FC236}">
                <a16:creationId xmlns:a16="http://schemas.microsoft.com/office/drawing/2014/main" id="{5CEDD324-C245-420B-A8DC-2EEF4B0D7FE7}"/>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sym typeface="Arial" panose="020B0604020202020204" pitchFamily="34" charset="0"/>
            </a:endParaRPr>
          </a:p>
        </p:txBody>
      </p:sp>
      <p:sp>
        <p:nvSpPr>
          <p:cNvPr id="16" name="Rectángulo 15" hidden="1">
            <a:extLst>
              <a:ext uri="{FF2B5EF4-FFF2-40B4-BE49-F238E27FC236}">
                <a16:creationId xmlns:a16="http://schemas.microsoft.com/office/drawing/2014/main" id="{A70850B7-190D-46D7-A7EC-2EC403037B82}"/>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endParaRPr>
          </a:p>
        </p:txBody>
      </p:sp>
      <p:sp>
        <p:nvSpPr>
          <p:cNvPr id="70" name="Rectángulo 69">
            <a:extLst>
              <a:ext uri="{FF2B5EF4-FFF2-40B4-BE49-F238E27FC236}">
                <a16:creationId xmlns:a16="http://schemas.microsoft.com/office/drawing/2014/main" id="{EB6E8B7F-9F42-4666-8000-893CFEA37FC9}"/>
              </a:ext>
            </a:extLst>
          </p:cNvPr>
          <p:cNvSpPr/>
          <p:nvPr/>
        </p:nvSpPr>
        <p:spPr>
          <a:xfrm>
            <a:off x="592001" y="186565"/>
            <a:ext cx="6494600" cy="584775"/>
          </a:xfrm>
          <a:prstGeom prst="rect">
            <a:avLst/>
          </a:prstGeom>
          <a:noFill/>
        </p:spPr>
        <p:txBody>
          <a:bodyPr wrap="square">
            <a:spAutoFit/>
          </a:bodyPr>
          <a:lstStyle/>
          <a:p>
            <a:pPr algn="just"/>
            <a:r>
              <a:rPr lang="es-ES" sz="3200" b="1" dirty="0">
                <a:solidFill>
                  <a:schemeClr val="bg1"/>
                </a:solidFill>
                <a:latin typeface="Calibri" panose="020F0502020204030204" pitchFamily="34" charset="0"/>
                <a:cs typeface="Calibri" panose="020F0502020204030204" pitchFamily="34" charset="0"/>
              </a:rPr>
              <a:t>Techos de mediano plazo</a:t>
            </a:r>
            <a:endParaRPr lang="es-GT" sz="3200" b="1" dirty="0">
              <a:solidFill>
                <a:schemeClr val="bg1"/>
              </a:solidFill>
              <a:latin typeface="Calibri" panose="020F0502020204030204" pitchFamily="34" charset="0"/>
              <a:cs typeface="Calibri" panose="020F0502020204030204" pitchFamily="34" charset="0"/>
            </a:endParaRPr>
          </a:p>
        </p:txBody>
      </p:sp>
      <p:graphicFrame>
        <p:nvGraphicFramePr>
          <p:cNvPr id="5" name="Gráfico 4">
            <a:extLst>
              <a:ext uri="{FF2B5EF4-FFF2-40B4-BE49-F238E27FC236}">
                <a16:creationId xmlns:a16="http://schemas.microsoft.com/office/drawing/2014/main" id="{D4D1596D-8877-404F-9949-4125CA602CBA}"/>
              </a:ext>
            </a:extLst>
          </p:cNvPr>
          <p:cNvGraphicFramePr/>
          <p:nvPr>
            <p:extLst>
              <p:ext uri="{D42A27DB-BD31-4B8C-83A1-F6EECF244321}">
                <p14:modId xmlns:p14="http://schemas.microsoft.com/office/powerpoint/2010/main" val="2737038111"/>
              </p:ext>
            </p:extLst>
          </p:nvPr>
        </p:nvGraphicFramePr>
        <p:xfrm>
          <a:off x="973963" y="1130678"/>
          <a:ext cx="9904569" cy="5437345"/>
        </p:xfrm>
        <a:graphic>
          <a:graphicData uri="http://schemas.openxmlformats.org/drawingml/2006/chart">
            <c:chart xmlns:c="http://schemas.openxmlformats.org/drawingml/2006/chart" xmlns:r="http://schemas.openxmlformats.org/officeDocument/2006/relationships" r:id="rId8"/>
          </a:graphicData>
        </a:graphic>
      </p:graphicFrame>
      <p:sp>
        <p:nvSpPr>
          <p:cNvPr id="9" name="CuadroTexto 8">
            <a:extLst>
              <a:ext uri="{FF2B5EF4-FFF2-40B4-BE49-F238E27FC236}">
                <a16:creationId xmlns:a16="http://schemas.microsoft.com/office/drawing/2014/main" id="{2B1D36FC-7CEE-45BC-BB34-00A14E9B734D}"/>
              </a:ext>
            </a:extLst>
          </p:cNvPr>
          <p:cNvSpPr txBox="1"/>
          <p:nvPr/>
        </p:nvSpPr>
        <p:spPr>
          <a:xfrm>
            <a:off x="9052734" y="6556137"/>
            <a:ext cx="4647724" cy="276999"/>
          </a:xfrm>
          <a:prstGeom prst="rect">
            <a:avLst/>
          </a:prstGeom>
          <a:noFill/>
        </p:spPr>
        <p:txBody>
          <a:bodyPr wrap="square" rtlCol="0">
            <a:spAutoFit/>
          </a:bodyPr>
          <a:lstStyle/>
          <a:p>
            <a:r>
              <a:rPr lang="es-GT" sz="1200" b="1" dirty="0"/>
              <a:t>Fuente: Ministerio de Finanzas Públicas</a:t>
            </a:r>
          </a:p>
        </p:txBody>
      </p:sp>
    </p:spTree>
    <p:custDataLst>
      <p:tags r:id="rId2"/>
    </p:custDataLst>
    <p:extLst>
      <p:ext uri="{BB962C8B-B14F-4D97-AF65-F5344CB8AC3E}">
        <p14:creationId xmlns:p14="http://schemas.microsoft.com/office/powerpoint/2010/main" val="9532781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ángulo 69">
            <a:extLst>
              <a:ext uri="{FF2B5EF4-FFF2-40B4-BE49-F238E27FC236}">
                <a16:creationId xmlns:a16="http://schemas.microsoft.com/office/drawing/2014/main" id="{EB6E8B7F-9F42-4666-8000-893CFEA37FC9}"/>
              </a:ext>
            </a:extLst>
          </p:cNvPr>
          <p:cNvSpPr/>
          <p:nvPr/>
        </p:nvSpPr>
        <p:spPr>
          <a:xfrm>
            <a:off x="402969" y="83880"/>
            <a:ext cx="7707760" cy="859536"/>
          </a:xfrm>
          <a:prstGeom prst="rect">
            <a:avLst/>
          </a:prstGeom>
          <a:noFill/>
        </p:spPr>
        <p:txBody>
          <a:bodyPr wrap="square">
            <a:spAutoFit/>
          </a:bodyPr>
          <a:lstStyle/>
          <a:p>
            <a:r>
              <a:rPr lang="es-ES" sz="2400" b="1" dirty="0">
                <a:solidFill>
                  <a:schemeClr val="bg1"/>
                </a:solidFill>
                <a:latin typeface="Calibri" panose="020F0502020204030204" pitchFamily="34" charset="0"/>
                <a:cs typeface="Calibri" panose="020F0502020204030204" pitchFamily="34" charset="0"/>
              </a:rPr>
              <a:t>En el mediano plazo se observa una tendencia hacia la consolidación fiscal</a:t>
            </a:r>
            <a:endParaRPr lang="es-GT" sz="2400" b="1" dirty="0">
              <a:solidFill>
                <a:schemeClr val="bg1"/>
              </a:solidFill>
              <a:latin typeface="Calibri" panose="020F0502020204030204" pitchFamily="34" charset="0"/>
              <a:cs typeface="Calibri" panose="020F0502020204030204" pitchFamily="34" charset="0"/>
            </a:endParaRPr>
          </a:p>
        </p:txBody>
      </p:sp>
      <p:graphicFrame>
        <p:nvGraphicFramePr>
          <p:cNvPr id="10" name="Chart 9"/>
          <p:cNvGraphicFramePr/>
          <p:nvPr>
            <p:extLst>
              <p:ext uri="{D42A27DB-BD31-4B8C-83A1-F6EECF244321}">
                <p14:modId xmlns:p14="http://schemas.microsoft.com/office/powerpoint/2010/main" val="3831607972"/>
              </p:ext>
            </p:extLst>
          </p:nvPr>
        </p:nvGraphicFramePr>
        <p:xfrm>
          <a:off x="923543" y="1362817"/>
          <a:ext cx="9962199" cy="5313609"/>
        </p:xfrm>
        <a:graphic>
          <a:graphicData uri="http://schemas.openxmlformats.org/drawingml/2006/chart">
            <c:chart xmlns:c="http://schemas.openxmlformats.org/drawingml/2006/chart" xmlns:r="http://schemas.openxmlformats.org/officeDocument/2006/relationships" r:id="rId2"/>
          </a:graphicData>
        </a:graphic>
      </p:graphicFrame>
      <p:sp>
        <p:nvSpPr>
          <p:cNvPr id="2" name="CuadroTexto 1">
            <a:extLst>
              <a:ext uri="{FF2B5EF4-FFF2-40B4-BE49-F238E27FC236}">
                <a16:creationId xmlns:a16="http://schemas.microsoft.com/office/drawing/2014/main" id="{9B00E6A1-1935-4747-986B-70E405C51B4C}"/>
              </a:ext>
            </a:extLst>
          </p:cNvPr>
          <p:cNvSpPr txBox="1"/>
          <p:nvPr/>
        </p:nvSpPr>
        <p:spPr>
          <a:xfrm>
            <a:off x="3113665" y="1131984"/>
            <a:ext cx="4785064" cy="461665"/>
          </a:xfrm>
          <a:prstGeom prst="rect">
            <a:avLst/>
          </a:prstGeom>
          <a:noFill/>
        </p:spPr>
        <p:txBody>
          <a:bodyPr wrap="square" rtlCol="0">
            <a:spAutoFit/>
          </a:bodyPr>
          <a:lstStyle/>
          <a:p>
            <a:pPr algn="ctr"/>
            <a:r>
              <a:rPr lang="es-GT" sz="2400" b="1" dirty="0">
                <a:solidFill>
                  <a:srgbClr val="0B3963"/>
                </a:solidFill>
              </a:rPr>
              <a:t>Porcentajes del PIB</a:t>
            </a:r>
          </a:p>
        </p:txBody>
      </p:sp>
    </p:spTree>
    <p:extLst>
      <p:ext uri="{BB962C8B-B14F-4D97-AF65-F5344CB8AC3E}">
        <p14:creationId xmlns:p14="http://schemas.microsoft.com/office/powerpoint/2010/main" val="133458138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Gráfico 3">
            <a:extLst>
              <a:ext uri="{FF2B5EF4-FFF2-40B4-BE49-F238E27FC236}">
                <a16:creationId xmlns:a16="http://schemas.microsoft.com/office/drawing/2014/main" id="{64B68BBF-4794-44BE-AB77-0BBA91AF700A}"/>
              </a:ext>
            </a:extLst>
          </p:cNvPr>
          <p:cNvGraphicFramePr/>
          <p:nvPr>
            <p:extLst>
              <p:ext uri="{D42A27DB-BD31-4B8C-83A1-F6EECF244321}">
                <p14:modId xmlns:p14="http://schemas.microsoft.com/office/powerpoint/2010/main" val="931160878"/>
              </p:ext>
            </p:extLst>
          </p:nvPr>
        </p:nvGraphicFramePr>
        <p:xfrm>
          <a:off x="430306" y="1090632"/>
          <a:ext cx="10972800" cy="6045797"/>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ángulo 69">
            <a:extLst>
              <a:ext uri="{FF2B5EF4-FFF2-40B4-BE49-F238E27FC236}">
                <a16:creationId xmlns:a16="http://schemas.microsoft.com/office/drawing/2014/main" id="{EB6E8B7F-9F42-4666-8000-893CFEA37FC9}"/>
              </a:ext>
            </a:extLst>
          </p:cNvPr>
          <p:cNvSpPr/>
          <p:nvPr/>
        </p:nvSpPr>
        <p:spPr>
          <a:xfrm>
            <a:off x="284002" y="104187"/>
            <a:ext cx="7186552" cy="830997"/>
          </a:xfrm>
          <a:prstGeom prst="rect">
            <a:avLst/>
          </a:prstGeom>
          <a:noFill/>
        </p:spPr>
        <p:txBody>
          <a:bodyPr wrap="square">
            <a:spAutoFit/>
          </a:bodyPr>
          <a:lstStyle/>
          <a:p>
            <a:r>
              <a:rPr lang="es-ES" sz="2400" b="1" dirty="0">
                <a:solidFill>
                  <a:schemeClr val="bg1"/>
                </a:solidFill>
                <a:latin typeface="Calibri" panose="020F0502020204030204" pitchFamily="34" charset="0"/>
                <a:cs typeface="Calibri" panose="020F0502020204030204" pitchFamily="34" charset="0"/>
              </a:rPr>
              <a:t>En el mediano plazo la deuda de Guatemala se mantiene en niveles sostenibles</a:t>
            </a:r>
            <a:endParaRPr lang="es-GT" sz="2400" b="1"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8694060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DE52E98-82CE-5A41-B86E-D40DCEE3E371}"/>
              </a:ext>
            </a:extLst>
          </p:cNvPr>
          <p:cNvSpPr txBox="1">
            <a:spLocks/>
          </p:cNvSpPr>
          <p:nvPr/>
        </p:nvSpPr>
        <p:spPr>
          <a:xfrm>
            <a:off x="1569488" y="4935217"/>
            <a:ext cx="9053024" cy="1035838"/>
          </a:xfrm>
          <a:prstGeom prst="rect">
            <a:avLst/>
          </a:prstGeom>
        </p:spPr>
        <p:txBody>
          <a:bodyPr vert="horz">
            <a:normAutofit fontScale="67500" lnSpcReduction="20000"/>
          </a:bodyPr>
          <a:lstStyle>
            <a:lvl1pPr algn="l" defTabSz="914400" rtl="0" eaLnBrk="1" latinLnBrk="0" hangingPunct="1">
              <a:lnSpc>
                <a:spcPct val="90000"/>
              </a:lnSpc>
              <a:spcBef>
                <a:spcPct val="0"/>
              </a:spcBef>
              <a:buNone/>
              <a:defRPr sz="3600" b="1" kern="1200">
                <a:solidFill>
                  <a:schemeClr val="bg1"/>
                </a:solidFill>
                <a:latin typeface="Calibri" panose="020F0502020204030204" pitchFamily="34" charset="0"/>
                <a:ea typeface="+mj-ea"/>
                <a:cs typeface="Calibri" panose="020F0502020204030204" pitchFamily="34" charset="0"/>
              </a:defRPr>
            </a:lvl1pPr>
          </a:lstStyle>
          <a:p>
            <a:pPr algn="ctr"/>
            <a:r>
              <a:rPr lang="es-ES" sz="4800" dirty="0">
                <a:latin typeface="Arial" panose="020B0604020202020204" pitchFamily="34" charset="0"/>
                <a:cs typeface="Arial" panose="020B0604020202020204" pitchFamily="34" charset="0"/>
              </a:rPr>
              <a:t>FORO</a:t>
            </a:r>
            <a:br>
              <a:rPr lang="es-ES" sz="2200" dirty="0">
                <a:latin typeface="Arial" panose="020B0604020202020204" pitchFamily="34" charset="0"/>
                <a:cs typeface="Arial" panose="020B0604020202020204" pitchFamily="34" charset="0"/>
              </a:rPr>
            </a:br>
            <a:br>
              <a:rPr lang="es-ES" sz="2200" dirty="0">
                <a:latin typeface="Arial" panose="020B0604020202020204" pitchFamily="34" charset="0"/>
                <a:cs typeface="Arial" panose="020B0604020202020204" pitchFamily="34" charset="0"/>
              </a:rPr>
            </a:br>
            <a:r>
              <a:rPr lang="es-ES" sz="4800" dirty="0">
                <a:latin typeface="Arial" panose="020B0604020202020204" pitchFamily="34" charset="0"/>
                <a:cs typeface="Arial" panose="020B0604020202020204" pitchFamily="34" charset="0"/>
              </a:rPr>
              <a:t>Macroeconómico y Fiscal</a:t>
            </a:r>
            <a:endParaRPr lang="es-GT" sz="4800" dirty="0">
              <a:latin typeface="Arial" panose="020B0604020202020204" pitchFamily="34" charset="0"/>
              <a:cs typeface="Arial" panose="020B0604020202020204" pitchFamily="34" charset="0"/>
            </a:endParaRPr>
          </a:p>
        </p:txBody>
      </p:sp>
      <p:sp>
        <p:nvSpPr>
          <p:cNvPr id="3" name="CuadroTexto 2">
            <a:extLst>
              <a:ext uri="{FF2B5EF4-FFF2-40B4-BE49-F238E27FC236}">
                <a16:creationId xmlns:a16="http://schemas.microsoft.com/office/drawing/2014/main" id="{7FC9C42B-E1D2-0245-8B4A-0DF50A728762}"/>
              </a:ext>
            </a:extLst>
          </p:cNvPr>
          <p:cNvSpPr txBox="1"/>
          <p:nvPr/>
        </p:nvSpPr>
        <p:spPr>
          <a:xfrm>
            <a:off x="4429125" y="6039231"/>
            <a:ext cx="3333750" cy="369332"/>
          </a:xfrm>
          <a:prstGeom prst="rect">
            <a:avLst/>
          </a:prstGeom>
          <a:noFill/>
        </p:spPr>
        <p:txBody>
          <a:bodyPr wrap="square" rtlCol="0">
            <a:spAutoFit/>
          </a:bodyPr>
          <a:lstStyle/>
          <a:p>
            <a:pPr algn="ctr"/>
            <a:r>
              <a:rPr lang="es-GT" b="1" dirty="0">
                <a:solidFill>
                  <a:schemeClr val="bg1"/>
                </a:solidFill>
              </a:rPr>
              <a:t>Guatemala, Agosto de 2021</a:t>
            </a:r>
          </a:p>
        </p:txBody>
      </p:sp>
    </p:spTree>
    <p:extLst>
      <p:ext uri="{BB962C8B-B14F-4D97-AF65-F5344CB8AC3E}">
        <p14:creationId xmlns:p14="http://schemas.microsoft.com/office/powerpoint/2010/main" val="38010245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612C927D-3748-4A4E-816E-96996793B4E7}"/>
              </a:ext>
            </a:extLst>
          </p:cNvPr>
          <p:cNvGraphicFramePr>
            <a:graphicFrameLocks noChangeAspect="1"/>
          </p:cNvGraphicFramePr>
          <p:nvPr>
            <p:custDataLst>
              <p:tags r:id="rId3"/>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8195" name="Diapositiva de think-cell" r:id="rId6" imgW="395" imgH="394" progId="TCLayout.ActiveDocument.1">
                  <p:embed/>
                </p:oleObj>
              </mc:Choice>
              <mc:Fallback>
                <p:oleObj name="Diapositiva de think-cell" r:id="rId6" imgW="395" imgH="394" progId="TCLayout.ActiveDocument.1">
                  <p:embed/>
                  <p:pic>
                    <p:nvPicPr>
                      <p:cNvPr id="4" name="Objeto 3" hidden="1">
                        <a:extLst>
                          <a:ext uri="{FF2B5EF4-FFF2-40B4-BE49-F238E27FC236}">
                            <a16:creationId xmlns:a16="http://schemas.microsoft.com/office/drawing/2014/main" id="{612C927D-3748-4A4E-816E-96996793B4E7}"/>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11" name="Rectángulo 10" hidden="1">
            <a:extLst>
              <a:ext uri="{FF2B5EF4-FFF2-40B4-BE49-F238E27FC236}">
                <a16:creationId xmlns:a16="http://schemas.microsoft.com/office/drawing/2014/main" id="{5CEDD324-C245-420B-A8DC-2EEF4B0D7FE7}"/>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sym typeface="Arial" panose="020B0604020202020204" pitchFamily="34" charset="0"/>
            </a:endParaRPr>
          </a:p>
        </p:txBody>
      </p:sp>
      <p:sp>
        <p:nvSpPr>
          <p:cNvPr id="16" name="Rectángulo 15" hidden="1">
            <a:extLst>
              <a:ext uri="{FF2B5EF4-FFF2-40B4-BE49-F238E27FC236}">
                <a16:creationId xmlns:a16="http://schemas.microsoft.com/office/drawing/2014/main" id="{A70850B7-190D-46D7-A7EC-2EC403037B82}"/>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endParaRPr>
          </a:p>
        </p:txBody>
      </p:sp>
      <p:sp>
        <p:nvSpPr>
          <p:cNvPr id="12" name="Título 1">
            <a:extLst>
              <a:ext uri="{FF2B5EF4-FFF2-40B4-BE49-F238E27FC236}">
                <a16:creationId xmlns:a16="http://schemas.microsoft.com/office/drawing/2014/main" id="{AC816F7C-C4E0-4936-9568-36996F5BE48D}"/>
              </a:ext>
            </a:extLst>
          </p:cNvPr>
          <p:cNvSpPr>
            <a:spLocks noGrp="1"/>
          </p:cNvSpPr>
          <p:nvPr>
            <p:ph type="title"/>
          </p:nvPr>
        </p:nvSpPr>
        <p:spPr>
          <a:xfrm>
            <a:off x="660670" y="-4558"/>
            <a:ext cx="6800833" cy="1138713"/>
          </a:xfrm>
          <a:noFill/>
        </p:spPr>
        <p:txBody>
          <a:bodyPr vert="horz"/>
          <a:lstStyle/>
          <a:p>
            <a:r>
              <a:rPr lang="es-ES" sz="2400" b="1" dirty="0">
                <a:solidFill>
                  <a:schemeClr val="bg1"/>
                </a:solidFill>
              </a:rPr>
              <a:t>Asignación de 2021 opera con presupuesto de 2020</a:t>
            </a:r>
            <a:endParaRPr lang="es-GT" sz="2400" b="1" dirty="0">
              <a:solidFill>
                <a:schemeClr val="bg1"/>
              </a:solidFill>
            </a:endParaRPr>
          </a:p>
        </p:txBody>
      </p:sp>
      <p:sp>
        <p:nvSpPr>
          <p:cNvPr id="15" name="object 6">
            <a:extLst>
              <a:ext uri="{FF2B5EF4-FFF2-40B4-BE49-F238E27FC236}">
                <a16:creationId xmlns:a16="http://schemas.microsoft.com/office/drawing/2014/main" id="{638F121A-0511-4E20-87FC-94543B22B82C}"/>
              </a:ext>
            </a:extLst>
          </p:cNvPr>
          <p:cNvSpPr txBox="1"/>
          <p:nvPr/>
        </p:nvSpPr>
        <p:spPr>
          <a:xfrm>
            <a:off x="2497349" y="5094834"/>
            <a:ext cx="6793300" cy="1089660"/>
          </a:xfrm>
          <a:prstGeom prst="roundRect">
            <a:avLst/>
          </a:prstGeom>
          <a:noFill/>
          <a:ln w="63500">
            <a:solidFill>
              <a:srgbClr val="0B3963"/>
            </a:solidFill>
          </a:ln>
          <a:effectLst/>
          <a:scene3d>
            <a:camera prst="orthographicFront"/>
            <a:lightRig rig="threePt" dir="t"/>
          </a:scene3d>
          <a:sp3d>
            <a:bevelT/>
          </a:sp3d>
        </p:spPr>
        <p:txBody>
          <a:bodyPr vert="horz" wrap="square" lIns="0" tIns="0" rIns="0" bIns="0" rtlCol="0">
            <a:spAutoFit/>
          </a:bodyPr>
          <a:lstStyle/>
          <a:p>
            <a:pPr marL="1177290" marR="869950" indent="-302260" algn="ctr">
              <a:lnSpc>
                <a:spcPct val="100000"/>
              </a:lnSpc>
              <a:spcBef>
                <a:spcPts val="1620"/>
              </a:spcBef>
            </a:pPr>
            <a:r>
              <a:rPr lang="es-GT" sz="3200" b="1" dirty="0">
                <a:solidFill>
                  <a:srgbClr val="0B3963"/>
                </a:solidFill>
                <a:cs typeface="Arial"/>
              </a:rPr>
              <a:t>Presupuesto</a:t>
            </a:r>
            <a:r>
              <a:rPr sz="3200" b="1" spc="-190" dirty="0">
                <a:solidFill>
                  <a:srgbClr val="0B3963"/>
                </a:solidFill>
                <a:cs typeface="Arial"/>
              </a:rPr>
              <a:t> </a:t>
            </a:r>
            <a:r>
              <a:rPr lang="es-GT" sz="3200" b="1" spc="-5" dirty="0">
                <a:solidFill>
                  <a:srgbClr val="0B3963"/>
                </a:solidFill>
                <a:cs typeface="Arial"/>
              </a:rPr>
              <a:t>de Apertura </a:t>
            </a:r>
            <a:br>
              <a:rPr lang="es-GT" sz="3200" b="1" spc="-5" dirty="0">
                <a:solidFill>
                  <a:srgbClr val="254061"/>
                </a:solidFill>
                <a:cs typeface="Arial"/>
              </a:rPr>
            </a:br>
            <a:r>
              <a:rPr sz="3200" b="1" spc="-5" dirty="0">
                <a:solidFill>
                  <a:srgbClr val="0385B3"/>
                </a:solidFill>
                <a:cs typeface="Arial"/>
              </a:rPr>
              <a:t>Q</a:t>
            </a:r>
            <a:r>
              <a:rPr lang="es-GT" sz="3200" b="1" spc="-5" dirty="0">
                <a:solidFill>
                  <a:srgbClr val="0385B3"/>
                </a:solidFill>
                <a:cs typeface="Arial"/>
              </a:rPr>
              <a:t>107</a:t>
            </a:r>
            <a:r>
              <a:rPr sz="3200" b="1" spc="-5" dirty="0">
                <a:solidFill>
                  <a:srgbClr val="0385B3"/>
                </a:solidFill>
                <a:cs typeface="Arial"/>
              </a:rPr>
              <a:t>,</a:t>
            </a:r>
            <a:r>
              <a:rPr lang="es-GT" sz="3200" b="1" spc="-5" dirty="0">
                <a:solidFill>
                  <a:srgbClr val="0385B3"/>
                </a:solidFill>
                <a:cs typeface="Arial"/>
              </a:rPr>
              <a:t>521</a:t>
            </a:r>
            <a:r>
              <a:rPr sz="3200" b="1" spc="-5" dirty="0">
                <a:solidFill>
                  <a:srgbClr val="0385B3"/>
                </a:solidFill>
                <a:cs typeface="Arial"/>
              </a:rPr>
              <a:t>.</a:t>
            </a:r>
            <a:r>
              <a:rPr lang="es-GT" sz="3200" b="1" spc="-5" dirty="0">
                <a:solidFill>
                  <a:srgbClr val="0385B3"/>
                </a:solidFill>
                <a:cs typeface="Arial"/>
              </a:rPr>
              <a:t>5</a:t>
            </a:r>
            <a:r>
              <a:rPr sz="3200" b="1" spc="-30" dirty="0">
                <a:solidFill>
                  <a:srgbClr val="0385B3"/>
                </a:solidFill>
                <a:cs typeface="Arial"/>
              </a:rPr>
              <a:t> </a:t>
            </a:r>
            <a:r>
              <a:rPr sz="3200" b="1" spc="-5" dirty="0" err="1">
                <a:solidFill>
                  <a:srgbClr val="0385B3"/>
                </a:solidFill>
                <a:cs typeface="Arial"/>
              </a:rPr>
              <a:t>millones</a:t>
            </a:r>
            <a:endParaRPr sz="3200" dirty="0">
              <a:solidFill>
                <a:srgbClr val="0385B3"/>
              </a:solidFill>
              <a:cs typeface="Arial"/>
            </a:endParaRPr>
          </a:p>
        </p:txBody>
      </p:sp>
      <p:sp>
        <p:nvSpPr>
          <p:cNvPr id="17" name="object 7">
            <a:extLst>
              <a:ext uri="{FF2B5EF4-FFF2-40B4-BE49-F238E27FC236}">
                <a16:creationId xmlns:a16="http://schemas.microsoft.com/office/drawing/2014/main" id="{A5B20B93-4A19-4690-B372-76D8B1D4840B}"/>
              </a:ext>
            </a:extLst>
          </p:cNvPr>
          <p:cNvSpPr/>
          <p:nvPr/>
        </p:nvSpPr>
        <p:spPr>
          <a:xfrm>
            <a:off x="1231651" y="4082478"/>
            <a:ext cx="9324698" cy="958383"/>
          </a:xfrm>
          <a:custGeom>
            <a:avLst/>
            <a:gdLst/>
            <a:ahLst/>
            <a:cxnLst/>
            <a:rect l="l" t="t" r="r" b="b"/>
            <a:pathLst>
              <a:path w="11934825" h="403225">
                <a:moveTo>
                  <a:pt x="11934826" y="0"/>
                </a:moveTo>
                <a:lnTo>
                  <a:pt x="11932193" y="78480"/>
                </a:lnTo>
                <a:lnTo>
                  <a:pt x="11924999" y="142541"/>
                </a:lnTo>
                <a:lnTo>
                  <a:pt x="11914305" y="185719"/>
                </a:lnTo>
                <a:lnTo>
                  <a:pt x="11901171" y="201549"/>
                </a:lnTo>
                <a:lnTo>
                  <a:pt x="6001005" y="201549"/>
                </a:lnTo>
                <a:lnTo>
                  <a:pt x="5987924" y="217398"/>
                </a:lnTo>
                <a:lnTo>
                  <a:pt x="5977224" y="260619"/>
                </a:lnTo>
                <a:lnTo>
                  <a:pt x="5970001" y="324725"/>
                </a:lnTo>
                <a:lnTo>
                  <a:pt x="5967350" y="403225"/>
                </a:lnTo>
                <a:lnTo>
                  <a:pt x="5964718" y="324725"/>
                </a:lnTo>
                <a:lnTo>
                  <a:pt x="5957539" y="260619"/>
                </a:lnTo>
                <a:lnTo>
                  <a:pt x="5946883" y="217398"/>
                </a:lnTo>
                <a:lnTo>
                  <a:pt x="5933822" y="201549"/>
                </a:lnTo>
                <a:lnTo>
                  <a:pt x="33605" y="201549"/>
                </a:lnTo>
                <a:lnTo>
                  <a:pt x="20524" y="185719"/>
                </a:lnTo>
                <a:lnTo>
                  <a:pt x="9842" y="142541"/>
                </a:lnTo>
                <a:lnTo>
                  <a:pt x="2640" y="78480"/>
                </a:lnTo>
                <a:lnTo>
                  <a:pt x="0" y="0"/>
                </a:lnTo>
              </a:path>
            </a:pathLst>
          </a:custGeom>
          <a:ln w="76200">
            <a:solidFill>
              <a:srgbClr val="0B3963"/>
            </a:solidFill>
          </a:ln>
        </p:spPr>
        <p:txBody>
          <a:bodyPr wrap="square" lIns="0" tIns="0" rIns="0" bIns="0" rtlCol="0"/>
          <a:lstStyle/>
          <a:p>
            <a:endParaRPr dirty="0"/>
          </a:p>
        </p:txBody>
      </p:sp>
      <p:sp>
        <p:nvSpPr>
          <p:cNvPr id="18" name="object 8">
            <a:extLst>
              <a:ext uri="{FF2B5EF4-FFF2-40B4-BE49-F238E27FC236}">
                <a16:creationId xmlns:a16="http://schemas.microsoft.com/office/drawing/2014/main" id="{F2BEF0C1-AB19-4817-BB53-577755159824}"/>
              </a:ext>
            </a:extLst>
          </p:cNvPr>
          <p:cNvSpPr txBox="1"/>
          <p:nvPr/>
        </p:nvSpPr>
        <p:spPr>
          <a:xfrm>
            <a:off x="1006212" y="2272898"/>
            <a:ext cx="1800000" cy="1710000"/>
          </a:xfrm>
          <a:prstGeom prst="rect">
            <a:avLst/>
          </a:prstGeom>
          <a:solidFill>
            <a:schemeClr val="accent5">
              <a:lumMod val="75000"/>
            </a:schemeClr>
          </a:solidFill>
          <a:ln w="12700">
            <a:noFill/>
          </a:ln>
          <a:effectLst/>
        </p:spPr>
        <p:txBody>
          <a:bodyPr vert="horz" wrap="square" lIns="0" tIns="0" rIns="0" bIns="0" rtlCol="0" anchor="ctr" anchorCtr="1">
            <a:noAutofit/>
          </a:bodyPr>
          <a:lstStyle/>
          <a:p>
            <a:pPr marL="167640" marR="93980" indent="-70485" algn="ctr">
              <a:spcBef>
                <a:spcPts val="2045"/>
              </a:spcBef>
            </a:pPr>
            <a:r>
              <a:rPr lang="es-GT" sz="2400" b="1" spc="-5" dirty="0">
                <a:solidFill>
                  <a:srgbClr val="FFFFFF"/>
                </a:solidFill>
                <a:latin typeface="Arial"/>
                <a:cs typeface="Arial"/>
              </a:rPr>
              <a:t>Decreto</a:t>
            </a:r>
            <a:r>
              <a:rPr sz="2400" b="1" spc="-5" dirty="0">
                <a:solidFill>
                  <a:srgbClr val="FFFFFF"/>
                </a:solidFill>
                <a:latin typeface="Arial"/>
                <a:cs typeface="Arial"/>
              </a:rPr>
              <a:t> </a:t>
            </a:r>
            <a:br>
              <a:rPr lang="es-GT" sz="2400" b="1" spc="-5" dirty="0">
                <a:solidFill>
                  <a:srgbClr val="FFFFFF"/>
                </a:solidFill>
                <a:latin typeface="Arial"/>
                <a:cs typeface="Arial"/>
              </a:rPr>
            </a:br>
            <a:r>
              <a:rPr lang="es-GT" sz="2400" b="1" spc="-5" dirty="0">
                <a:solidFill>
                  <a:srgbClr val="FFFFFF"/>
                </a:solidFill>
                <a:latin typeface="Arial"/>
                <a:cs typeface="Arial"/>
              </a:rPr>
              <a:t>25-2018</a:t>
            </a:r>
            <a:br>
              <a:rPr lang="es-GT" sz="2400" b="1" spc="-5" dirty="0">
                <a:solidFill>
                  <a:srgbClr val="FFFFFF"/>
                </a:solidFill>
                <a:latin typeface="Arial"/>
                <a:cs typeface="Arial"/>
              </a:rPr>
            </a:br>
            <a:r>
              <a:rPr sz="2400" spc="-5" dirty="0">
                <a:solidFill>
                  <a:srgbClr val="FFFFFF"/>
                </a:solidFill>
                <a:latin typeface="Arial"/>
                <a:cs typeface="Arial"/>
              </a:rPr>
              <a:t>Q</a:t>
            </a:r>
            <a:r>
              <a:rPr lang="es-GT" sz="2400" spc="-5" dirty="0">
                <a:solidFill>
                  <a:srgbClr val="FFFFFF"/>
                </a:solidFill>
                <a:latin typeface="Arial"/>
                <a:cs typeface="Arial"/>
              </a:rPr>
              <a:t>8</a:t>
            </a:r>
            <a:r>
              <a:rPr sz="2400" spc="-5" dirty="0">
                <a:solidFill>
                  <a:srgbClr val="FFFFFF"/>
                </a:solidFill>
                <a:latin typeface="Arial"/>
                <a:cs typeface="Arial"/>
              </a:rPr>
              <a:t>7,</a:t>
            </a:r>
            <a:r>
              <a:rPr lang="es-GT" sz="2400" spc="-5" dirty="0">
                <a:solidFill>
                  <a:srgbClr val="FFFFFF"/>
                </a:solidFill>
                <a:cs typeface="Arial"/>
              </a:rPr>
              <a:t>715</a:t>
            </a:r>
            <a:r>
              <a:rPr sz="2400" spc="-5" dirty="0">
                <a:solidFill>
                  <a:srgbClr val="FFFFFF"/>
                </a:solidFill>
                <a:latin typeface="Arial"/>
                <a:cs typeface="Arial"/>
              </a:rPr>
              <a:t>.</a:t>
            </a:r>
            <a:r>
              <a:rPr lang="es-GT" sz="2400" spc="-5" dirty="0">
                <a:solidFill>
                  <a:srgbClr val="FFFFFF"/>
                </a:solidFill>
                <a:latin typeface="Arial"/>
                <a:cs typeface="Arial"/>
              </a:rPr>
              <a:t>1</a:t>
            </a:r>
            <a:br>
              <a:rPr lang="es-GT" sz="2400" spc="-5" dirty="0">
                <a:solidFill>
                  <a:srgbClr val="FFFFFF"/>
                </a:solidFill>
                <a:latin typeface="Arial"/>
                <a:cs typeface="Arial"/>
              </a:rPr>
            </a:br>
            <a:r>
              <a:rPr lang="es-GT" sz="2400" spc="-5" dirty="0">
                <a:solidFill>
                  <a:srgbClr val="FFFFFF"/>
                </a:solidFill>
                <a:latin typeface="Arial"/>
                <a:cs typeface="Arial"/>
              </a:rPr>
              <a:t>Millones</a:t>
            </a:r>
            <a:r>
              <a:rPr lang="es-ES_tradnl" sz="2400" spc="-5" dirty="0">
                <a:solidFill>
                  <a:srgbClr val="FFFFFF"/>
                </a:solidFill>
                <a:latin typeface="Arial"/>
                <a:cs typeface="Arial"/>
              </a:rPr>
              <a:t> </a:t>
            </a:r>
          </a:p>
        </p:txBody>
      </p:sp>
      <p:sp>
        <p:nvSpPr>
          <p:cNvPr id="19" name="1 Más">
            <a:extLst>
              <a:ext uri="{FF2B5EF4-FFF2-40B4-BE49-F238E27FC236}">
                <a16:creationId xmlns:a16="http://schemas.microsoft.com/office/drawing/2014/main" id="{D2D8F389-3433-4B4E-99DC-BAFD91BA0B7B}"/>
              </a:ext>
            </a:extLst>
          </p:cNvPr>
          <p:cNvSpPr/>
          <p:nvPr/>
        </p:nvSpPr>
        <p:spPr>
          <a:xfrm>
            <a:off x="3034130" y="2859665"/>
            <a:ext cx="550911" cy="484095"/>
          </a:xfrm>
          <a:prstGeom prst="mathPlus">
            <a:avLst/>
          </a:prstGeom>
          <a:solidFill>
            <a:srgbClr val="0B3963"/>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20" name="13 Más">
            <a:extLst>
              <a:ext uri="{FF2B5EF4-FFF2-40B4-BE49-F238E27FC236}">
                <a16:creationId xmlns:a16="http://schemas.microsoft.com/office/drawing/2014/main" id="{1B70E194-25E9-4EB4-BD45-73E5B2DCECE4}"/>
              </a:ext>
            </a:extLst>
          </p:cNvPr>
          <p:cNvSpPr/>
          <p:nvPr/>
        </p:nvSpPr>
        <p:spPr>
          <a:xfrm>
            <a:off x="5618544" y="2859666"/>
            <a:ext cx="550911" cy="484095"/>
          </a:xfrm>
          <a:prstGeom prst="mathPlus">
            <a:avLst/>
          </a:prstGeom>
          <a:solidFill>
            <a:srgbClr val="0B3963"/>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21" name="14 Más">
            <a:extLst>
              <a:ext uri="{FF2B5EF4-FFF2-40B4-BE49-F238E27FC236}">
                <a16:creationId xmlns:a16="http://schemas.microsoft.com/office/drawing/2014/main" id="{DAEC922B-1757-43FF-8CEC-0CA9AD19B692}"/>
              </a:ext>
            </a:extLst>
          </p:cNvPr>
          <p:cNvSpPr/>
          <p:nvPr/>
        </p:nvSpPr>
        <p:spPr>
          <a:xfrm>
            <a:off x="8396896" y="2877676"/>
            <a:ext cx="550911" cy="484095"/>
          </a:xfrm>
          <a:prstGeom prst="mathPlus">
            <a:avLst/>
          </a:prstGeom>
          <a:solidFill>
            <a:srgbClr val="0B3963"/>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22" name="object 8">
            <a:extLst>
              <a:ext uri="{FF2B5EF4-FFF2-40B4-BE49-F238E27FC236}">
                <a16:creationId xmlns:a16="http://schemas.microsoft.com/office/drawing/2014/main" id="{0C667E19-FA01-44BE-94A1-AD80E9FFD4A4}"/>
              </a:ext>
            </a:extLst>
          </p:cNvPr>
          <p:cNvSpPr txBox="1"/>
          <p:nvPr/>
        </p:nvSpPr>
        <p:spPr>
          <a:xfrm>
            <a:off x="3763946" y="2272898"/>
            <a:ext cx="1800000" cy="1710000"/>
          </a:xfrm>
          <a:prstGeom prst="rect">
            <a:avLst/>
          </a:prstGeom>
          <a:solidFill>
            <a:schemeClr val="accent3">
              <a:lumMod val="75000"/>
            </a:schemeClr>
          </a:solidFill>
          <a:ln w="12700">
            <a:noFill/>
          </a:ln>
          <a:effectLst/>
        </p:spPr>
        <p:txBody>
          <a:bodyPr vert="horz" wrap="square" lIns="0" tIns="0" rIns="0" bIns="0" rtlCol="0" anchor="ctr" anchorCtr="1">
            <a:noAutofit/>
          </a:bodyPr>
          <a:lstStyle/>
          <a:p>
            <a:pPr marL="167640" marR="93980" indent="-70485" algn="ctr">
              <a:spcBef>
                <a:spcPts val="2045"/>
              </a:spcBef>
            </a:pPr>
            <a:r>
              <a:rPr lang="es-GT" sz="2400" b="1" spc="-5" dirty="0">
                <a:solidFill>
                  <a:srgbClr val="FFFFFF"/>
                </a:solidFill>
                <a:cs typeface="Arial"/>
              </a:rPr>
              <a:t>Decreto</a:t>
            </a:r>
            <a:r>
              <a:rPr sz="2400" b="1" spc="-5" dirty="0">
                <a:solidFill>
                  <a:srgbClr val="FFFFFF"/>
                </a:solidFill>
                <a:cs typeface="Arial"/>
              </a:rPr>
              <a:t> </a:t>
            </a:r>
            <a:br>
              <a:rPr lang="es-GT" sz="2400" b="1" spc="-5" dirty="0">
                <a:solidFill>
                  <a:srgbClr val="FFFFFF"/>
                </a:solidFill>
                <a:cs typeface="Arial"/>
              </a:rPr>
            </a:br>
            <a:r>
              <a:rPr lang="es-GT" sz="2400" b="1" spc="-5" dirty="0">
                <a:solidFill>
                  <a:srgbClr val="FFFFFF"/>
                </a:solidFill>
                <a:cs typeface="Arial"/>
              </a:rPr>
              <a:t>12-2020</a:t>
            </a:r>
            <a:br>
              <a:rPr lang="es-GT" sz="2400" b="1" spc="-5" dirty="0">
                <a:solidFill>
                  <a:srgbClr val="FFFFFF"/>
                </a:solidFill>
                <a:cs typeface="Arial"/>
              </a:rPr>
            </a:br>
            <a:r>
              <a:rPr sz="2400" spc="-5" dirty="0">
                <a:solidFill>
                  <a:srgbClr val="FFFFFF"/>
                </a:solidFill>
                <a:cs typeface="Arial"/>
              </a:rPr>
              <a:t>Q</a:t>
            </a:r>
            <a:r>
              <a:rPr lang="es-GT" sz="2400" spc="-5" dirty="0">
                <a:solidFill>
                  <a:srgbClr val="FFFFFF"/>
                </a:solidFill>
                <a:cs typeface="Arial"/>
              </a:rPr>
              <a:t>3</a:t>
            </a:r>
            <a:r>
              <a:rPr sz="2400" spc="-5" dirty="0">
                <a:solidFill>
                  <a:srgbClr val="FFFFFF"/>
                </a:solidFill>
                <a:cs typeface="Arial"/>
              </a:rPr>
              <a:t>,</a:t>
            </a:r>
            <a:r>
              <a:rPr lang="es-GT" sz="2400" spc="-5" dirty="0">
                <a:solidFill>
                  <a:srgbClr val="FFFFFF"/>
                </a:solidFill>
                <a:cs typeface="Arial"/>
              </a:rPr>
              <a:t>667</a:t>
            </a:r>
            <a:r>
              <a:rPr sz="2400" spc="-5" dirty="0">
                <a:solidFill>
                  <a:srgbClr val="FFFFFF"/>
                </a:solidFill>
                <a:cs typeface="Arial"/>
              </a:rPr>
              <a:t>.</a:t>
            </a:r>
            <a:r>
              <a:rPr lang="es-GT" sz="2400" spc="-5" dirty="0">
                <a:solidFill>
                  <a:srgbClr val="FFFFFF"/>
                </a:solidFill>
                <a:cs typeface="Arial"/>
              </a:rPr>
              <a:t>5</a:t>
            </a:r>
            <a:br>
              <a:rPr lang="es-GT" sz="2400" spc="-5" dirty="0">
                <a:solidFill>
                  <a:srgbClr val="FFFFFF"/>
                </a:solidFill>
                <a:cs typeface="Arial"/>
              </a:rPr>
            </a:br>
            <a:r>
              <a:rPr lang="es-GT" sz="2400" spc="-5" dirty="0">
                <a:solidFill>
                  <a:srgbClr val="FFFFFF"/>
                </a:solidFill>
                <a:cs typeface="Arial"/>
              </a:rPr>
              <a:t>Millones</a:t>
            </a:r>
            <a:r>
              <a:rPr lang="es-ES_tradnl" sz="2400" spc="-5" dirty="0">
                <a:solidFill>
                  <a:srgbClr val="FFFFFF"/>
                </a:solidFill>
                <a:cs typeface="Arial"/>
              </a:rPr>
              <a:t> </a:t>
            </a:r>
          </a:p>
        </p:txBody>
      </p:sp>
      <p:sp>
        <p:nvSpPr>
          <p:cNvPr id="23" name="object 8">
            <a:extLst>
              <a:ext uri="{FF2B5EF4-FFF2-40B4-BE49-F238E27FC236}">
                <a16:creationId xmlns:a16="http://schemas.microsoft.com/office/drawing/2014/main" id="{B1B0891C-D421-4505-8151-807C89099E2F}"/>
              </a:ext>
            </a:extLst>
          </p:cNvPr>
          <p:cNvSpPr txBox="1"/>
          <p:nvPr/>
        </p:nvSpPr>
        <p:spPr>
          <a:xfrm>
            <a:off x="6348360" y="2272898"/>
            <a:ext cx="1800000" cy="1710000"/>
          </a:xfrm>
          <a:prstGeom prst="rect">
            <a:avLst/>
          </a:prstGeom>
          <a:solidFill>
            <a:srgbClr val="0385B3"/>
          </a:solidFill>
          <a:ln w="12700">
            <a:noFill/>
          </a:ln>
          <a:effectLst/>
        </p:spPr>
        <p:txBody>
          <a:bodyPr vert="horz" wrap="square" lIns="0" tIns="0" rIns="0" bIns="0" rtlCol="0" anchor="ctr" anchorCtr="1">
            <a:noAutofit/>
          </a:bodyPr>
          <a:lstStyle/>
          <a:p>
            <a:pPr marL="167640" marR="93980" indent="-70485" algn="ctr">
              <a:spcBef>
                <a:spcPts val="2045"/>
              </a:spcBef>
            </a:pPr>
            <a:r>
              <a:rPr lang="es-GT" sz="2400" b="1" spc="-5" dirty="0">
                <a:solidFill>
                  <a:srgbClr val="FFFFFF"/>
                </a:solidFill>
                <a:cs typeface="Arial"/>
              </a:rPr>
              <a:t>Decreto</a:t>
            </a:r>
            <a:r>
              <a:rPr sz="2400" b="1" spc="-5" dirty="0">
                <a:solidFill>
                  <a:srgbClr val="FFFFFF"/>
                </a:solidFill>
                <a:cs typeface="Arial"/>
              </a:rPr>
              <a:t> </a:t>
            </a:r>
            <a:br>
              <a:rPr lang="es-GT" sz="2400" b="1" spc="-5" dirty="0">
                <a:solidFill>
                  <a:srgbClr val="FFFFFF"/>
                </a:solidFill>
                <a:cs typeface="Arial"/>
              </a:rPr>
            </a:br>
            <a:r>
              <a:rPr lang="es-GT" sz="2400" b="1" spc="-5" dirty="0">
                <a:solidFill>
                  <a:srgbClr val="FFFFFF"/>
                </a:solidFill>
                <a:cs typeface="Arial"/>
              </a:rPr>
              <a:t>13-2020</a:t>
            </a:r>
            <a:br>
              <a:rPr lang="es-GT" sz="2400" b="1" spc="-5" dirty="0">
                <a:solidFill>
                  <a:srgbClr val="FFFFFF"/>
                </a:solidFill>
                <a:cs typeface="Arial"/>
              </a:rPr>
            </a:br>
            <a:r>
              <a:rPr sz="2400" spc="-5" dirty="0">
                <a:solidFill>
                  <a:srgbClr val="FFFFFF"/>
                </a:solidFill>
                <a:cs typeface="Arial"/>
              </a:rPr>
              <a:t>Q</a:t>
            </a:r>
            <a:r>
              <a:rPr lang="es-GT" sz="2400" spc="-5" dirty="0">
                <a:solidFill>
                  <a:srgbClr val="FFFFFF"/>
                </a:solidFill>
                <a:cs typeface="Arial"/>
              </a:rPr>
              <a:t>11</a:t>
            </a:r>
            <a:r>
              <a:rPr sz="2400" spc="-5" dirty="0">
                <a:solidFill>
                  <a:srgbClr val="FFFFFF"/>
                </a:solidFill>
                <a:cs typeface="Arial"/>
              </a:rPr>
              <a:t>,</a:t>
            </a:r>
            <a:r>
              <a:rPr lang="es-GT" sz="2400" spc="-5" dirty="0">
                <a:solidFill>
                  <a:srgbClr val="FFFFFF"/>
                </a:solidFill>
                <a:cs typeface="Arial"/>
              </a:rPr>
              <a:t>000</a:t>
            </a:r>
            <a:r>
              <a:rPr sz="2400" spc="-5" dirty="0">
                <a:solidFill>
                  <a:srgbClr val="FFFFFF"/>
                </a:solidFill>
                <a:cs typeface="Arial"/>
              </a:rPr>
              <a:t>.</a:t>
            </a:r>
            <a:r>
              <a:rPr lang="es-GT" sz="2400" spc="-5" dirty="0">
                <a:solidFill>
                  <a:srgbClr val="FFFFFF"/>
                </a:solidFill>
                <a:cs typeface="Arial"/>
              </a:rPr>
              <a:t>0</a:t>
            </a:r>
            <a:br>
              <a:rPr lang="es-GT" sz="2400" spc="-5" dirty="0">
                <a:solidFill>
                  <a:srgbClr val="FFFFFF"/>
                </a:solidFill>
                <a:cs typeface="Arial"/>
              </a:rPr>
            </a:br>
            <a:r>
              <a:rPr lang="es-GT" sz="2400" spc="-5" dirty="0">
                <a:solidFill>
                  <a:srgbClr val="FFFFFF"/>
                </a:solidFill>
                <a:cs typeface="Arial"/>
              </a:rPr>
              <a:t>Millones</a:t>
            </a:r>
            <a:r>
              <a:rPr lang="es-ES_tradnl" sz="2400" spc="-5" dirty="0">
                <a:solidFill>
                  <a:srgbClr val="FFFFFF"/>
                </a:solidFill>
                <a:cs typeface="Arial"/>
              </a:rPr>
              <a:t> </a:t>
            </a:r>
          </a:p>
        </p:txBody>
      </p:sp>
      <p:sp>
        <p:nvSpPr>
          <p:cNvPr id="24" name="object 8">
            <a:extLst>
              <a:ext uri="{FF2B5EF4-FFF2-40B4-BE49-F238E27FC236}">
                <a16:creationId xmlns:a16="http://schemas.microsoft.com/office/drawing/2014/main" id="{F8BCD265-1BE9-4A8A-B80B-36602379D36E}"/>
              </a:ext>
            </a:extLst>
          </p:cNvPr>
          <p:cNvSpPr txBox="1"/>
          <p:nvPr/>
        </p:nvSpPr>
        <p:spPr>
          <a:xfrm>
            <a:off x="9196343" y="2275338"/>
            <a:ext cx="1800000" cy="1710000"/>
          </a:xfrm>
          <a:prstGeom prst="rect">
            <a:avLst/>
          </a:prstGeom>
          <a:solidFill>
            <a:srgbClr val="0B3963"/>
          </a:solidFill>
          <a:ln w="12700">
            <a:noFill/>
          </a:ln>
          <a:effectLst/>
        </p:spPr>
        <p:txBody>
          <a:bodyPr vert="horz" wrap="square" lIns="0" tIns="0" rIns="0" bIns="0" rtlCol="0" anchor="ctr" anchorCtr="1">
            <a:noAutofit/>
          </a:bodyPr>
          <a:lstStyle/>
          <a:p>
            <a:pPr marL="167640" marR="93980" indent="-70485" algn="ctr">
              <a:spcBef>
                <a:spcPts val="2045"/>
              </a:spcBef>
            </a:pPr>
            <a:r>
              <a:rPr lang="es-GT" sz="2400" b="1" spc="-5" dirty="0">
                <a:solidFill>
                  <a:srgbClr val="FFFFFF"/>
                </a:solidFill>
                <a:cs typeface="Arial"/>
              </a:rPr>
              <a:t>Decreto</a:t>
            </a:r>
            <a:r>
              <a:rPr sz="2400" b="1" spc="-5" dirty="0">
                <a:solidFill>
                  <a:srgbClr val="FFFFFF"/>
                </a:solidFill>
                <a:cs typeface="Arial"/>
              </a:rPr>
              <a:t> </a:t>
            </a:r>
            <a:br>
              <a:rPr lang="es-GT" sz="2400" b="1" spc="-5" dirty="0">
                <a:solidFill>
                  <a:srgbClr val="FFFFFF"/>
                </a:solidFill>
                <a:cs typeface="Arial"/>
              </a:rPr>
            </a:br>
            <a:r>
              <a:rPr lang="es-GT" sz="2400" b="1" spc="-5" dirty="0">
                <a:solidFill>
                  <a:srgbClr val="FFFFFF"/>
                </a:solidFill>
                <a:cs typeface="Arial"/>
              </a:rPr>
              <a:t>20-2020</a:t>
            </a:r>
            <a:br>
              <a:rPr lang="es-GT" sz="2400" b="1" spc="-5" dirty="0">
                <a:solidFill>
                  <a:srgbClr val="FFFFFF"/>
                </a:solidFill>
                <a:cs typeface="Arial"/>
              </a:rPr>
            </a:br>
            <a:r>
              <a:rPr sz="2400" spc="-5" dirty="0">
                <a:solidFill>
                  <a:srgbClr val="FFFFFF"/>
                </a:solidFill>
                <a:cs typeface="Arial"/>
              </a:rPr>
              <a:t>Q</a:t>
            </a:r>
            <a:r>
              <a:rPr lang="es-GT" sz="2400" spc="-5" dirty="0">
                <a:solidFill>
                  <a:srgbClr val="FFFFFF"/>
                </a:solidFill>
                <a:cs typeface="Arial"/>
              </a:rPr>
              <a:t>5,138.9</a:t>
            </a:r>
            <a:br>
              <a:rPr lang="es-GT" sz="2400" spc="-5" dirty="0">
                <a:solidFill>
                  <a:srgbClr val="FFFFFF"/>
                </a:solidFill>
                <a:cs typeface="Arial"/>
              </a:rPr>
            </a:br>
            <a:r>
              <a:rPr lang="es-GT" sz="2400" spc="-5" dirty="0">
                <a:solidFill>
                  <a:srgbClr val="FFFFFF"/>
                </a:solidFill>
                <a:cs typeface="Arial"/>
              </a:rPr>
              <a:t>Millones</a:t>
            </a:r>
            <a:r>
              <a:rPr lang="es-ES_tradnl" sz="2400" spc="-5" dirty="0">
                <a:solidFill>
                  <a:srgbClr val="FFFFFF"/>
                </a:solidFill>
                <a:cs typeface="Arial"/>
              </a:rPr>
              <a:t> </a:t>
            </a:r>
          </a:p>
        </p:txBody>
      </p:sp>
      <p:sp>
        <p:nvSpPr>
          <p:cNvPr id="25" name="CuadroTexto 24">
            <a:extLst>
              <a:ext uri="{FF2B5EF4-FFF2-40B4-BE49-F238E27FC236}">
                <a16:creationId xmlns:a16="http://schemas.microsoft.com/office/drawing/2014/main" id="{1E057D37-9C0E-4E08-8BB0-53BE7D10EFC7}"/>
              </a:ext>
            </a:extLst>
          </p:cNvPr>
          <p:cNvSpPr txBox="1"/>
          <p:nvPr/>
        </p:nvSpPr>
        <p:spPr>
          <a:xfrm>
            <a:off x="975359" y="1350579"/>
            <a:ext cx="6052055" cy="461665"/>
          </a:xfrm>
          <a:prstGeom prst="rect">
            <a:avLst/>
          </a:prstGeom>
          <a:noFill/>
        </p:spPr>
        <p:txBody>
          <a:bodyPr wrap="square" rtlCol="0">
            <a:spAutoFit/>
          </a:bodyPr>
          <a:lstStyle/>
          <a:p>
            <a:r>
              <a:rPr lang="es-GT" sz="2400" dirty="0">
                <a:solidFill>
                  <a:schemeClr val="accent1">
                    <a:lumMod val="50000"/>
                  </a:schemeClr>
                </a:solidFill>
              </a:rPr>
              <a:t>Se compone por los siguientes Decretos:</a:t>
            </a:r>
          </a:p>
        </p:txBody>
      </p:sp>
    </p:spTree>
    <p:custDataLst>
      <p:tags r:id="rId2"/>
    </p:custDataLst>
    <p:extLst>
      <p:ext uri="{BB962C8B-B14F-4D97-AF65-F5344CB8AC3E}">
        <p14:creationId xmlns:p14="http://schemas.microsoft.com/office/powerpoint/2010/main" val="26417699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612C927D-3748-4A4E-816E-96996793B4E7}"/>
              </a:ext>
            </a:extLst>
          </p:cNvPr>
          <p:cNvGraphicFramePr>
            <a:graphicFrameLocks noChangeAspect="1"/>
          </p:cNvGraphicFramePr>
          <p:nvPr>
            <p:custDataLst>
              <p:tags r:id="rId3"/>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9219" name="Diapositiva de think-cell" r:id="rId6" imgW="395" imgH="394" progId="TCLayout.ActiveDocument.1">
                  <p:embed/>
                </p:oleObj>
              </mc:Choice>
              <mc:Fallback>
                <p:oleObj name="Diapositiva de think-cell" r:id="rId6" imgW="395" imgH="394" progId="TCLayout.ActiveDocument.1">
                  <p:embed/>
                  <p:pic>
                    <p:nvPicPr>
                      <p:cNvPr id="4" name="Objeto 3" hidden="1">
                        <a:extLst>
                          <a:ext uri="{FF2B5EF4-FFF2-40B4-BE49-F238E27FC236}">
                            <a16:creationId xmlns:a16="http://schemas.microsoft.com/office/drawing/2014/main" id="{612C927D-3748-4A4E-816E-96996793B4E7}"/>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11" name="Rectángulo 10" hidden="1">
            <a:extLst>
              <a:ext uri="{FF2B5EF4-FFF2-40B4-BE49-F238E27FC236}">
                <a16:creationId xmlns:a16="http://schemas.microsoft.com/office/drawing/2014/main" id="{5CEDD324-C245-420B-A8DC-2EEF4B0D7FE7}"/>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sym typeface="Arial" panose="020B0604020202020204" pitchFamily="34" charset="0"/>
            </a:endParaRPr>
          </a:p>
        </p:txBody>
      </p:sp>
      <p:sp>
        <p:nvSpPr>
          <p:cNvPr id="16" name="Rectángulo 15" hidden="1">
            <a:extLst>
              <a:ext uri="{FF2B5EF4-FFF2-40B4-BE49-F238E27FC236}">
                <a16:creationId xmlns:a16="http://schemas.microsoft.com/office/drawing/2014/main" id="{A70850B7-190D-46D7-A7EC-2EC403037B82}"/>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endParaRPr>
          </a:p>
        </p:txBody>
      </p:sp>
      <p:sp>
        <p:nvSpPr>
          <p:cNvPr id="12" name="Título 1">
            <a:extLst>
              <a:ext uri="{FF2B5EF4-FFF2-40B4-BE49-F238E27FC236}">
                <a16:creationId xmlns:a16="http://schemas.microsoft.com/office/drawing/2014/main" id="{AC816F7C-C4E0-4936-9568-36996F5BE48D}"/>
              </a:ext>
            </a:extLst>
          </p:cNvPr>
          <p:cNvSpPr>
            <a:spLocks noGrp="1"/>
          </p:cNvSpPr>
          <p:nvPr>
            <p:ph type="title"/>
          </p:nvPr>
        </p:nvSpPr>
        <p:spPr>
          <a:xfrm>
            <a:off x="361173" y="-31635"/>
            <a:ext cx="7032404" cy="1078128"/>
          </a:xfrm>
          <a:noFill/>
        </p:spPr>
        <p:txBody>
          <a:bodyPr vert="horz"/>
          <a:lstStyle/>
          <a:p>
            <a:r>
              <a:rPr lang="es-GT" sz="2400" b="1" dirty="0">
                <a:solidFill>
                  <a:schemeClr val="bg1"/>
                </a:solidFill>
                <a:latin typeface="+mn-lt"/>
              </a:rPr>
              <a:t>Modificaciones al presupuesto para viabilizar su ejecución en 2021</a:t>
            </a:r>
            <a:endParaRPr lang="es-GT" sz="2400" b="1" dirty="0">
              <a:solidFill>
                <a:schemeClr val="bg1"/>
              </a:solidFill>
              <a:latin typeface="Arial" panose="020B0604020202020204" pitchFamily="34" charset="0"/>
              <a:cs typeface="Arial" panose="020B0604020202020204" pitchFamily="34" charset="0"/>
            </a:endParaRPr>
          </a:p>
        </p:txBody>
      </p:sp>
      <p:sp>
        <p:nvSpPr>
          <p:cNvPr id="9" name="CuadroTexto 8">
            <a:extLst>
              <a:ext uri="{FF2B5EF4-FFF2-40B4-BE49-F238E27FC236}">
                <a16:creationId xmlns:a16="http://schemas.microsoft.com/office/drawing/2014/main" id="{3CD1E10F-8C44-430E-B521-BB96A6CFB9AA}"/>
              </a:ext>
            </a:extLst>
          </p:cNvPr>
          <p:cNvSpPr txBox="1"/>
          <p:nvPr/>
        </p:nvSpPr>
        <p:spPr>
          <a:xfrm>
            <a:off x="825761" y="1388286"/>
            <a:ext cx="7429500" cy="707886"/>
          </a:xfrm>
          <a:prstGeom prst="rect">
            <a:avLst/>
          </a:prstGeom>
          <a:solidFill>
            <a:srgbClr val="0B3963"/>
          </a:solidFill>
        </p:spPr>
        <p:txBody>
          <a:bodyPr wrap="square" rtlCol="0">
            <a:spAutoFit/>
          </a:bodyPr>
          <a:lstStyle/>
          <a:p>
            <a:r>
              <a:rPr lang="es-GT" sz="2000" b="1" dirty="0">
                <a:solidFill>
                  <a:schemeClr val="bg1"/>
                </a:solidFill>
              </a:rPr>
              <a:t>El techo presupuestario para 2021, conforme a la Ley, sigue siendo de Q107,521.5 millones</a:t>
            </a:r>
          </a:p>
        </p:txBody>
      </p:sp>
      <p:sp>
        <p:nvSpPr>
          <p:cNvPr id="10" name="CuadroTexto 9">
            <a:extLst>
              <a:ext uri="{FF2B5EF4-FFF2-40B4-BE49-F238E27FC236}">
                <a16:creationId xmlns:a16="http://schemas.microsoft.com/office/drawing/2014/main" id="{CDFDD854-62C2-481E-8382-79D5DD35334A}"/>
              </a:ext>
            </a:extLst>
          </p:cNvPr>
          <p:cNvSpPr txBox="1"/>
          <p:nvPr/>
        </p:nvSpPr>
        <p:spPr>
          <a:xfrm>
            <a:off x="2429771" y="2096172"/>
            <a:ext cx="5825490" cy="646331"/>
          </a:xfrm>
          <a:prstGeom prst="rect">
            <a:avLst/>
          </a:prstGeom>
          <a:solidFill>
            <a:srgbClr val="0385B3"/>
          </a:solidFill>
        </p:spPr>
        <p:txBody>
          <a:bodyPr wrap="square" rtlCol="0">
            <a:spAutoFit/>
          </a:bodyPr>
          <a:lstStyle/>
          <a:p>
            <a:pPr algn="ctr"/>
            <a:r>
              <a:rPr lang="es-GT" b="1" dirty="0">
                <a:solidFill>
                  <a:schemeClr val="bg1"/>
                </a:solidFill>
              </a:rPr>
              <a:t>Modificaciones presupuestarias, revelan que el espacio “real” para ejecutar gasto público es de Q94,354.0 millones</a:t>
            </a:r>
          </a:p>
        </p:txBody>
      </p:sp>
      <p:sp>
        <p:nvSpPr>
          <p:cNvPr id="13" name="Flecha: hacia abajo 12">
            <a:extLst>
              <a:ext uri="{FF2B5EF4-FFF2-40B4-BE49-F238E27FC236}">
                <a16:creationId xmlns:a16="http://schemas.microsoft.com/office/drawing/2014/main" id="{99E3A4CA-A257-40C1-AE05-1FE155D2A386}"/>
              </a:ext>
            </a:extLst>
          </p:cNvPr>
          <p:cNvSpPr/>
          <p:nvPr/>
        </p:nvSpPr>
        <p:spPr>
          <a:xfrm>
            <a:off x="5547292" y="2799005"/>
            <a:ext cx="834457" cy="764058"/>
          </a:xfrm>
          <a:prstGeom prst="downArrow">
            <a:avLst/>
          </a:prstGeom>
          <a:solidFill>
            <a:srgbClr val="0385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GT"/>
          </a:p>
        </p:txBody>
      </p:sp>
      <p:sp>
        <p:nvSpPr>
          <p:cNvPr id="14" name="CuadroTexto 13">
            <a:extLst>
              <a:ext uri="{FF2B5EF4-FFF2-40B4-BE49-F238E27FC236}">
                <a16:creationId xmlns:a16="http://schemas.microsoft.com/office/drawing/2014/main" id="{ADFEDC74-B9AD-4F1F-A73C-7D8B1BAF7D8F}"/>
              </a:ext>
            </a:extLst>
          </p:cNvPr>
          <p:cNvSpPr txBox="1"/>
          <p:nvPr/>
        </p:nvSpPr>
        <p:spPr>
          <a:xfrm>
            <a:off x="2295524" y="3388203"/>
            <a:ext cx="1817370" cy="400110"/>
          </a:xfrm>
          <a:prstGeom prst="rect">
            <a:avLst/>
          </a:prstGeom>
          <a:noFill/>
        </p:spPr>
        <p:txBody>
          <a:bodyPr wrap="square" rtlCol="0">
            <a:spAutoFit/>
          </a:bodyPr>
          <a:lstStyle/>
          <a:p>
            <a:pPr algn="ctr"/>
            <a:r>
              <a:rPr lang="es-GT" sz="2000" b="1" dirty="0">
                <a:solidFill>
                  <a:srgbClr val="0B3963"/>
                </a:solidFill>
              </a:rPr>
              <a:t>Ingresos</a:t>
            </a:r>
          </a:p>
        </p:txBody>
      </p:sp>
      <p:graphicFrame>
        <p:nvGraphicFramePr>
          <p:cNvPr id="15" name="Gráfico 14">
            <a:extLst>
              <a:ext uri="{FF2B5EF4-FFF2-40B4-BE49-F238E27FC236}">
                <a16:creationId xmlns:a16="http://schemas.microsoft.com/office/drawing/2014/main" id="{3D123A5B-129A-404A-BA83-C7794ABB9289}"/>
              </a:ext>
            </a:extLst>
          </p:cNvPr>
          <p:cNvGraphicFramePr/>
          <p:nvPr>
            <p:extLst>
              <p:ext uri="{D42A27DB-BD31-4B8C-83A1-F6EECF244321}">
                <p14:modId xmlns:p14="http://schemas.microsoft.com/office/powerpoint/2010/main" val="259449730"/>
              </p:ext>
            </p:extLst>
          </p:nvPr>
        </p:nvGraphicFramePr>
        <p:xfrm>
          <a:off x="379297" y="3737923"/>
          <a:ext cx="5707825" cy="2755624"/>
        </p:xfrm>
        <a:graphic>
          <a:graphicData uri="http://schemas.openxmlformats.org/drawingml/2006/chart">
            <c:chart xmlns:c="http://schemas.openxmlformats.org/drawingml/2006/chart" xmlns:r="http://schemas.openxmlformats.org/officeDocument/2006/relationships" r:id="rId8"/>
          </a:graphicData>
        </a:graphic>
      </p:graphicFrame>
      <p:sp>
        <p:nvSpPr>
          <p:cNvPr id="17" name="CuadroTexto 16">
            <a:extLst>
              <a:ext uri="{FF2B5EF4-FFF2-40B4-BE49-F238E27FC236}">
                <a16:creationId xmlns:a16="http://schemas.microsoft.com/office/drawing/2014/main" id="{C522C8D9-19B1-4202-8704-B3C8051F6839}"/>
              </a:ext>
            </a:extLst>
          </p:cNvPr>
          <p:cNvSpPr txBox="1"/>
          <p:nvPr/>
        </p:nvSpPr>
        <p:spPr>
          <a:xfrm>
            <a:off x="7878320" y="3388203"/>
            <a:ext cx="1817370" cy="400110"/>
          </a:xfrm>
          <a:prstGeom prst="rect">
            <a:avLst/>
          </a:prstGeom>
          <a:noFill/>
        </p:spPr>
        <p:txBody>
          <a:bodyPr wrap="square" rtlCol="0">
            <a:spAutoFit/>
          </a:bodyPr>
          <a:lstStyle/>
          <a:p>
            <a:pPr algn="ctr"/>
            <a:r>
              <a:rPr lang="es-GT" sz="2000" b="1" dirty="0">
                <a:solidFill>
                  <a:srgbClr val="0B3963"/>
                </a:solidFill>
              </a:rPr>
              <a:t>Egresos</a:t>
            </a:r>
          </a:p>
        </p:txBody>
      </p:sp>
      <p:graphicFrame>
        <p:nvGraphicFramePr>
          <p:cNvPr id="18" name="Gráfico 17">
            <a:extLst>
              <a:ext uri="{FF2B5EF4-FFF2-40B4-BE49-F238E27FC236}">
                <a16:creationId xmlns:a16="http://schemas.microsoft.com/office/drawing/2014/main" id="{46E67480-2EBE-4F3E-BDCD-68C6C0B7FDD1}"/>
              </a:ext>
            </a:extLst>
          </p:cNvPr>
          <p:cNvGraphicFramePr/>
          <p:nvPr>
            <p:extLst>
              <p:ext uri="{D42A27DB-BD31-4B8C-83A1-F6EECF244321}">
                <p14:modId xmlns:p14="http://schemas.microsoft.com/office/powerpoint/2010/main" val="3704306832"/>
              </p:ext>
            </p:extLst>
          </p:nvPr>
        </p:nvGraphicFramePr>
        <p:xfrm>
          <a:off x="6062265" y="3715929"/>
          <a:ext cx="5314847" cy="2971797"/>
        </p:xfrm>
        <a:graphic>
          <a:graphicData uri="http://schemas.openxmlformats.org/drawingml/2006/chart">
            <c:chart xmlns:c="http://schemas.openxmlformats.org/drawingml/2006/chart" xmlns:r="http://schemas.openxmlformats.org/officeDocument/2006/relationships" r:id="rId9"/>
          </a:graphicData>
        </a:graphic>
      </p:graphicFrame>
    </p:spTree>
    <p:custDataLst>
      <p:tags r:id="rId2"/>
    </p:custDataLst>
    <p:extLst>
      <p:ext uri="{BB962C8B-B14F-4D97-AF65-F5344CB8AC3E}">
        <p14:creationId xmlns:p14="http://schemas.microsoft.com/office/powerpoint/2010/main" val="29330544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612C927D-3748-4A4E-816E-96996793B4E7}"/>
              </a:ext>
            </a:extLst>
          </p:cNvPr>
          <p:cNvGraphicFramePr>
            <a:graphicFrameLocks noChangeAspect="1"/>
          </p:cNvGraphicFramePr>
          <p:nvPr>
            <p:custDataLst>
              <p:tags r:id="rId3"/>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31745" name="Diapositiva de think-cell" r:id="rId6" imgW="395" imgH="394" progId="TCLayout.ActiveDocument.1">
                  <p:embed/>
                </p:oleObj>
              </mc:Choice>
              <mc:Fallback>
                <p:oleObj name="Diapositiva de think-cell" r:id="rId6" imgW="395" imgH="394" progId="TCLayout.ActiveDocument.1">
                  <p:embed/>
                  <p:pic>
                    <p:nvPicPr>
                      <p:cNvPr id="4" name="Objeto 3" hidden="1">
                        <a:extLst>
                          <a:ext uri="{FF2B5EF4-FFF2-40B4-BE49-F238E27FC236}">
                            <a16:creationId xmlns:a16="http://schemas.microsoft.com/office/drawing/2014/main" id="{612C927D-3748-4A4E-816E-96996793B4E7}"/>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11" name="Rectángulo 10" hidden="1">
            <a:extLst>
              <a:ext uri="{FF2B5EF4-FFF2-40B4-BE49-F238E27FC236}">
                <a16:creationId xmlns:a16="http://schemas.microsoft.com/office/drawing/2014/main" id="{5CEDD324-C245-420B-A8DC-2EEF4B0D7FE7}"/>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sym typeface="Arial" panose="020B0604020202020204" pitchFamily="34" charset="0"/>
            </a:endParaRPr>
          </a:p>
        </p:txBody>
      </p:sp>
      <p:sp>
        <p:nvSpPr>
          <p:cNvPr id="16" name="Rectángulo 15" hidden="1">
            <a:extLst>
              <a:ext uri="{FF2B5EF4-FFF2-40B4-BE49-F238E27FC236}">
                <a16:creationId xmlns:a16="http://schemas.microsoft.com/office/drawing/2014/main" id="{A70850B7-190D-46D7-A7EC-2EC403037B82}"/>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endParaRPr>
          </a:p>
        </p:txBody>
      </p:sp>
      <p:sp>
        <p:nvSpPr>
          <p:cNvPr id="12" name="Título 1">
            <a:extLst>
              <a:ext uri="{FF2B5EF4-FFF2-40B4-BE49-F238E27FC236}">
                <a16:creationId xmlns:a16="http://schemas.microsoft.com/office/drawing/2014/main" id="{AC816F7C-C4E0-4936-9568-36996F5BE48D}"/>
              </a:ext>
            </a:extLst>
          </p:cNvPr>
          <p:cNvSpPr>
            <a:spLocks noGrp="1"/>
          </p:cNvSpPr>
          <p:nvPr>
            <p:ph type="title"/>
          </p:nvPr>
        </p:nvSpPr>
        <p:spPr>
          <a:xfrm>
            <a:off x="453156" y="46228"/>
            <a:ext cx="6239744" cy="1033984"/>
          </a:xfrm>
          <a:noFill/>
        </p:spPr>
        <p:txBody>
          <a:bodyPr vert="horz"/>
          <a:lstStyle/>
          <a:p>
            <a:r>
              <a:rPr lang="es-US" sz="2400" b="1" dirty="0">
                <a:solidFill>
                  <a:schemeClr val="bg1"/>
                </a:solidFill>
                <a:latin typeface="+mn-lt"/>
              </a:rPr>
              <a:t>Recaudación a julio 2021 muestra un alto dinamismo</a:t>
            </a:r>
            <a:endParaRPr lang="es-GT" sz="2400" b="1" dirty="0">
              <a:solidFill>
                <a:schemeClr val="bg1"/>
              </a:solidFill>
              <a:latin typeface="+mn-lt"/>
            </a:endParaRPr>
          </a:p>
        </p:txBody>
      </p:sp>
      <p:sp>
        <p:nvSpPr>
          <p:cNvPr id="15" name="Título 3">
            <a:extLst>
              <a:ext uri="{FF2B5EF4-FFF2-40B4-BE49-F238E27FC236}">
                <a16:creationId xmlns:a16="http://schemas.microsoft.com/office/drawing/2014/main" id="{F63787ED-9194-4F58-AEBB-48C7865A1EFB}"/>
              </a:ext>
            </a:extLst>
          </p:cNvPr>
          <p:cNvSpPr txBox="1">
            <a:spLocks/>
          </p:cNvSpPr>
          <p:nvPr/>
        </p:nvSpPr>
        <p:spPr>
          <a:xfrm>
            <a:off x="604236" y="646250"/>
            <a:ext cx="10515600" cy="13255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GT" sz="1800" b="1" dirty="0">
                <a:solidFill>
                  <a:srgbClr val="0B3963"/>
                </a:solidFill>
                <a:latin typeface="+mn-lt"/>
              </a:rPr>
              <a:t>Variación interanual Acumulada de recaudación tributaria</a:t>
            </a:r>
            <a:br>
              <a:rPr lang="es-GT" sz="1800" b="1" dirty="0">
                <a:solidFill>
                  <a:srgbClr val="0B3963"/>
                </a:solidFill>
                <a:latin typeface="+mn-lt"/>
              </a:rPr>
            </a:br>
            <a:r>
              <a:rPr lang="es-GT" sz="1600" dirty="0">
                <a:solidFill>
                  <a:srgbClr val="0385B3"/>
                </a:solidFill>
                <a:latin typeface="+mn-lt"/>
              </a:rPr>
              <a:t>Porcentajes 2021/2020</a:t>
            </a:r>
            <a:endParaRPr lang="es-GT" sz="1800" dirty="0">
              <a:solidFill>
                <a:srgbClr val="0385B3"/>
              </a:solidFill>
              <a:latin typeface="+mn-lt"/>
            </a:endParaRPr>
          </a:p>
        </p:txBody>
      </p:sp>
      <p:graphicFrame>
        <p:nvGraphicFramePr>
          <p:cNvPr id="14" name="Marcador de contenido 7">
            <a:extLst>
              <a:ext uri="{FF2B5EF4-FFF2-40B4-BE49-F238E27FC236}">
                <a16:creationId xmlns:a16="http://schemas.microsoft.com/office/drawing/2014/main" id="{FA6BFE9B-80EF-4EAB-A7C5-2414AD3A5734}"/>
              </a:ext>
            </a:extLst>
          </p:cNvPr>
          <p:cNvGraphicFramePr>
            <a:graphicFrameLocks/>
          </p:cNvGraphicFramePr>
          <p:nvPr>
            <p:extLst>
              <p:ext uri="{D42A27DB-BD31-4B8C-83A1-F6EECF244321}">
                <p14:modId xmlns:p14="http://schemas.microsoft.com/office/powerpoint/2010/main" val="1126274427"/>
              </p:ext>
            </p:extLst>
          </p:nvPr>
        </p:nvGraphicFramePr>
        <p:xfrm>
          <a:off x="313554" y="1647739"/>
          <a:ext cx="10945982" cy="5233145"/>
        </p:xfrm>
        <a:graphic>
          <a:graphicData uri="http://schemas.openxmlformats.org/drawingml/2006/chart">
            <c:chart xmlns:c="http://schemas.openxmlformats.org/drawingml/2006/chart" xmlns:r="http://schemas.openxmlformats.org/officeDocument/2006/relationships" r:id="rId8"/>
          </a:graphicData>
        </a:graphic>
      </p:graphicFrame>
    </p:spTree>
    <p:custDataLst>
      <p:tags r:id="rId2"/>
    </p:custDataLst>
    <p:extLst>
      <p:ext uri="{BB962C8B-B14F-4D97-AF65-F5344CB8AC3E}">
        <p14:creationId xmlns:p14="http://schemas.microsoft.com/office/powerpoint/2010/main" val="23152721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612C927D-3748-4A4E-816E-96996793B4E7}"/>
              </a:ext>
            </a:extLst>
          </p:cNvPr>
          <p:cNvGraphicFramePr>
            <a:graphicFrameLocks noChangeAspect="1"/>
          </p:cNvGraphicFramePr>
          <p:nvPr>
            <p:custDataLst>
              <p:tags r:id="rId3"/>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1267" name="Diapositiva de think-cell" r:id="rId6" imgW="395" imgH="394" progId="TCLayout.ActiveDocument.1">
                  <p:embed/>
                </p:oleObj>
              </mc:Choice>
              <mc:Fallback>
                <p:oleObj name="Diapositiva de think-cell" r:id="rId6" imgW="395" imgH="394" progId="TCLayout.ActiveDocument.1">
                  <p:embed/>
                  <p:pic>
                    <p:nvPicPr>
                      <p:cNvPr id="4" name="Objeto 3" hidden="1">
                        <a:extLst>
                          <a:ext uri="{FF2B5EF4-FFF2-40B4-BE49-F238E27FC236}">
                            <a16:creationId xmlns:a16="http://schemas.microsoft.com/office/drawing/2014/main" id="{612C927D-3748-4A4E-816E-96996793B4E7}"/>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11" name="Rectángulo 10" hidden="1">
            <a:extLst>
              <a:ext uri="{FF2B5EF4-FFF2-40B4-BE49-F238E27FC236}">
                <a16:creationId xmlns:a16="http://schemas.microsoft.com/office/drawing/2014/main" id="{5CEDD324-C245-420B-A8DC-2EEF4B0D7FE7}"/>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sym typeface="Arial" panose="020B0604020202020204" pitchFamily="34" charset="0"/>
            </a:endParaRPr>
          </a:p>
        </p:txBody>
      </p:sp>
      <p:sp>
        <p:nvSpPr>
          <p:cNvPr id="16" name="Rectángulo 15" hidden="1">
            <a:extLst>
              <a:ext uri="{FF2B5EF4-FFF2-40B4-BE49-F238E27FC236}">
                <a16:creationId xmlns:a16="http://schemas.microsoft.com/office/drawing/2014/main" id="{A70850B7-190D-46D7-A7EC-2EC403037B82}"/>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endParaRPr>
          </a:p>
        </p:txBody>
      </p:sp>
      <p:sp>
        <p:nvSpPr>
          <p:cNvPr id="12" name="Título 1">
            <a:extLst>
              <a:ext uri="{FF2B5EF4-FFF2-40B4-BE49-F238E27FC236}">
                <a16:creationId xmlns:a16="http://schemas.microsoft.com/office/drawing/2014/main" id="{AC816F7C-C4E0-4936-9568-36996F5BE48D}"/>
              </a:ext>
            </a:extLst>
          </p:cNvPr>
          <p:cNvSpPr>
            <a:spLocks noGrp="1"/>
          </p:cNvSpPr>
          <p:nvPr>
            <p:ph type="title"/>
          </p:nvPr>
        </p:nvSpPr>
        <p:spPr>
          <a:xfrm>
            <a:off x="269187" y="16505"/>
            <a:ext cx="7529338" cy="1053512"/>
          </a:xfrm>
          <a:noFill/>
        </p:spPr>
        <p:txBody>
          <a:bodyPr vert="horz">
            <a:normAutofit fontScale="90000"/>
          </a:bodyPr>
          <a:lstStyle/>
          <a:p>
            <a:pPr algn="just"/>
            <a:r>
              <a:rPr lang="es-US" sz="2400" b="1" dirty="0">
                <a:solidFill>
                  <a:schemeClr val="bg1"/>
                </a:solidFill>
                <a:latin typeface="+mn-lt"/>
              </a:rPr>
              <a:t>La brecha de recaudación tributaria respecto a la meta de presupuesto es positiva a julio y asciende a Q7,412.5 millones</a:t>
            </a:r>
            <a:endParaRPr lang="es-GT" sz="2400" b="1" dirty="0">
              <a:solidFill>
                <a:schemeClr val="bg1"/>
              </a:solidFill>
              <a:latin typeface="+mn-lt"/>
            </a:endParaRPr>
          </a:p>
        </p:txBody>
      </p:sp>
      <p:graphicFrame>
        <p:nvGraphicFramePr>
          <p:cNvPr id="20" name="Marcador de contenido 11">
            <a:extLst>
              <a:ext uri="{FF2B5EF4-FFF2-40B4-BE49-F238E27FC236}">
                <a16:creationId xmlns:a16="http://schemas.microsoft.com/office/drawing/2014/main" id="{B455B004-82D1-4726-8725-CD49229C2A54}"/>
              </a:ext>
            </a:extLst>
          </p:cNvPr>
          <p:cNvGraphicFramePr>
            <a:graphicFrameLocks noGrp="1"/>
          </p:cNvGraphicFramePr>
          <p:nvPr>
            <p:ph sz="half" idx="1"/>
            <p:extLst>
              <p:ext uri="{D42A27DB-BD31-4B8C-83A1-F6EECF244321}">
                <p14:modId xmlns:p14="http://schemas.microsoft.com/office/powerpoint/2010/main" val="1571196965"/>
              </p:ext>
            </p:extLst>
          </p:nvPr>
        </p:nvGraphicFramePr>
        <p:xfrm>
          <a:off x="0" y="1446297"/>
          <a:ext cx="5403506" cy="52188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1" name="Marcador de contenido 15">
            <a:extLst>
              <a:ext uri="{FF2B5EF4-FFF2-40B4-BE49-F238E27FC236}">
                <a16:creationId xmlns:a16="http://schemas.microsoft.com/office/drawing/2014/main" id="{83FF15E1-7D8D-41ED-92E6-0F6B3DF9F53D}"/>
              </a:ext>
            </a:extLst>
          </p:cNvPr>
          <p:cNvGraphicFramePr>
            <a:graphicFrameLocks/>
          </p:cNvGraphicFramePr>
          <p:nvPr>
            <p:extLst>
              <p:ext uri="{D42A27DB-BD31-4B8C-83A1-F6EECF244321}">
                <p14:modId xmlns:p14="http://schemas.microsoft.com/office/powerpoint/2010/main" val="232735868"/>
              </p:ext>
            </p:extLst>
          </p:nvPr>
        </p:nvGraphicFramePr>
        <p:xfrm>
          <a:off x="5050679" y="1070017"/>
          <a:ext cx="6888771" cy="5595155"/>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custDataLst>
      <p:tags r:id="rId2"/>
    </p:custDataLst>
    <p:extLst>
      <p:ext uri="{BB962C8B-B14F-4D97-AF65-F5344CB8AC3E}">
        <p14:creationId xmlns:p14="http://schemas.microsoft.com/office/powerpoint/2010/main" val="20663858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612C927D-3748-4A4E-816E-96996793B4E7}"/>
              </a:ext>
            </a:extLst>
          </p:cNvPr>
          <p:cNvGraphicFramePr>
            <a:graphicFrameLocks noChangeAspect="1"/>
          </p:cNvGraphicFramePr>
          <p:nvPr>
            <p:custDataLst>
              <p:tags r:id="rId3"/>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2291" name="Diapositiva de think-cell" r:id="rId6" imgW="395" imgH="394" progId="TCLayout.ActiveDocument.1">
                  <p:embed/>
                </p:oleObj>
              </mc:Choice>
              <mc:Fallback>
                <p:oleObj name="Diapositiva de think-cell" r:id="rId6" imgW="395" imgH="394" progId="TCLayout.ActiveDocument.1">
                  <p:embed/>
                  <p:pic>
                    <p:nvPicPr>
                      <p:cNvPr id="4" name="Objeto 3" hidden="1">
                        <a:extLst>
                          <a:ext uri="{FF2B5EF4-FFF2-40B4-BE49-F238E27FC236}">
                            <a16:creationId xmlns:a16="http://schemas.microsoft.com/office/drawing/2014/main" id="{612C927D-3748-4A4E-816E-96996793B4E7}"/>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11" name="Rectángulo 10" hidden="1">
            <a:extLst>
              <a:ext uri="{FF2B5EF4-FFF2-40B4-BE49-F238E27FC236}">
                <a16:creationId xmlns:a16="http://schemas.microsoft.com/office/drawing/2014/main" id="{5CEDD324-C245-420B-A8DC-2EEF4B0D7FE7}"/>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sym typeface="Arial" panose="020B0604020202020204" pitchFamily="34" charset="0"/>
            </a:endParaRPr>
          </a:p>
        </p:txBody>
      </p:sp>
      <p:sp>
        <p:nvSpPr>
          <p:cNvPr id="16" name="Rectángulo 15" hidden="1">
            <a:extLst>
              <a:ext uri="{FF2B5EF4-FFF2-40B4-BE49-F238E27FC236}">
                <a16:creationId xmlns:a16="http://schemas.microsoft.com/office/drawing/2014/main" id="{A70850B7-190D-46D7-A7EC-2EC403037B82}"/>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endParaRPr>
          </a:p>
        </p:txBody>
      </p:sp>
      <p:graphicFrame>
        <p:nvGraphicFramePr>
          <p:cNvPr id="10" name="Tabla 4">
            <a:extLst>
              <a:ext uri="{FF2B5EF4-FFF2-40B4-BE49-F238E27FC236}">
                <a16:creationId xmlns:a16="http://schemas.microsoft.com/office/drawing/2014/main" id="{DF622A7A-8048-4535-8954-CCC36B1D104C}"/>
              </a:ext>
            </a:extLst>
          </p:cNvPr>
          <p:cNvGraphicFramePr>
            <a:graphicFrameLocks noGrp="1"/>
          </p:cNvGraphicFramePr>
          <p:nvPr>
            <p:extLst>
              <p:ext uri="{D42A27DB-BD31-4B8C-83A1-F6EECF244321}">
                <p14:modId xmlns:p14="http://schemas.microsoft.com/office/powerpoint/2010/main" val="3183142064"/>
              </p:ext>
            </p:extLst>
          </p:nvPr>
        </p:nvGraphicFramePr>
        <p:xfrm>
          <a:off x="1423851" y="1504805"/>
          <a:ext cx="9483636" cy="5029200"/>
        </p:xfrm>
        <a:graphic>
          <a:graphicData uri="http://schemas.openxmlformats.org/drawingml/2006/table">
            <a:tbl>
              <a:tblPr firstRow="1" bandRow="1">
                <a:tableStyleId>{69012ECD-51FC-41F1-AA8D-1B2483CD663E}</a:tableStyleId>
              </a:tblPr>
              <a:tblGrid>
                <a:gridCol w="3620821">
                  <a:extLst>
                    <a:ext uri="{9D8B030D-6E8A-4147-A177-3AD203B41FA5}">
                      <a16:colId xmlns:a16="http://schemas.microsoft.com/office/drawing/2014/main" val="4250551680"/>
                    </a:ext>
                  </a:extLst>
                </a:gridCol>
                <a:gridCol w="1271486">
                  <a:extLst>
                    <a:ext uri="{9D8B030D-6E8A-4147-A177-3AD203B41FA5}">
                      <a16:colId xmlns:a16="http://schemas.microsoft.com/office/drawing/2014/main" val="1711621162"/>
                    </a:ext>
                  </a:extLst>
                </a:gridCol>
                <a:gridCol w="1772951">
                  <a:extLst>
                    <a:ext uri="{9D8B030D-6E8A-4147-A177-3AD203B41FA5}">
                      <a16:colId xmlns:a16="http://schemas.microsoft.com/office/drawing/2014/main" val="2781292659"/>
                    </a:ext>
                  </a:extLst>
                </a:gridCol>
                <a:gridCol w="1229361">
                  <a:extLst>
                    <a:ext uri="{9D8B030D-6E8A-4147-A177-3AD203B41FA5}">
                      <a16:colId xmlns:a16="http://schemas.microsoft.com/office/drawing/2014/main" val="3725735292"/>
                    </a:ext>
                  </a:extLst>
                </a:gridCol>
                <a:gridCol w="1589017">
                  <a:extLst>
                    <a:ext uri="{9D8B030D-6E8A-4147-A177-3AD203B41FA5}">
                      <a16:colId xmlns:a16="http://schemas.microsoft.com/office/drawing/2014/main" val="1795379704"/>
                    </a:ext>
                  </a:extLst>
                </a:gridCol>
              </a:tblGrid>
              <a:tr h="357022">
                <a:tc rowSpan="2">
                  <a:txBody>
                    <a:bodyPr/>
                    <a:lstStyle/>
                    <a:p>
                      <a:r>
                        <a:rPr lang="es-GT" dirty="0"/>
                        <a:t>Variables en millones</a:t>
                      </a:r>
                    </a:p>
                  </a:txBody>
                  <a:tcPr anchor="ctr">
                    <a:lnL w="1270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B3963"/>
                    </a:solidFill>
                  </a:tcPr>
                </a:tc>
                <a:tc rowSpan="2">
                  <a:txBody>
                    <a:bodyPr/>
                    <a:lstStyle/>
                    <a:p>
                      <a:pPr algn="ctr"/>
                      <a:r>
                        <a:rPr lang="es-GT" dirty="0"/>
                        <a:t>202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B3963"/>
                    </a:solidFill>
                  </a:tcPr>
                </a:tc>
                <a:tc gridSpan="3">
                  <a:txBody>
                    <a:bodyPr/>
                    <a:lstStyle/>
                    <a:p>
                      <a:pPr algn="ctr"/>
                      <a:r>
                        <a:rPr lang="es-GT" dirty="0"/>
                        <a:t>2021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B3963"/>
                    </a:solidFill>
                  </a:tcPr>
                </a:tc>
                <a:tc hMerge="1">
                  <a:txBody>
                    <a:bodyPr/>
                    <a:lstStyle/>
                    <a:p>
                      <a:endParaRPr lang="es-GT"/>
                    </a:p>
                  </a:txBody>
                  <a:tcPr/>
                </a:tc>
                <a:tc hMerge="1">
                  <a:txBody>
                    <a:bodyPr/>
                    <a:lstStyle/>
                    <a:p>
                      <a:pPr algn="ctr"/>
                      <a:endParaRPr lang="es-GT"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223435839"/>
                  </a:ext>
                </a:extLst>
              </a:tr>
              <a:tr h="624789">
                <a:tc vMerge="1">
                  <a:txBody>
                    <a:bodyPr/>
                    <a:lstStyle/>
                    <a:p>
                      <a:endParaRPr lang="es-GT"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vMerge="1">
                  <a:txBody>
                    <a:bodyPr/>
                    <a:lstStyle/>
                    <a:p>
                      <a:endParaRPr lang="es-GT"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GT" b="1" dirty="0">
                          <a:solidFill>
                            <a:schemeClr val="bg1"/>
                          </a:solidFill>
                        </a:rPr>
                        <a:t>Esc. Bajo (DICIEMBR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B396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GT" b="1" dirty="0">
                          <a:solidFill>
                            <a:schemeClr val="bg1"/>
                          </a:solidFill>
                        </a:rPr>
                        <a:t>Esc. Bajo (ABRIL)</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B3963"/>
                    </a:solidFill>
                  </a:tcPr>
                </a:tc>
                <a:tc>
                  <a:txBody>
                    <a:bodyPr/>
                    <a:lstStyle/>
                    <a:p>
                      <a:pPr algn="ctr"/>
                      <a:r>
                        <a:rPr lang="es-GT" b="1" dirty="0">
                          <a:solidFill>
                            <a:schemeClr val="bg1"/>
                          </a:solidFill>
                        </a:rPr>
                        <a:t>Esc. Bajo</a:t>
                      </a:r>
                    </a:p>
                    <a:p>
                      <a:pPr algn="ctr"/>
                      <a:r>
                        <a:rPr lang="es-GT" b="1" dirty="0">
                          <a:solidFill>
                            <a:schemeClr val="bg1"/>
                          </a:solidFill>
                        </a:rPr>
                        <a:t>(JULIO)</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B3963"/>
                    </a:solidFill>
                  </a:tcPr>
                </a:tc>
                <a:extLst>
                  <a:ext uri="{0D108BD9-81ED-4DB2-BD59-A6C34878D82A}">
                    <a16:rowId xmlns:a16="http://schemas.microsoft.com/office/drawing/2014/main" val="3947713643"/>
                  </a:ext>
                </a:extLst>
              </a:tr>
              <a:tr h="357022">
                <a:tc rowSpan="2">
                  <a:txBody>
                    <a:bodyPr/>
                    <a:lstStyle/>
                    <a:p>
                      <a:r>
                        <a:rPr lang="es-GT" dirty="0"/>
                        <a:t>PIB real Q.</a:t>
                      </a:r>
                    </a:p>
                    <a:p>
                      <a:r>
                        <a:rPr lang="es-GT" b="1" dirty="0"/>
                        <a:t>    Variación %</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GT" dirty="0"/>
                        <a:t>506,368.0</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s-GT" sz="1800" b="0" i="0" u="none" strike="noStrike" dirty="0">
                          <a:solidFill>
                            <a:srgbClr val="000000"/>
                          </a:solidFill>
                          <a:effectLst/>
                          <a:latin typeface="Calibri" panose="020F0502020204030204" pitchFamily="34" charset="0"/>
                        </a:rPr>
                        <a:t>518,208.3</a:t>
                      </a:r>
                    </a:p>
                  </a:txBody>
                  <a:tcPr marL="7620" marR="7620" marT="7620" marB="0" anchor="ctr">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s-GT" dirty="0"/>
                        <a:t>521,423.0</a:t>
                      </a:r>
                    </a:p>
                  </a:txBody>
                  <a:tcPr anchor="ctr">
                    <a:lnL w="12700" cap="flat" cmpd="sng" algn="ctr">
                      <a:no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b"/>
                      <a:r>
                        <a:rPr lang="es-GT" sz="1800" b="0" i="0" u="none" strike="noStrike" dirty="0">
                          <a:solidFill>
                            <a:srgbClr val="000000"/>
                          </a:solidFill>
                          <a:effectLst/>
                          <a:latin typeface="Calibri" panose="020F0502020204030204" pitchFamily="34" charset="0"/>
                        </a:rPr>
                        <a:t>526,688.1</a:t>
                      </a:r>
                    </a:p>
                  </a:txBody>
                  <a:tcPr marL="7620" marR="7620" marT="762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182551297"/>
                  </a:ext>
                </a:extLst>
              </a:tr>
              <a:tr h="357022">
                <a:tc vMerge="1">
                  <a:txBody>
                    <a:bodyPr/>
                    <a:lstStyle/>
                    <a:p>
                      <a:endParaRPr lang="es-GT"/>
                    </a:p>
                  </a:txBody>
                  <a:tcPr/>
                </a:tc>
                <a:tc>
                  <a:txBody>
                    <a:bodyPr/>
                    <a:lstStyle/>
                    <a:p>
                      <a:pPr algn="ctr"/>
                      <a:r>
                        <a:rPr lang="es-GT" b="1" dirty="0"/>
                        <a:t>-1.5</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s-GT" sz="1800" b="1" i="0" u="none" strike="noStrike" dirty="0">
                          <a:solidFill>
                            <a:srgbClr val="000000"/>
                          </a:solidFill>
                          <a:effectLst/>
                          <a:latin typeface="Calibri" panose="020F0502020204030204" pitchFamily="34" charset="0"/>
                        </a:rPr>
                        <a:t>2.5</a:t>
                      </a:r>
                    </a:p>
                  </a:txBody>
                  <a:tcPr marL="7620" marR="7620" marT="7620" marB="0" anchor="ctr">
                    <a:lnL w="12700" cap="flat" cmpd="sng" algn="ctr">
                      <a:solidFill>
                        <a:schemeClr val="accent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s-GT" b="1" dirty="0"/>
                        <a:t>3.0</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b"/>
                      <a:r>
                        <a:rPr lang="es-GT" sz="1800" b="1" i="0" u="none" strike="noStrike" dirty="0">
                          <a:solidFill>
                            <a:srgbClr val="000000"/>
                          </a:solidFill>
                          <a:effectLst/>
                          <a:latin typeface="Calibri" panose="020F0502020204030204" pitchFamily="34" charset="0"/>
                        </a:rPr>
                        <a:t>4.0</a:t>
                      </a:r>
                    </a:p>
                  </a:txBody>
                  <a:tcPr marL="7620" marR="7620" marT="762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872248052"/>
                  </a:ext>
                </a:extLst>
              </a:tr>
              <a:tr h="357022">
                <a:tc rowSpan="2">
                  <a:txBody>
                    <a:bodyPr/>
                    <a:lstStyle/>
                    <a:p>
                      <a:r>
                        <a:rPr lang="es-GT" dirty="0"/>
                        <a:t>PIB nominal Q.</a:t>
                      </a:r>
                    </a:p>
                    <a:p>
                      <a:r>
                        <a:rPr lang="es-GT" b="1" dirty="0"/>
                        <a:t>    Variación %</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GT" dirty="0"/>
                        <a:t>599,235.8</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tcPr>
                </a:tc>
                <a:tc>
                  <a:txBody>
                    <a:bodyPr/>
                    <a:lstStyle/>
                    <a:p>
                      <a:pPr algn="ctr" fontAlgn="b"/>
                      <a:r>
                        <a:rPr lang="es-GT" sz="1800" b="0" i="0" u="none" strike="noStrike" dirty="0">
                          <a:solidFill>
                            <a:srgbClr val="000000"/>
                          </a:solidFill>
                          <a:effectLst/>
                          <a:latin typeface="Calibri" panose="020F0502020204030204" pitchFamily="34" charset="0"/>
                        </a:rPr>
                        <a:t>629,092.0</a:t>
                      </a:r>
                    </a:p>
                  </a:txBody>
                  <a:tcPr marL="7620" marR="7620" marT="7620" marB="0" anchor="ctr">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s-GT" dirty="0"/>
                        <a:t>636,580.5</a:t>
                      </a:r>
                    </a:p>
                  </a:txBody>
                  <a:tcPr anchor="ctr">
                    <a:lnL w="12700" cap="flat" cmpd="sng" algn="ctr">
                      <a:no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b"/>
                      <a:r>
                        <a:rPr lang="es-GT" sz="1800" b="0" i="0" u="none" strike="noStrike" dirty="0">
                          <a:solidFill>
                            <a:srgbClr val="000000"/>
                          </a:solidFill>
                          <a:effectLst/>
                          <a:latin typeface="Calibri" panose="020F0502020204030204" pitchFamily="34" charset="0"/>
                        </a:rPr>
                        <a:t>645,421.8</a:t>
                      </a:r>
                    </a:p>
                  </a:txBody>
                  <a:tcPr marL="7620" marR="7620" marT="762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75837060"/>
                  </a:ext>
                </a:extLst>
              </a:tr>
              <a:tr h="357022">
                <a:tc vMerge="1">
                  <a:txBody>
                    <a:bodyPr/>
                    <a:lstStyle/>
                    <a:p>
                      <a:endParaRPr lang="es-GT"/>
                    </a:p>
                  </a:txBody>
                  <a:tcPr/>
                </a:tc>
                <a:tc>
                  <a:txBody>
                    <a:bodyPr/>
                    <a:lstStyle/>
                    <a:p>
                      <a:pPr algn="ctr"/>
                      <a:r>
                        <a:rPr lang="es-GT" b="1" dirty="0"/>
                        <a:t>1.1</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s-GT" sz="1800" b="1" i="0" u="none" strike="noStrike" dirty="0">
                          <a:solidFill>
                            <a:srgbClr val="000000"/>
                          </a:solidFill>
                          <a:effectLst/>
                          <a:latin typeface="Calibri" panose="020F0502020204030204" pitchFamily="34" charset="0"/>
                        </a:rPr>
                        <a:t>5.2</a:t>
                      </a:r>
                    </a:p>
                  </a:txBody>
                  <a:tcPr marL="7620" marR="7620" marT="7620" marB="0" anchor="ctr">
                    <a:lnL w="12700" cap="flat" cmpd="sng" algn="ctr">
                      <a:solidFill>
                        <a:schemeClr val="accent1"/>
                      </a:solidFill>
                      <a:prstDash val="solid"/>
                      <a:round/>
                      <a:headEnd type="none" w="med" len="med"/>
                      <a:tailEnd type="none" w="med" len="med"/>
                    </a:lnL>
                    <a:lnR>
                      <a:noFill/>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s-GT" b="1" dirty="0"/>
                        <a:t>6.2</a:t>
                      </a:r>
                    </a:p>
                  </a:txBody>
                  <a:tcPr anchor="ctr">
                    <a:lnL w="12700" cap="flat" cmpd="sng" algn="ctr">
                      <a:noFill/>
                      <a:prstDash val="solid"/>
                      <a:round/>
                      <a:headEnd type="none" w="med" len="med"/>
                      <a:tailEnd type="none" w="med" len="med"/>
                    </a:lnL>
                    <a:lnR>
                      <a:noFill/>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b"/>
                      <a:r>
                        <a:rPr lang="es-GT" sz="1800" b="1" i="0" u="none" strike="noStrike" dirty="0">
                          <a:solidFill>
                            <a:srgbClr val="000000"/>
                          </a:solidFill>
                          <a:effectLst/>
                          <a:latin typeface="Calibri" panose="020F0502020204030204" pitchFamily="34" charset="0"/>
                        </a:rPr>
                        <a:t>7.7</a:t>
                      </a:r>
                    </a:p>
                  </a:txBody>
                  <a:tcPr marL="7620" marR="7620" marT="762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848581302"/>
                  </a:ext>
                </a:extLst>
              </a:tr>
              <a:tr h="357022">
                <a:tc rowSpan="2">
                  <a:txBody>
                    <a:bodyPr/>
                    <a:lstStyle/>
                    <a:p>
                      <a:r>
                        <a:rPr lang="es-GT" dirty="0"/>
                        <a:t>Importaciones FOB $.</a:t>
                      </a:r>
                    </a:p>
                    <a:p>
                      <a:pPr marL="0" marR="0" lvl="0" indent="0" algn="l" defTabSz="914400" rtl="0" eaLnBrk="1" fontAlgn="auto" latinLnBrk="0" hangingPunct="1">
                        <a:lnSpc>
                          <a:spcPct val="100000"/>
                        </a:lnSpc>
                        <a:spcBef>
                          <a:spcPts val="0"/>
                        </a:spcBef>
                        <a:spcAft>
                          <a:spcPts val="0"/>
                        </a:spcAft>
                        <a:buClrTx/>
                        <a:buSzTx/>
                        <a:buFontTx/>
                        <a:buNone/>
                        <a:tabLst/>
                        <a:defRPr/>
                      </a:pPr>
                      <a:r>
                        <a:rPr lang="es-GT" b="1" dirty="0"/>
                        <a:t>    Variación %</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GT" dirty="0"/>
                        <a:t>16,441.2</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tcPr>
                </a:tc>
                <a:tc>
                  <a:txBody>
                    <a:bodyPr/>
                    <a:lstStyle/>
                    <a:p>
                      <a:pPr algn="ctr" fontAlgn="b"/>
                      <a:r>
                        <a:rPr lang="es-GT" sz="1800" b="0" i="0" u="none" strike="noStrike" dirty="0">
                          <a:solidFill>
                            <a:srgbClr val="000000"/>
                          </a:solidFill>
                          <a:effectLst/>
                          <a:latin typeface="Calibri" panose="020F0502020204030204" pitchFamily="34" charset="0"/>
                        </a:rPr>
                        <a:t>17,640.1</a:t>
                      </a:r>
                    </a:p>
                  </a:txBody>
                  <a:tcPr marL="7620" marR="7620" marT="7620" marB="0" anchor="ctr">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s-GT" dirty="0"/>
                        <a:t>18,003.1</a:t>
                      </a:r>
                    </a:p>
                  </a:txBody>
                  <a:tcPr anchor="ctr">
                    <a:lnL w="12700" cap="flat" cmpd="sng" algn="ctr">
                      <a:no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b"/>
                      <a:r>
                        <a:rPr lang="es-GT" sz="1800" b="0" i="0" u="none" strike="noStrike" dirty="0">
                          <a:solidFill>
                            <a:srgbClr val="000000"/>
                          </a:solidFill>
                          <a:effectLst/>
                          <a:latin typeface="Calibri" panose="020F0502020204030204" pitchFamily="34" charset="0"/>
                        </a:rPr>
                        <a:t>19,476.0</a:t>
                      </a:r>
                    </a:p>
                  </a:txBody>
                  <a:tcPr marL="7620" marR="7620" marT="762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791138312"/>
                  </a:ext>
                </a:extLst>
              </a:tr>
              <a:tr h="357022">
                <a:tc vMerge="1">
                  <a:txBody>
                    <a:bodyPr/>
                    <a:lstStyle/>
                    <a:p>
                      <a:endParaRPr lang="es-GT"/>
                    </a:p>
                  </a:txBody>
                  <a:tcPr/>
                </a:tc>
                <a:tc>
                  <a:txBody>
                    <a:bodyPr/>
                    <a:lstStyle/>
                    <a:p>
                      <a:pPr algn="ctr"/>
                      <a:r>
                        <a:rPr lang="es-GT" b="1" dirty="0"/>
                        <a:t>-8.1</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s-GT" sz="1800" b="1" i="0" u="none" strike="noStrike" dirty="0">
                          <a:solidFill>
                            <a:srgbClr val="000000"/>
                          </a:solidFill>
                          <a:effectLst/>
                          <a:latin typeface="Calibri" panose="020F0502020204030204" pitchFamily="34" charset="0"/>
                        </a:rPr>
                        <a:t>8.0</a:t>
                      </a:r>
                    </a:p>
                  </a:txBody>
                  <a:tcPr marL="7620" marR="7620" marT="7620" marB="0" anchor="ctr">
                    <a:lnL w="12700" cap="flat" cmpd="sng" algn="ctr">
                      <a:solidFill>
                        <a:schemeClr val="accent1"/>
                      </a:solidFill>
                      <a:prstDash val="solid"/>
                      <a:round/>
                      <a:headEnd type="none" w="med" len="med"/>
                      <a:tailEnd type="none" w="med" len="med"/>
                    </a:lnL>
                    <a:lnR>
                      <a:noFill/>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s-GT" b="1" dirty="0"/>
                        <a:t>9.5</a:t>
                      </a:r>
                    </a:p>
                  </a:txBody>
                  <a:tcPr anchor="ctr">
                    <a:lnL w="12700" cap="flat" cmpd="sng" algn="ctr">
                      <a:noFill/>
                      <a:prstDash val="solid"/>
                      <a:round/>
                      <a:headEnd type="none" w="med" len="med"/>
                      <a:tailEnd type="none" w="med" len="med"/>
                    </a:lnL>
                    <a:lnR>
                      <a:noFill/>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b"/>
                      <a:r>
                        <a:rPr lang="es-GT" sz="1800" b="1" i="0" u="none" strike="noStrike" dirty="0">
                          <a:solidFill>
                            <a:srgbClr val="000000"/>
                          </a:solidFill>
                          <a:effectLst/>
                          <a:latin typeface="Calibri" panose="020F0502020204030204" pitchFamily="34" charset="0"/>
                        </a:rPr>
                        <a:t>18.5</a:t>
                      </a:r>
                    </a:p>
                  </a:txBody>
                  <a:tcPr marL="7620" marR="7620" marT="762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124784328"/>
                  </a:ext>
                </a:extLst>
              </a:tr>
              <a:tr h="357022">
                <a:tc rowSpan="2">
                  <a:txBody>
                    <a:bodyPr/>
                    <a:lstStyle/>
                    <a:p>
                      <a:r>
                        <a:rPr lang="es-GT" dirty="0"/>
                        <a:t>Exportaciones FOB $.</a:t>
                      </a:r>
                    </a:p>
                    <a:p>
                      <a:pPr marL="0" marR="0" lvl="0" indent="0" algn="l" defTabSz="914400" rtl="0" eaLnBrk="1" fontAlgn="auto" latinLnBrk="0" hangingPunct="1">
                        <a:lnSpc>
                          <a:spcPct val="100000"/>
                        </a:lnSpc>
                        <a:spcBef>
                          <a:spcPts val="0"/>
                        </a:spcBef>
                        <a:spcAft>
                          <a:spcPts val="0"/>
                        </a:spcAft>
                        <a:buClrTx/>
                        <a:buSzTx/>
                        <a:buFontTx/>
                        <a:buNone/>
                        <a:tabLst/>
                        <a:defRPr/>
                      </a:pPr>
                      <a:r>
                        <a:rPr lang="es-GT" b="1" dirty="0"/>
                        <a:t>    Variación %</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GT" dirty="0"/>
                        <a:t>10,514.5</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tcPr>
                </a:tc>
                <a:tc>
                  <a:txBody>
                    <a:bodyPr/>
                    <a:lstStyle/>
                    <a:p>
                      <a:pPr algn="ctr" fontAlgn="b"/>
                      <a:r>
                        <a:rPr lang="es-GT" sz="1800" b="0" i="0" u="none" strike="noStrike" dirty="0">
                          <a:solidFill>
                            <a:srgbClr val="000000"/>
                          </a:solidFill>
                          <a:effectLst/>
                          <a:latin typeface="Calibri" panose="020F0502020204030204" pitchFamily="34" charset="0"/>
                        </a:rPr>
                        <a:t>10,618.1</a:t>
                      </a:r>
                    </a:p>
                  </a:txBody>
                  <a:tcPr marL="7620" marR="7620" marT="7620" marB="0" anchor="ctr">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s-GT" dirty="0"/>
                        <a:t>11,408.2</a:t>
                      </a:r>
                    </a:p>
                  </a:txBody>
                  <a:tcPr anchor="ctr">
                    <a:lnL w="12700" cap="flat" cmpd="sng" algn="ctr">
                      <a:no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b"/>
                      <a:r>
                        <a:rPr lang="es-GT" sz="1800" b="0" i="0" u="none" strike="noStrike" dirty="0">
                          <a:solidFill>
                            <a:srgbClr val="000000"/>
                          </a:solidFill>
                          <a:effectLst/>
                          <a:latin typeface="Calibri" panose="020F0502020204030204" pitchFamily="34" charset="0"/>
                        </a:rPr>
                        <a:t>11,618.3</a:t>
                      </a:r>
                    </a:p>
                  </a:txBody>
                  <a:tcPr marL="7620" marR="7620" marT="762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177328072"/>
                  </a:ext>
                </a:extLst>
              </a:tr>
              <a:tr h="357022">
                <a:tc vMerge="1">
                  <a:txBody>
                    <a:bodyPr/>
                    <a:lstStyle/>
                    <a:p>
                      <a:endParaRPr lang="es-GT"/>
                    </a:p>
                  </a:txBody>
                  <a:tcPr/>
                </a:tc>
                <a:tc>
                  <a:txBody>
                    <a:bodyPr/>
                    <a:lstStyle/>
                    <a:p>
                      <a:pPr algn="ctr"/>
                      <a:r>
                        <a:rPr lang="es-GT" b="1" dirty="0"/>
                        <a:t>6.0</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s-GT" sz="1800" b="1" i="0" u="none" strike="noStrike" dirty="0">
                          <a:solidFill>
                            <a:srgbClr val="000000"/>
                          </a:solidFill>
                          <a:effectLst/>
                          <a:latin typeface="Calibri" panose="020F0502020204030204" pitchFamily="34" charset="0"/>
                        </a:rPr>
                        <a:t>7.5</a:t>
                      </a:r>
                    </a:p>
                  </a:txBody>
                  <a:tcPr marL="7620" marR="7620" marT="7620" marB="0" anchor="ctr">
                    <a:lnL w="12700" cap="flat" cmpd="sng" algn="ctr">
                      <a:solidFill>
                        <a:schemeClr val="accent1"/>
                      </a:solidFill>
                      <a:prstDash val="solid"/>
                      <a:round/>
                      <a:headEnd type="none" w="med" len="med"/>
                      <a:tailEnd type="none" w="med" len="med"/>
                    </a:lnL>
                    <a:lnR>
                      <a:noFill/>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s-GT" b="1" dirty="0"/>
                        <a:t>8.5</a:t>
                      </a:r>
                    </a:p>
                  </a:txBody>
                  <a:tcPr anchor="ctr">
                    <a:lnL w="12700" cap="flat" cmpd="sng" algn="ctr">
                      <a:noFill/>
                      <a:prstDash val="solid"/>
                      <a:round/>
                      <a:headEnd type="none" w="med" len="med"/>
                      <a:tailEnd type="none" w="med" len="med"/>
                    </a:lnL>
                    <a:lnR>
                      <a:noFill/>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b"/>
                      <a:r>
                        <a:rPr lang="es-GT" sz="1800" b="1" i="0" u="none" strike="noStrike" dirty="0">
                          <a:solidFill>
                            <a:srgbClr val="000000"/>
                          </a:solidFill>
                          <a:effectLst/>
                          <a:latin typeface="Calibri" panose="020F0502020204030204" pitchFamily="34" charset="0"/>
                        </a:rPr>
                        <a:t>10.5</a:t>
                      </a:r>
                    </a:p>
                  </a:txBody>
                  <a:tcPr marL="7620" marR="7620" marT="762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6350" cap="flat" cmpd="sng" algn="ctr">
                      <a:noFill/>
                      <a:prstDash val="solid"/>
                      <a:miter lim="800000"/>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801109024"/>
                  </a:ext>
                </a:extLst>
              </a:tr>
              <a:tr h="357022">
                <a:tc>
                  <a:txBody>
                    <a:bodyPr/>
                    <a:lstStyle/>
                    <a:p>
                      <a:r>
                        <a:rPr lang="es-GT" dirty="0"/>
                        <a:t>Inflación %</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GT" dirty="0"/>
                        <a:t>4.82</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GT" dirty="0"/>
                        <a:t>3.0</a:t>
                      </a:r>
                    </a:p>
                  </a:txBody>
                  <a:tcPr anchor="ctr">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s-GT" dirty="0"/>
                        <a:t>3.0</a:t>
                      </a:r>
                    </a:p>
                  </a:txBody>
                  <a:tcPr anchor="ctr">
                    <a:lnL w="12700" cap="flat" cmpd="sng" algn="ctr">
                      <a:no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b"/>
                      <a:r>
                        <a:rPr lang="es-GT" sz="1800" b="0" i="0" u="none" strike="noStrike" dirty="0">
                          <a:solidFill>
                            <a:srgbClr val="000000"/>
                          </a:solidFill>
                          <a:effectLst/>
                          <a:latin typeface="Calibri" panose="020F0502020204030204" pitchFamily="34" charset="0"/>
                        </a:rPr>
                        <a:t>3.0</a:t>
                      </a:r>
                    </a:p>
                  </a:txBody>
                  <a:tcPr marL="7620" marR="7620" marT="762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288196150"/>
                  </a:ext>
                </a:extLst>
              </a:tr>
              <a:tr h="357022">
                <a:tc rowSpan="2">
                  <a:txBody>
                    <a:bodyPr/>
                    <a:lstStyle/>
                    <a:p>
                      <a:r>
                        <a:rPr lang="es-GT" dirty="0"/>
                        <a:t>Remesas $.</a:t>
                      </a:r>
                    </a:p>
                    <a:p>
                      <a:pPr marL="0" marR="0" lvl="0" indent="0" algn="l" defTabSz="914400" rtl="0" eaLnBrk="1" fontAlgn="auto" latinLnBrk="0" hangingPunct="1">
                        <a:lnSpc>
                          <a:spcPct val="100000"/>
                        </a:lnSpc>
                        <a:spcBef>
                          <a:spcPts val="0"/>
                        </a:spcBef>
                        <a:spcAft>
                          <a:spcPts val="0"/>
                        </a:spcAft>
                        <a:buClrTx/>
                        <a:buSzTx/>
                        <a:buFontTx/>
                        <a:buNone/>
                        <a:tabLst/>
                        <a:defRPr/>
                      </a:pPr>
                      <a:r>
                        <a:rPr lang="es-GT" b="1" dirty="0"/>
                        <a:t>   Variación %</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GT" dirty="0"/>
                        <a:t>11,340.4</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GT" dirty="0"/>
                        <a:t>12,247.5</a:t>
                      </a:r>
                    </a:p>
                  </a:txBody>
                  <a:tcPr anchor="ctr">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s-GT" dirty="0"/>
                        <a:t>12,814.7</a:t>
                      </a:r>
                    </a:p>
                  </a:txBody>
                  <a:tcPr anchor="ctr">
                    <a:lnL w="12700" cap="flat" cmpd="sng" algn="ctr">
                      <a:no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s-GT" sz="1800" dirty="0"/>
                        <a:t>13,721.9</a:t>
                      </a:r>
                    </a:p>
                  </a:txBody>
                  <a:tcPr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30759664"/>
                  </a:ext>
                </a:extLst>
              </a:tr>
              <a:tr h="357022">
                <a:tc vMerge="1">
                  <a:txBody>
                    <a:bodyPr/>
                    <a:lstStyle/>
                    <a:p>
                      <a:endParaRPr lang="es-GT"/>
                    </a:p>
                  </a:txBody>
                  <a:tcPr/>
                </a:tc>
                <a:tc>
                  <a:txBody>
                    <a:bodyPr/>
                    <a:lstStyle/>
                    <a:p>
                      <a:pPr algn="ctr"/>
                      <a:r>
                        <a:rPr lang="es-GT" b="1" dirty="0"/>
                        <a:t>7.9</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s-GT" b="1" dirty="0"/>
                        <a:t>8.5</a:t>
                      </a:r>
                    </a:p>
                  </a:txBody>
                  <a:tcPr anchor="ctr">
                    <a:lnL w="12700" cap="flat" cmpd="sng" algn="ctr">
                      <a:solidFill>
                        <a:schemeClr val="accent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s-GT" b="1" dirty="0"/>
                        <a:t>13.0</a:t>
                      </a:r>
                    </a:p>
                  </a:txBody>
                  <a:tcPr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a:r>
                        <a:rPr lang="es-GT" sz="1800" b="1" dirty="0"/>
                        <a:t>21.0</a:t>
                      </a:r>
                    </a:p>
                  </a:txBody>
                  <a:tcPr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720500591"/>
                  </a:ext>
                </a:extLst>
              </a:tr>
            </a:tbl>
          </a:graphicData>
        </a:graphic>
      </p:graphicFrame>
      <p:sp>
        <p:nvSpPr>
          <p:cNvPr id="12" name="Título 1">
            <a:extLst>
              <a:ext uri="{FF2B5EF4-FFF2-40B4-BE49-F238E27FC236}">
                <a16:creationId xmlns:a16="http://schemas.microsoft.com/office/drawing/2014/main" id="{AC816F7C-C4E0-4936-9568-36996F5BE48D}"/>
              </a:ext>
            </a:extLst>
          </p:cNvPr>
          <p:cNvSpPr>
            <a:spLocks noGrp="1"/>
          </p:cNvSpPr>
          <p:nvPr>
            <p:ph type="title"/>
          </p:nvPr>
        </p:nvSpPr>
        <p:spPr>
          <a:xfrm>
            <a:off x="284862" y="112341"/>
            <a:ext cx="7533257" cy="983144"/>
          </a:xfrm>
          <a:noFill/>
        </p:spPr>
        <p:txBody>
          <a:bodyPr vert="horz"/>
          <a:lstStyle/>
          <a:p>
            <a:r>
              <a:rPr lang="es-GT" sz="2400" b="1" dirty="0">
                <a:solidFill>
                  <a:schemeClr val="bg1"/>
                </a:solidFill>
              </a:rPr>
              <a:t>Evolución de las perspectivas macroeconómicas para 2021</a:t>
            </a:r>
          </a:p>
        </p:txBody>
      </p:sp>
      <p:sp>
        <p:nvSpPr>
          <p:cNvPr id="5" name="CuadroTexto 4">
            <a:extLst>
              <a:ext uri="{FF2B5EF4-FFF2-40B4-BE49-F238E27FC236}">
                <a16:creationId xmlns:a16="http://schemas.microsoft.com/office/drawing/2014/main" id="{E642FC31-C474-4E7F-A879-85768736C56E}"/>
              </a:ext>
            </a:extLst>
          </p:cNvPr>
          <p:cNvSpPr txBox="1"/>
          <p:nvPr/>
        </p:nvSpPr>
        <p:spPr>
          <a:xfrm>
            <a:off x="1308902" y="6565862"/>
            <a:ext cx="4856767" cy="307777"/>
          </a:xfrm>
          <a:prstGeom prst="rect">
            <a:avLst/>
          </a:prstGeom>
          <a:noFill/>
        </p:spPr>
        <p:txBody>
          <a:bodyPr wrap="square" rtlCol="0">
            <a:spAutoFit/>
          </a:bodyPr>
          <a:lstStyle/>
          <a:p>
            <a:r>
              <a:rPr lang="es-GT" sz="1400" b="1" dirty="0"/>
              <a:t>Fuente: Banco de Guatemala</a:t>
            </a:r>
          </a:p>
        </p:txBody>
      </p:sp>
      <p:sp>
        <p:nvSpPr>
          <p:cNvPr id="6" name="CuadroTexto 5">
            <a:extLst>
              <a:ext uri="{FF2B5EF4-FFF2-40B4-BE49-F238E27FC236}">
                <a16:creationId xmlns:a16="http://schemas.microsoft.com/office/drawing/2014/main" id="{6CE00FA4-2CE3-45C9-8D51-A620FCF98557}"/>
              </a:ext>
            </a:extLst>
          </p:cNvPr>
          <p:cNvSpPr txBox="1"/>
          <p:nvPr/>
        </p:nvSpPr>
        <p:spPr>
          <a:xfrm>
            <a:off x="3936786" y="1095485"/>
            <a:ext cx="5400338" cy="369332"/>
          </a:xfrm>
          <a:prstGeom prst="rect">
            <a:avLst/>
          </a:prstGeom>
          <a:noFill/>
        </p:spPr>
        <p:txBody>
          <a:bodyPr wrap="square" rtlCol="0">
            <a:spAutoFit/>
          </a:bodyPr>
          <a:lstStyle/>
          <a:p>
            <a:r>
              <a:rPr lang="es-GT" b="1" dirty="0">
                <a:solidFill>
                  <a:srgbClr val="0B3963"/>
                </a:solidFill>
              </a:rPr>
              <a:t>Millones de quetzales y Porcentajes</a:t>
            </a:r>
          </a:p>
        </p:txBody>
      </p:sp>
    </p:spTree>
    <p:custDataLst>
      <p:tags r:id="rId2"/>
    </p:custDataLst>
    <p:extLst>
      <p:ext uri="{BB962C8B-B14F-4D97-AF65-F5344CB8AC3E}">
        <p14:creationId xmlns:p14="http://schemas.microsoft.com/office/powerpoint/2010/main" val="4912773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612C927D-3748-4A4E-816E-96996793B4E7}"/>
              </a:ext>
            </a:extLst>
          </p:cNvPr>
          <p:cNvGraphicFramePr>
            <a:graphicFrameLocks noChangeAspect="1"/>
          </p:cNvGraphicFramePr>
          <p:nvPr>
            <p:custDataLst>
              <p:tags r:id="rId3"/>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3315" name="Diapositiva de think-cell" r:id="rId6" imgW="395" imgH="394" progId="TCLayout.ActiveDocument.1">
                  <p:embed/>
                </p:oleObj>
              </mc:Choice>
              <mc:Fallback>
                <p:oleObj name="Diapositiva de think-cell" r:id="rId6" imgW="395" imgH="394" progId="TCLayout.ActiveDocument.1">
                  <p:embed/>
                  <p:pic>
                    <p:nvPicPr>
                      <p:cNvPr id="4" name="Objeto 3" hidden="1">
                        <a:extLst>
                          <a:ext uri="{FF2B5EF4-FFF2-40B4-BE49-F238E27FC236}">
                            <a16:creationId xmlns:a16="http://schemas.microsoft.com/office/drawing/2014/main" id="{612C927D-3748-4A4E-816E-96996793B4E7}"/>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11" name="Rectángulo 10" hidden="1">
            <a:extLst>
              <a:ext uri="{FF2B5EF4-FFF2-40B4-BE49-F238E27FC236}">
                <a16:creationId xmlns:a16="http://schemas.microsoft.com/office/drawing/2014/main" id="{5CEDD324-C245-420B-A8DC-2EEF4B0D7FE7}"/>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sym typeface="Arial" panose="020B0604020202020204" pitchFamily="34" charset="0"/>
            </a:endParaRPr>
          </a:p>
        </p:txBody>
      </p:sp>
      <p:sp>
        <p:nvSpPr>
          <p:cNvPr id="16" name="Rectángulo 15" hidden="1">
            <a:extLst>
              <a:ext uri="{FF2B5EF4-FFF2-40B4-BE49-F238E27FC236}">
                <a16:creationId xmlns:a16="http://schemas.microsoft.com/office/drawing/2014/main" id="{A70850B7-190D-46D7-A7EC-2EC403037B82}"/>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09585">
              <a:defRPr/>
            </a:pPr>
            <a:endParaRPr lang="es-GT" sz="1200">
              <a:solidFill>
                <a:prstClr val="white"/>
              </a:solidFill>
              <a:latin typeface="Arial" panose="020B0604020202020204" pitchFamily="34" charset="0"/>
            </a:endParaRPr>
          </a:p>
        </p:txBody>
      </p:sp>
      <p:sp>
        <p:nvSpPr>
          <p:cNvPr id="12" name="Título 1">
            <a:extLst>
              <a:ext uri="{FF2B5EF4-FFF2-40B4-BE49-F238E27FC236}">
                <a16:creationId xmlns:a16="http://schemas.microsoft.com/office/drawing/2014/main" id="{AC816F7C-C4E0-4936-9568-36996F5BE48D}"/>
              </a:ext>
            </a:extLst>
          </p:cNvPr>
          <p:cNvSpPr>
            <a:spLocks noGrp="1"/>
          </p:cNvSpPr>
          <p:nvPr>
            <p:ph type="title"/>
          </p:nvPr>
        </p:nvSpPr>
        <p:spPr>
          <a:xfrm>
            <a:off x="266464" y="8696"/>
            <a:ext cx="7440622" cy="953588"/>
          </a:xfrm>
          <a:noFill/>
        </p:spPr>
        <p:txBody>
          <a:bodyPr vert="horz">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GT" sz="1800" b="1" i="0" u="none" strike="noStrike" kern="1200" cap="none" spc="0" normalizeH="0" baseline="0" dirty="0">
                <a:ln>
                  <a:noFill/>
                </a:ln>
                <a:solidFill>
                  <a:schemeClr val="bg1"/>
                </a:solidFill>
                <a:effectLst/>
                <a:uLnTx/>
                <a:uFillTx/>
              </a:rPr>
              <a:t>SAT implementó acciones establecidas en el Plan Operativo Anual que permitirán superar la meta establecida para 2021.</a:t>
            </a:r>
            <a:endParaRPr kumimoji="0" lang="es-GT" sz="1800" b="1" i="0" u="none" strike="noStrike" kern="1200" cap="none" spc="0" normalizeH="0" baseline="0" dirty="0">
              <a:ln>
                <a:noFill/>
              </a:ln>
              <a:solidFill>
                <a:schemeClr val="bg1"/>
              </a:solidFill>
              <a:effectLst/>
              <a:uLnTx/>
              <a:uFillTx/>
              <a:ea typeface="Noto Sans" panose="020B0502040504020204" pitchFamily="34"/>
            </a:endParaRPr>
          </a:p>
        </p:txBody>
      </p:sp>
      <p:graphicFrame>
        <p:nvGraphicFramePr>
          <p:cNvPr id="19" name="Gráfico 18">
            <a:extLst>
              <a:ext uri="{FF2B5EF4-FFF2-40B4-BE49-F238E27FC236}">
                <a16:creationId xmlns:a16="http://schemas.microsoft.com/office/drawing/2014/main" id="{8D2AB99D-FDA4-4A3A-9E6D-C17459DA5E61}"/>
              </a:ext>
            </a:extLst>
          </p:cNvPr>
          <p:cNvGraphicFramePr/>
          <p:nvPr>
            <p:extLst>
              <p:ext uri="{D42A27DB-BD31-4B8C-83A1-F6EECF244321}">
                <p14:modId xmlns:p14="http://schemas.microsoft.com/office/powerpoint/2010/main" val="3795780634"/>
              </p:ext>
            </p:extLst>
          </p:nvPr>
        </p:nvGraphicFramePr>
        <p:xfrm>
          <a:off x="8621198" y="1721067"/>
          <a:ext cx="3454009" cy="4191482"/>
        </p:xfrm>
        <a:graphic>
          <a:graphicData uri="http://schemas.openxmlformats.org/drawingml/2006/chart">
            <c:chart xmlns:c="http://schemas.openxmlformats.org/drawingml/2006/chart" xmlns:r="http://schemas.openxmlformats.org/officeDocument/2006/relationships" r:id="rId8"/>
          </a:graphicData>
        </a:graphic>
      </p:graphicFrame>
      <p:sp>
        <p:nvSpPr>
          <p:cNvPr id="20" name="CuadroTexto 19">
            <a:extLst>
              <a:ext uri="{FF2B5EF4-FFF2-40B4-BE49-F238E27FC236}">
                <a16:creationId xmlns:a16="http://schemas.microsoft.com/office/drawing/2014/main" id="{7629C1CC-8E93-4928-98DB-98CDCED13061}"/>
              </a:ext>
            </a:extLst>
          </p:cNvPr>
          <p:cNvSpPr txBox="1"/>
          <p:nvPr/>
        </p:nvSpPr>
        <p:spPr>
          <a:xfrm>
            <a:off x="10940527" y="1996332"/>
            <a:ext cx="985009" cy="523220"/>
          </a:xfrm>
          <a:prstGeom prst="rect">
            <a:avLst/>
          </a:prstGeom>
          <a:noFill/>
        </p:spPr>
        <p:txBody>
          <a:bodyPr wrap="square" rtlCol="0">
            <a:spAutoFit/>
          </a:bodyPr>
          <a:lstStyle/>
          <a:p>
            <a:pPr algn="ctr"/>
            <a:r>
              <a:rPr lang="es-GT" sz="1400" b="1" dirty="0"/>
              <a:t>Q70,768.4</a:t>
            </a:r>
          </a:p>
          <a:p>
            <a:pPr algn="ctr"/>
            <a:r>
              <a:rPr lang="es-GT" sz="1400" b="1" dirty="0"/>
              <a:t>Millones</a:t>
            </a:r>
          </a:p>
        </p:txBody>
      </p:sp>
      <p:sp>
        <p:nvSpPr>
          <p:cNvPr id="21" name="Flecha: curvada hacia abajo 20">
            <a:extLst>
              <a:ext uri="{FF2B5EF4-FFF2-40B4-BE49-F238E27FC236}">
                <a16:creationId xmlns:a16="http://schemas.microsoft.com/office/drawing/2014/main" id="{B7455373-DF02-4D6C-8D51-4997347407AD}"/>
              </a:ext>
            </a:extLst>
          </p:cNvPr>
          <p:cNvSpPr/>
          <p:nvPr/>
        </p:nvSpPr>
        <p:spPr>
          <a:xfrm rot="573946">
            <a:off x="9216930" y="1080297"/>
            <a:ext cx="1480345" cy="717562"/>
          </a:xfrm>
          <a:prstGeom prst="curvedDownArrow">
            <a:avLst>
              <a:gd name="adj1" fmla="val 25000"/>
              <a:gd name="adj2" fmla="val 299013"/>
              <a:gd name="adj3"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GT">
              <a:solidFill>
                <a:schemeClr val="tx1"/>
              </a:solidFill>
            </a:endParaRPr>
          </a:p>
        </p:txBody>
      </p:sp>
      <p:sp>
        <p:nvSpPr>
          <p:cNvPr id="22" name="Flecha: curvada hacia abajo 21">
            <a:extLst>
              <a:ext uri="{FF2B5EF4-FFF2-40B4-BE49-F238E27FC236}">
                <a16:creationId xmlns:a16="http://schemas.microsoft.com/office/drawing/2014/main" id="{26D28A6F-D381-4270-915F-2EB19403558C}"/>
              </a:ext>
            </a:extLst>
          </p:cNvPr>
          <p:cNvSpPr/>
          <p:nvPr/>
        </p:nvSpPr>
        <p:spPr>
          <a:xfrm rot="21222553" flipV="1">
            <a:off x="9515986" y="5976222"/>
            <a:ext cx="1198273" cy="656282"/>
          </a:xfrm>
          <a:prstGeom prst="curvedDownArrow">
            <a:avLst>
              <a:gd name="adj1" fmla="val 25000"/>
              <a:gd name="adj2" fmla="val 299013"/>
              <a:gd name="adj3"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GT">
              <a:solidFill>
                <a:schemeClr val="tx1"/>
              </a:solidFill>
            </a:endParaRPr>
          </a:p>
        </p:txBody>
      </p:sp>
      <p:sp>
        <p:nvSpPr>
          <p:cNvPr id="23" name="Freeform 7">
            <a:extLst>
              <a:ext uri="{FF2B5EF4-FFF2-40B4-BE49-F238E27FC236}">
                <a16:creationId xmlns:a16="http://schemas.microsoft.com/office/drawing/2014/main" id="{B2AEEF2D-216E-4FB0-A16D-59A909DAC9F4}"/>
              </a:ext>
            </a:extLst>
          </p:cNvPr>
          <p:cNvSpPr>
            <a:spLocks/>
          </p:cNvSpPr>
          <p:nvPr/>
        </p:nvSpPr>
        <p:spPr bwMode="auto">
          <a:xfrm rot="5400000">
            <a:off x="-902426" y="2551876"/>
            <a:ext cx="4827308" cy="2489527"/>
          </a:xfrm>
          <a:custGeom>
            <a:avLst/>
            <a:gdLst/>
            <a:ahLst/>
            <a:cxnLst>
              <a:cxn ang="0">
                <a:pos x="1771" y="885"/>
              </a:cxn>
              <a:cxn ang="0">
                <a:pos x="885" y="0"/>
              </a:cxn>
              <a:cxn ang="0">
                <a:pos x="0" y="885"/>
              </a:cxn>
              <a:cxn ang="0">
                <a:pos x="0" y="890"/>
              </a:cxn>
              <a:cxn ang="0">
                <a:pos x="1771" y="890"/>
              </a:cxn>
              <a:cxn ang="0">
                <a:pos x="1771" y="885"/>
              </a:cxn>
            </a:cxnLst>
            <a:rect l="0" t="0" r="r" b="b"/>
            <a:pathLst>
              <a:path w="1771" h="890">
                <a:moveTo>
                  <a:pt x="1771" y="885"/>
                </a:moveTo>
                <a:cubicBezTo>
                  <a:pt x="1771" y="396"/>
                  <a:pt x="1374" y="0"/>
                  <a:pt x="885" y="0"/>
                </a:cubicBezTo>
                <a:cubicBezTo>
                  <a:pt x="396" y="0"/>
                  <a:pt x="0" y="396"/>
                  <a:pt x="0" y="885"/>
                </a:cubicBezTo>
                <a:cubicBezTo>
                  <a:pt x="0" y="887"/>
                  <a:pt x="0" y="889"/>
                  <a:pt x="0" y="890"/>
                </a:cubicBezTo>
                <a:cubicBezTo>
                  <a:pt x="1771" y="890"/>
                  <a:pt x="1771" y="890"/>
                  <a:pt x="1771" y="890"/>
                </a:cubicBezTo>
                <a:cubicBezTo>
                  <a:pt x="1771" y="889"/>
                  <a:pt x="1771" y="887"/>
                  <a:pt x="1771" y="885"/>
                </a:cubicBezTo>
                <a:close/>
              </a:path>
            </a:pathLst>
          </a:custGeom>
          <a:solidFill>
            <a:schemeClr val="bg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24" name="Freeform 9">
            <a:extLst>
              <a:ext uri="{FF2B5EF4-FFF2-40B4-BE49-F238E27FC236}">
                <a16:creationId xmlns:a16="http://schemas.microsoft.com/office/drawing/2014/main" id="{44046FA2-E843-466C-BDE4-67FFB46DC3DD}"/>
              </a:ext>
            </a:extLst>
          </p:cNvPr>
          <p:cNvSpPr>
            <a:spLocks/>
          </p:cNvSpPr>
          <p:nvPr/>
        </p:nvSpPr>
        <p:spPr bwMode="auto">
          <a:xfrm rot="5400000">
            <a:off x="-92402" y="1665229"/>
            <a:ext cx="2406731" cy="1449969"/>
          </a:xfrm>
          <a:custGeom>
            <a:avLst/>
            <a:gdLst/>
            <a:ahLst/>
            <a:cxnLst>
              <a:cxn ang="0">
                <a:pos x="0" y="491"/>
              </a:cxn>
              <a:cxn ang="0">
                <a:pos x="0" y="496"/>
              </a:cxn>
              <a:cxn ang="0">
                <a:pos x="883" y="496"/>
              </a:cxn>
              <a:cxn ang="0">
                <a:pos x="155" y="0"/>
              </a:cxn>
              <a:cxn ang="0">
                <a:pos x="0" y="491"/>
              </a:cxn>
            </a:cxnLst>
            <a:rect l="0" t="0" r="r" b="b"/>
            <a:pathLst>
              <a:path w="883" h="496">
                <a:moveTo>
                  <a:pt x="0" y="491"/>
                </a:moveTo>
                <a:cubicBezTo>
                  <a:pt x="0" y="493"/>
                  <a:pt x="0" y="494"/>
                  <a:pt x="0" y="496"/>
                </a:cubicBezTo>
                <a:cubicBezTo>
                  <a:pt x="883" y="496"/>
                  <a:pt x="883" y="496"/>
                  <a:pt x="883" y="496"/>
                </a:cubicBezTo>
                <a:cubicBezTo>
                  <a:pt x="155" y="0"/>
                  <a:pt x="155" y="0"/>
                  <a:pt x="155" y="0"/>
                </a:cubicBezTo>
                <a:cubicBezTo>
                  <a:pt x="57" y="141"/>
                  <a:pt x="0" y="310"/>
                  <a:pt x="0" y="491"/>
                </a:cubicBezTo>
                <a:close/>
              </a:path>
            </a:pathLst>
          </a:custGeom>
          <a:solidFill>
            <a:srgbClr val="0385B3"/>
          </a:solidFill>
          <a:ln>
            <a:headEnd/>
            <a:tailEnd/>
          </a:ln>
        </p:spPr>
        <p:style>
          <a:lnRef idx="0">
            <a:schemeClr val="accent5"/>
          </a:lnRef>
          <a:fillRef idx="3">
            <a:schemeClr val="accent5"/>
          </a:fillRef>
          <a:effectRef idx="3">
            <a:schemeClr val="accent5"/>
          </a:effectRef>
          <a:fontRef idx="minor">
            <a:schemeClr val="lt1"/>
          </a:fontRef>
        </p:style>
        <p:txBody>
          <a:bodyPr vert="horz" wrap="square" lIns="91440" tIns="45720" rIns="91440" bIns="45720" numCol="1" anchor="t" anchorCtr="0" compatLnSpc="1">
            <a:prstTxWarp prst="textNoShape">
              <a:avLst/>
            </a:prstTxWarp>
          </a:bodyPr>
          <a:lstStyle/>
          <a:p>
            <a:endParaRPr lang="es-GT" dirty="0"/>
          </a:p>
        </p:txBody>
      </p:sp>
      <p:sp>
        <p:nvSpPr>
          <p:cNvPr id="25" name="Freeform 10">
            <a:extLst>
              <a:ext uri="{FF2B5EF4-FFF2-40B4-BE49-F238E27FC236}">
                <a16:creationId xmlns:a16="http://schemas.microsoft.com/office/drawing/2014/main" id="{E7EA3574-4BD4-4CBB-BED6-EC91DD345958}"/>
              </a:ext>
            </a:extLst>
          </p:cNvPr>
          <p:cNvSpPr>
            <a:spLocks/>
          </p:cNvSpPr>
          <p:nvPr/>
        </p:nvSpPr>
        <p:spPr bwMode="auto">
          <a:xfrm rot="5400000">
            <a:off x="923699" y="2474839"/>
            <a:ext cx="1594488" cy="2611298"/>
          </a:xfrm>
          <a:custGeom>
            <a:avLst/>
            <a:gdLst/>
            <a:ahLst/>
            <a:cxnLst>
              <a:cxn ang="0">
                <a:pos x="585" y="43"/>
              </a:cxn>
              <a:cxn ang="0">
                <a:pos x="293" y="0"/>
              </a:cxn>
              <a:cxn ang="0">
                <a:pos x="0" y="44"/>
              </a:cxn>
              <a:cxn ang="0">
                <a:pos x="293" y="893"/>
              </a:cxn>
              <a:cxn ang="0">
                <a:pos x="585" y="43"/>
              </a:cxn>
            </a:cxnLst>
            <a:rect l="0" t="0" r="r" b="b"/>
            <a:pathLst>
              <a:path w="585" h="893">
                <a:moveTo>
                  <a:pt x="585" y="43"/>
                </a:moveTo>
                <a:cubicBezTo>
                  <a:pt x="493" y="16"/>
                  <a:pt x="395" y="0"/>
                  <a:pt x="293" y="0"/>
                </a:cubicBezTo>
                <a:cubicBezTo>
                  <a:pt x="191" y="0"/>
                  <a:pt x="92" y="16"/>
                  <a:pt x="0" y="44"/>
                </a:cubicBezTo>
                <a:cubicBezTo>
                  <a:pt x="293" y="893"/>
                  <a:pt x="293" y="893"/>
                  <a:pt x="293" y="893"/>
                </a:cubicBezTo>
                <a:lnTo>
                  <a:pt x="585" y="43"/>
                </a:lnTo>
                <a:close/>
              </a:path>
            </a:pathLst>
          </a:custGeom>
          <a:solidFill>
            <a:srgbClr val="0385B3"/>
          </a:solidFill>
          <a:ln>
            <a:headEnd/>
            <a:tailEnd/>
          </a:ln>
        </p:spPr>
        <p:style>
          <a:lnRef idx="0">
            <a:schemeClr val="accent5"/>
          </a:lnRef>
          <a:fillRef idx="3">
            <a:schemeClr val="accent5"/>
          </a:fillRef>
          <a:effectRef idx="3">
            <a:schemeClr val="accent5"/>
          </a:effectRef>
          <a:fontRef idx="minor">
            <a:schemeClr val="lt1"/>
          </a:fontRef>
        </p:style>
        <p:txBody>
          <a:bodyPr vert="horz" wrap="square" lIns="91440" tIns="45720" rIns="91440" bIns="45720" numCol="1" anchor="t" anchorCtr="0" compatLnSpc="1">
            <a:prstTxWarp prst="textNoShape">
              <a:avLst/>
            </a:prstTxWarp>
          </a:bodyPr>
          <a:lstStyle/>
          <a:p>
            <a:endParaRPr lang="es-GT" dirty="0"/>
          </a:p>
        </p:txBody>
      </p:sp>
      <p:sp>
        <p:nvSpPr>
          <p:cNvPr id="26" name="Freeform 11">
            <a:extLst>
              <a:ext uri="{FF2B5EF4-FFF2-40B4-BE49-F238E27FC236}">
                <a16:creationId xmlns:a16="http://schemas.microsoft.com/office/drawing/2014/main" id="{9E2B7FDF-7D3E-4E9F-B8E3-1B28206B2A97}"/>
              </a:ext>
            </a:extLst>
          </p:cNvPr>
          <p:cNvSpPr>
            <a:spLocks/>
          </p:cNvSpPr>
          <p:nvPr/>
        </p:nvSpPr>
        <p:spPr bwMode="auto">
          <a:xfrm rot="5400000">
            <a:off x="614691" y="3655193"/>
            <a:ext cx="2046760" cy="2468105"/>
          </a:xfrm>
          <a:custGeom>
            <a:avLst/>
            <a:gdLst/>
            <a:ahLst/>
            <a:cxnLst>
              <a:cxn ang="0">
                <a:pos x="751" y="331"/>
              </a:cxn>
              <a:cxn ang="0">
                <a:pos x="290" y="0"/>
              </a:cxn>
              <a:cxn ang="0">
                <a:pos x="0" y="844"/>
              </a:cxn>
              <a:cxn ang="0">
                <a:pos x="751" y="331"/>
              </a:cxn>
            </a:cxnLst>
            <a:rect l="0" t="0" r="r" b="b"/>
            <a:pathLst>
              <a:path w="751" h="844">
                <a:moveTo>
                  <a:pt x="751" y="331"/>
                </a:moveTo>
                <a:cubicBezTo>
                  <a:pt x="638" y="180"/>
                  <a:pt x="478" y="63"/>
                  <a:pt x="290" y="0"/>
                </a:cubicBezTo>
                <a:cubicBezTo>
                  <a:pt x="0" y="844"/>
                  <a:pt x="0" y="844"/>
                  <a:pt x="0" y="844"/>
                </a:cubicBezTo>
                <a:lnTo>
                  <a:pt x="751" y="331"/>
                </a:lnTo>
                <a:close/>
              </a:path>
            </a:pathLst>
          </a:custGeom>
          <a:solidFill>
            <a:srgbClr val="0385B3"/>
          </a:solidFill>
          <a:ln>
            <a:headEnd/>
            <a:tailEnd/>
          </a:ln>
        </p:spPr>
        <p:style>
          <a:lnRef idx="0">
            <a:schemeClr val="accent5"/>
          </a:lnRef>
          <a:fillRef idx="3">
            <a:schemeClr val="accent5"/>
          </a:fillRef>
          <a:effectRef idx="3">
            <a:schemeClr val="accent5"/>
          </a:effectRef>
          <a:fontRef idx="minor">
            <a:schemeClr val="lt1"/>
          </a:fontRef>
        </p:style>
        <p:txBody>
          <a:bodyPr vert="horz" wrap="square" lIns="91440" tIns="45720" rIns="91440" bIns="45720" numCol="1" anchor="t" anchorCtr="0" compatLnSpc="1">
            <a:prstTxWarp prst="textNoShape">
              <a:avLst/>
            </a:prstTxWarp>
          </a:bodyPr>
          <a:lstStyle/>
          <a:p>
            <a:endParaRPr lang="en-US" sz="1600"/>
          </a:p>
        </p:txBody>
      </p:sp>
      <p:sp>
        <p:nvSpPr>
          <p:cNvPr id="27" name="Freeform 12">
            <a:extLst>
              <a:ext uri="{FF2B5EF4-FFF2-40B4-BE49-F238E27FC236}">
                <a16:creationId xmlns:a16="http://schemas.microsoft.com/office/drawing/2014/main" id="{38138FC2-A299-418B-B294-F20D6023FC58}"/>
              </a:ext>
            </a:extLst>
          </p:cNvPr>
          <p:cNvSpPr>
            <a:spLocks/>
          </p:cNvSpPr>
          <p:nvPr/>
        </p:nvSpPr>
        <p:spPr bwMode="auto">
          <a:xfrm rot="5400000">
            <a:off x="627789" y="1447314"/>
            <a:ext cx="2035222" cy="2453447"/>
          </a:xfrm>
          <a:custGeom>
            <a:avLst/>
            <a:gdLst/>
            <a:ahLst/>
            <a:cxnLst>
              <a:cxn ang="0">
                <a:pos x="458" y="0"/>
              </a:cxn>
              <a:cxn ang="0">
                <a:pos x="0" y="330"/>
              </a:cxn>
              <a:cxn ang="0">
                <a:pos x="747" y="839"/>
              </a:cxn>
              <a:cxn ang="0">
                <a:pos x="458" y="0"/>
              </a:cxn>
            </a:cxnLst>
            <a:rect l="0" t="0" r="r" b="b"/>
            <a:pathLst>
              <a:path w="747" h="839">
                <a:moveTo>
                  <a:pt x="458" y="0"/>
                </a:moveTo>
                <a:cubicBezTo>
                  <a:pt x="271" y="63"/>
                  <a:pt x="112" y="180"/>
                  <a:pt x="0" y="330"/>
                </a:cubicBezTo>
                <a:cubicBezTo>
                  <a:pt x="747" y="839"/>
                  <a:pt x="747" y="839"/>
                  <a:pt x="747" y="839"/>
                </a:cubicBezTo>
                <a:lnTo>
                  <a:pt x="458" y="0"/>
                </a:lnTo>
                <a:close/>
              </a:path>
            </a:pathLst>
          </a:custGeom>
          <a:solidFill>
            <a:srgbClr val="0385B3"/>
          </a:solidFill>
          <a:ln>
            <a:headEnd/>
            <a:tailEnd/>
          </a:ln>
        </p:spPr>
        <p:style>
          <a:lnRef idx="0">
            <a:schemeClr val="accent5"/>
          </a:lnRef>
          <a:fillRef idx="3">
            <a:schemeClr val="accent5"/>
          </a:fillRef>
          <a:effectRef idx="3">
            <a:schemeClr val="accent5"/>
          </a:effectRef>
          <a:fontRef idx="minor">
            <a:schemeClr val="lt1"/>
          </a:fontRef>
        </p:style>
        <p:txBody>
          <a:bodyPr vert="horz" wrap="square" lIns="91440" tIns="45720" rIns="91440" bIns="45720" numCol="1" anchor="t" anchorCtr="0" compatLnSpc="1">
            <a:prstTxWarp prst="textNoShape">
              <a:avLst/>
            </a:prstTxWarp>
          </a:bodyPr>
          <a:lstStyle/>
          <a:p>
            <a:endParaRPr lang="en-US"/>
          </a:p>
        </p:txBody>
      </p:sp>
      <p:sp>
        <p:nvSpPr>
          <p:cNvPr id="28" name="Freeform 13">
            <a:extLst>
              <a:ext uri="{FF2B5EF4-FFF2-40B4-BE49-F238E27FC236}">
                <a16:creationId xmlns:a16="http://schemas.microsoft.com/office/drawing/2014/main" id="{464A99F9-272C-42A6-92B4-DD1054550A06}"/>
              </a:ext>
            </a:extLst>
          </p:cNvPr>
          <p:cNvSpPr>
            <a:spLocks/>
          </p:cNvSpPr>
          <p:nvPr/>
        </p:nvSpPr>
        <p:spPr bwMode="auto">
          <a:xfrm rot="5400000">
            <a:off x="-87760" y="4457288"/>
            <a:ext cx="2395194" cy="1447714"/>
          </a:xfrm>
          <a:custGeom>
            <a:avLst/>
            <a:gdLst/>
            <a:ahLst/>
            <a:cxnLst>
              <a:cxn ang="0">
                <a:pos x="0" y="495"/>
              </a:cxn>
              <a:cxn ang="0">
                <a:pos x="879" y="495"/>
              </a:cxn>
              <a:cxn ang="0">
                <a:pos x="879" y="490"/>
              </a:cxn>
              <a:cxn ang="0">
                <a:pos x="725" y="0"/>
              </a:cxn>
              <a:cxn ang="0">
                <a:pos x="0" y="495"/>
              </a:cxn>
            </a:cxnLst>
            <a:rect l="0" t="0" r="r" b="b"/>
            <a:pathLst>
              <a:path w="879" h="495">
                <a:moveTo>
                  <a:pt x="0" y="495"/>
                </a:moveTo>
                <a:cubicBezTo>
                  <a:pt x="879" y="495"/>
                  <a:pt x="879" y="495"/>
                  <a:pt x="879" y="495"/>
                </a:cubicBezTo>
                <a:cubicBezTo>
                  <a:pt x="879" y="493"/>
                  <a:pt x="879" y="492"/>
                  <a:pt x="879" y="490"/>
                </a:cubicBezTo>
                <a:cubicBezTo>
                  <a:pt x="879" y="309"/>
                  <a:pt x="822" y="141"/>
                  <a:pt x="725" y="0"/>
                </a:cubicBezTo>
                <a:lnTo>
                  <a:pt x="0" y="495"/>
                </a:lnTo>
                <a:close/>
              </a:path>
            </a:pathLst>
          </a:custGeom>
          <a:solidFill>
            <a:srgbClr val="0385B3"/>
          </a:solidFill>
          <a:ln>
            <a:headEnd/>
            <a:tailEnd/>
          </a:ln>
        </p:spPr>
        <p:style>
          <a:lnRef idx="0">
            <a:schemeClr val="accent5"/>
          </a:lnRef>
          <a:fillRef idx="3">
            <a:schemeClr val="accent5"/>
          </a:fillRef>
          <a:effectRef idx="3">
            <a:schemeClr val="accent5"/>
          </a:effectRef>
          <a:fontRef idx="minor">
            <a:schemeClr val="lt1"/>
          </a:fontRef>
        </p:style>
        <p:txBody>
          <a:bodyPr vert="horz" wrap="square" lIns="91440" tIns="45720" rIns="91440" bIns="45720" numCol="1" anchor="t" anchorCtr="0" compatLnSpc="1">
            <a:prstTxWarp prst="textNoShape">
              <a:avLst/>
            </a:prstTxWarp>
          </a:bodyPr>
          <a:lstStyle/>
          <a:p>
            <a:endParaRPr lang="es-GT" dirty="0"/>
          </a:p>
        </p:txBody>
      </p:sp>
      <p:sp>
        <p:nvSpPr>
          <p:cNvPr id="29" name="Freeform 14">
            <a:extLst>
              <a:ext uri="{FF2B5EF4-FFF2-40B4-BE49-F238E27FC236}">
                <a16:creationId xmlns:a16="http://schemas.microsoft.com/office/drawing/2014/main" id="{7496384F-C209-4A10-AC87-2DBEF22DDBC5}"/>
              </a:ext>
            </a:extLst>
          </p:cNvPr>
          <p:cNvSpPr>
            <a:spLocks/>
          </p:cNvSpPr>
          <p:nvPr/>
        </p:nvSpPr>
        <p:spPr bwMode="auto">
          <a:xfrm rot="5400000">
            <a:off x="-448799" y="3085143"/>
            <a:ext cx="2530772" cy="1399590"/>
          </a:xfrm>
          <a:custGeom>
            <a:avLst/>
            <a:gdLst/>
            <a:ahLst/>
            <a:cxnLst>
              <a:cxn ang="0">
                <a:pos x="1259" y="645"/>
              </a:cxn>
              <a:cxn ang="0">
                <a:pos x="629" y="0"/>
              </a:cxn>
              <a:cxn ang="0">
                <a:pos x="0" y="645"/>
              </a:cxn>
              <a:cxn ang="0">
                <a:pos x="0" y="649"/>
              </a:cxn>
              <a:cxn ang="0">
                <a:pos x="1259" y="649"/>
              </a:cxn>
              <a:cxn ang="0">
                <a:pos x="1259" y="645"/>
              </a:cxn>
            </a:cxnLst>
            <a:rect l="0" t="0" r="r" b="b"/>
            <a:pathLst>
              <a:path w="1259" h="649">
                <a:moveTo>
                  <a:pt x="1259" y="645"/>
                </a:moveTo>
                <a:cubicBezTo>
                  <a:pt x="1259" y="289"/>
                  <a:pt x="977" y="0"/>
                  <a:pt x="629" y="0"/>
                </a:cubicBezTo>
                <a:cubicBezTo>
                  <a:pt x="282" y="0"/>
                  <a:pt x="0" y="289"/>
                  <a:pt x="0" y="645"/>
                </a:cubicBezTo>
                <a:cubicBezTo>
                  <a:pt x="0" y="646"/>
                  <a:pt x="0" y="647"/>
                  <a:pt x="0" y="649"/>
                </a:cubicBezTo>
                <a:cubicBezTo>
                  <a:pt x="1259" y="649"/>
                  <a:pt x="1259" y="649"/>
                  <a:pt x="1259" y="649"/>
                </a:cubicBezTo>
                <a:cubicBezTo>
                  <a:pt x="1259" y="647"/>
                  <a:pt x="1259" y="646"/>
                  <a:pt x="1259" y="645"/>
                </a:cubicBezTo>
                <a:close/>
              </a:path>
            </a:pathLst>
          </a:custGeom>
          <a:solidFill>
            <a:srgbClr val="0B3963"/>
          </a:solidFill>
          <a:ln w="9525">
            <a:noFill/>
            <a:round/>
            <a:headEnd/>
            <a:tailEnd/>
          </a:ln>
          <a:effectLst/>
        </p:spPr>
        <p:txBody>
          <a:bodyPr vert="horz" wrap="square" lIns="91440" tIns="45720" rIns="91440" bIns="45720" numCol="1" anchor="t" anchorCtr="0" compatLnSpc="1">
            <a:prstTxWarp prst="textNoShape">
              <a:avLst/>
            </a:prstTxWarp>
          </a:bodyPr>
          <a:lstStyle/>
          <a:p>
            <a:endParaRPr lang="es-GT" dirty="0"/>
          </a:p>
        </p:txBody>
      </p:sp>
      <p:sp>
        <p:nvSpPr>
          <p:cNvPr id="30" name="Rectangle 15">
            <a:extLst>
              <a:ext uri="{FF2B5EF4-FFF2-40B4-BE49-F238E27FC236}">
                <a16:creationId xmlns:a16="http://schemas.microsoft.com/office/drawing/2014/main" id="{EDBABC29-4BA6-4240-A58E-F6B0A75321C6}"/>
              </a:ext>
            </a:extLst>
          </p:cNvPr>
          <p:cNvSpPr/>
          <p:nvPr/>
        </p:nvSpPr>
        <p:spPr>
          <a:xfrm rot="5400000">
            <a:off x="543601" y="3179360"/>
            <a:ext cx="492443" cy="1142618"/>
          </a:xfrm>
          <a:prstGeom prst="rect">
            <a:avLst/>
          </a:prstGeom>
          <a:ln>
            <a:noFill/>
          </a:ln>
          <a:effectLst/>
        </p:spPr>
        <p:txBody>
          <a:bodyPr vert="vert270" wrap="square">
            <a:spAutoFit/>
          </a:bodyPr>
          <a:lstStyle/>
          <a:p>
            <a:pPr algn="ctr"/>
            <a:r>
              <a:rPr lang="es-GT" sz="2000" b="1" dirty="0">
                <a:solidFill>
                  <a:schemeClr val="bg1"/>
                </a:solidFill>
                <a:cs typeface="Arial" pitchFamily="34" charset="0"/>
              </a:rPr>
              <a:t>Acciones </a:t>
            </a:r>
          </a:p>
        </p:txBody>
      </p:sp>
      <p:sp>
        <p:nvSpPr>
          <p:cNvPr id="31" name="Rectangle 16">
            <a:extLst>
              <a:ext uri="{FF2B5EF4-FFF2-40B4-BE49-F238E27FC236}">
                <a16:creationId xmlns:a16="http://schemas.microsoft.com/office/drawing/2014/main" id="{5134125E-B122-4937-8098-136FE3C729F1}"/>
              </a:ext>
            </a:extLst>
          </p:cNvPr>
          <p:cNvSpPr/>
          <p:nvPr/>
        </p:nvSpPr>
        <p:spPr>
          <a:xfrm rot="5400000">
            <a:off x="1838083" y="3178521"/>
            <a:ext cx="677108" cy="1236261"/>
          </a:xfrm>
          <a:prstGeom prst="rect">
            <a:avLst/>
          </a:prstGeom>
          <a:ln>
            <a:noFill/>
          </a:ln>
          <a:effectLst/>
        </p:spPr>
        <p:txBody>
          <a:bodyPr vert="vert270" wrap="square">
            <a:spAutoFit/>
          </a:bodyPr>
          <a:lstStyle/>
          <a:p>
            <a:pPr algn="ctr"/>
            <a:r>
              <a:rPr lang="es-GT" sz="1600" b="1">
                <a:solidFill>
                  <a:schemeClr val="bg1"/>
                </a:solidFill>
                <a:cs typeface="Arial" pitchFamily="34" charset="0"/>
              </a:rPr>
              <a:t>Gobierno de datos –GDD-</a:t>
            </a:r>
          </a:p>
        </p:txBody>
      </p:sp>
      <p:sp>
        <p:nvSpPr>
          <p:cNvPr id="32" name="Rectangle 17">
            <a:extLst>
              <a:ext uri="{FF2B5EF4-FFF2-40B4-BE49-F238E27FC236}">
                <a16:creationId xmlns:a16="http://schemas.microsoft.com/office/drawing/2014/main" id="{17F3B75C-E74B-4F33-8147-F7C0C3879D1A}"/>
              </a:ext>
            </a:extLst>
          </p:cNvPr>
          <p:cNvSpPr/>
          <p:nvPr/>
        </p:nvSpPr>
        <p:spPr>
          <a:xfrm rot="5400000">
            <a:off x="1632694" y="4299830"/>
            <a:ext cx="677108" cy="1241134"/>
          </a:xfrm>
          <a:prstGeom prst="rect">
            <a:avLst/>
          </a:prstGeom>
          <a:ln>
            <a:noFill/>
          </a:ln>
          <a:effectLst/>
        </p:spPr>
        <p:txBody>
          <a:bodyPr vert="vert270" wrap="square">
            <a:spAutoFit/>
          </a:bodyPr>
          <a:lstStyle/>
          <a:p>
            <a:pPr algn="ctr"/>
            <a:r>
              <a:rPr lang="es-GT" sz="1600" b="1" dirty="0">
                <a:solidFill>
                  <a:schemeClr val="bg1"/>
                </a:solidFill>
                <a:cs typeface="Arial" pitchFamily="34" charset="0"/>
              </a:rPr>
              <a:t>Control de aduanas</a:t>
            </a:r>
          </a:p>
        </p:txBody>
      </p:sp>
      <p:sp>
        <p:nvSpPr>
          <p:cNvPr id="33" name="Rectangle 18">
            <a:extLst>
              <a:ext uri="{FF2B5EF4-FFF2-40B4-BE49-F238E27FC236}">
                <a16:creationId xmlns:a16="http://schemas.microsoft.com/office/drawing/2014/main" id="{34FD88F0-46DC-44B8-BC91-EE5DAF3AD50F}"/>
              </a:ext>
            </a:extLst>
          </p:cNvPr>
          <p:cNvSpPr/>
          <p:nvPr/>
        </p:nvSpPr>
        <p:spPr>
          <a:xfrm rot="5400000">
            <a:off x="792561" y="5266760"/>
            <a:ext cx="430887" cy="1147285"/>
          </a:xfrm>
          <a:prstGeom prst="rect">
            <a:avLst/>
          </a:prstGeom>
          <a:ln>
            <a:noFill/>
          </a:ln>
          <a:effectLst/>
        </p:spPr>
        <p:txBody>
          <a:bodyPr vert="vert270" wrap="square">
            <a:spAutoFit/>
          </a:bodyPr>
          <a:lstStyle/>
          <a:p>
            <a:pPr algn="ctr"/>
            <a:r>
              <a:rPr lang="es-GT" sz="1600" b="1" dirty="0">
                <a:solidFill>
                  <a:schemeClr val="bg1"/>
                </a:solidFill>
                <a:cs typeface="Arial" pitchFamily="34" charset="0"/>
              </a:rPr>
              <a:t>Fiscalización</a:t>
            </a:r>
          </a:p>
        </p:txBody>
      </p:sp>
      <p:sp>
        <p:nvSpPr>
          <p:cNvPr id="34" name="Rectangle 19">
            <a:extLst>
              <a:ext uri="{FF2B5EF4-FFF2-40B4-BE49-F238E27FC236}">
                <a16:creationId xmlns:a16="http://schemas.microsoft.com/office/drawing/2014/main" id="{AFF7F188-2CA1-4AD6-9284-E84D7DC4D1DF}"/>
              </a:ext>
            </a:extLst>
          </p:cNvPr>
          <p:cNvSpPr/>
          <p:nvPr/>
        </p:nvSpPr>
        <p:spPr>
          <a:xfrm rot="5400000">
            <a:off x="1573708" y="2177965"/>
            <a:ext cx="800219" cy="830620"/>
          </a:xfrm>
          <a:prstGeom prst="rect">
            <a:avLst/>
          </a:prstGeom>
          <a:ln>
            <a:noFill/>
          </a:ln>
          <a:effectLst/>
        </p:spPr>
        <p:txBody>
          <a:bodyPr vert="vert270" wrap="square">
            <a:spAutoFit/>
          </a:bodyPr>
          <a:lstStyle/>
          <a:p>
            <a:pPr algn="ctr"/>
            <a:r>
              <a:rPr lang="es-GT" sz="2000" b="1" dirty="0">
                <a:solidFill>
                  <a:schemeClr val="bg1"/>
                </a:solidFill>
                <a:cs typeface="Arial" pitchFamily="34" charset="0"/>
              </a:rPr>
              <a:t>RTU Digital</a:t>
            </a:r>
          </a:p>
        </p:txBody>
      </p:sp>
      <p:sp>
        <p:nvSpPr>
          <p:cNvPr id="35" name="Rectangle 20">
            <a:extLst>
              <a:ext uri="{FF2B5EF4-FFF2-40B4-BE49-F238E27FC236}">
                <a16:creationId xmlns:a16="http://schemas.microsoft.com/office/drawing/2014/main" id="{BCE03815-CA22-4AC4-B506-DBEAB7EA79B4}"/>
              </a:ext>
            </a:extLst>
          </p:cNvPr>
          <p:cNvSpPr/>
          <p:nvPr/>
        </p:nvSpPr>
        <p:spPr>
          <a:xfrm rot="5400000">
            <a:off x="640734" y="1272692"/>
            <a:ext cx="677108" cy="1192757"/>
          </a:xfrm>
          <a:prstGeom prst="rect">
            <a:avLst/>
          </a:prstGeom>
          <a:ln>
            <a:noFill/>
          </a:ln>
          <a:effectLst/>
        </p:spPr>
        <p:txBody>
          <a:bodyPr vert="vert270" wrap="square">
            <a:spAutoFit/>
          </a:bodyPr>
          <a:lstStyle/>
          <a:p>
            <a:pPr algn="ctr"/>
            <a:r>
              <a:rPr lang="es-GT" sz="1600" b="1" dirty="0">
                <a:solidFill>
                  <a:schemeClr val="bg1"/>
                </a:solidFill>
                <a:cs typeface="Arial" pitchFamily="34" charset="0"/>
              </a:rPr>
              <a:t>Factura Electrónica</a:t>
            </a:r>
          </a:p>
        </p:txBody>
      </p:sp>
      <p:cxnSp>
        <p:nvCxnSpPr>
          <p:cNvPr id="5" name="Conector recto de flecha 4">
            <a:extLst>
              <a:ext uri="{FF2B5EF4-FFF2-40B4-BE49-F238E27FC236}">
                <a16:creationId xmlns:a16="http://schemas.microsoft.com/office/drawing/2014/main" id="{64D2AB70-582E-4ECF-B6D8-A3417F0437FA}"/>
              </a:ext>
            </a:extLst>
          </p:cNvPr>
          <p:cNvCxnSpPr>
            <a:cxnSpLocks/>
          </p:cNvCxnSpPr>
          <p:nvPr/>
        </p:nvCxnSpPr>
        <p:spPr>
          <a:xfrm flipV="1">
            <a:off x="10617619" y="2983244"/>
            <a:ext cx="440378" cy="101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CuadroTexto 7">
            <a:extLst>
              <a:ext uri="{FF2B5EF4-FFF2-40B4-BE49-F238E27FC236}">
                <a16:creationId xmlns:a16="http://schemas.microsoft.com/office/drawing/2014/main" id="{CA2795A2-CEBD-48C8-B00C-55D18B124397}"/>
              </a:ext>
            </a:extLst>
          </p:cNvPr>
          <p:cNvSpPr txBox="1"/>
          <p:nvPr/>
        </p:nvSpPr>
        <p:spPr>
          <a:xfrm>
            <a:off x="9758980" y="2721612"/>
            <a:ext cx="1632948" cy="461665"/>
          </a:xfrm>
          <a:prstGeom prst="rect">
            <a:avLst/>
          </a:prstGeom>
          <a:noFill/>
        </p:spPr>
        <p:txBody>
          <a:bodyPr wrap="square" rtlCol="0">
            <a:spAutoFit/>
          </a:bodyPr>
          <a:lstStyle/>
          <a:p>
            <a:r>
              <a:rPr lang="es-GT" sz="1200" b="1" dirty="0">
                <a:solidFill>
                  <a:schemeClr val="accent6">
                    <a:lumMod val="75000"/>
                  </a:schemeClr>
                </a:solidFill>
              </a:rPr>
              <a:t>Efecto económico y medidas SAT</a:t>
            </a:r>
          </a:p>
        </p:txBody>
      </p:sp>
      <p:sp>
        <p:nvSpPr>
          <p:cNvPr id="3" name="CuadroTexto 2">
            <a:extLst>
              <a:ext uri="{FF2B5EF4-FFF2-40B4-BE49-F238E27FC236}">
                <a16:creationId xmlns:a16="http://schemas.microsoft.com/office/drawing/2014/main" id="{AB9600D6-911A-1545-89BF-0315F06F3292}"/>
              </a:ext>
            </a:extLst>
          </p:cNvPr>
          <p:cNvSpPr txBox="1"/>
          <p:nvPr/>
        </p:nvSpPr>
        <p:spPr>
          <a:xfrm>
            <a:off x="3190103" y="1183270"/>
            <a:ext cx="4817831" cy="5586145"/>
          </a:xfrm>
          <a:prstGeom prst="rect">
            <a:avLst/>
          </a:prstGeom>
          <a:noFill/>
        </p:spPr>
        <p:txBody>
          <a:bodyPr wrap="square" rtlCol="0">
            <a:spAutoFit/>
          </a:bodyPr>
          <a:lstStyle/>
          <a:p>
            <a:pPr marL="285750" lvl="0" indent="-285750" algn="just">
              <a:buFont typeface="Arial" panose="020B0604020202020204" pitchFamily="34" charset="0"/>
              <a:buChar char="•"/>
            </a:pPr>
            <a:r>
              <a:rPr lang="es-GT" sz="1700" b="1" dirty="0">
                <a:solidFill>
                  <a:srgbClr val="0B3963"/>
                </a:solidFill>
              </a:rPr>
              <a:t>Factura Electrónica Fase 3, uso de sistemas para ExenIVA y constancias de adquisición de insumos, se inicio con el desarrollo del sistema de retenciones de ISR</a:t>
            </a:r>
          </a:p>
          <a:p>
            <a:pPr marL="285750" lvl="0" indent="-285750" algn="just">
              <a:buFont typeface="Arial" panose="020B0604020202020204" pitchFamily="34" charset="0"/>
              <a:buChar char="•"/>
            </a:pPr>
            <a:r>
              <a:rPr lang="es-GT" sz="1700" b="1" dirty="0">
                <a:solidFill>
                  <a:srgbClr val="0385B3"/>
                </a:solidFill>
              </a:rPr>
              <a:t>RTU Digital, se continúan en etapa dos, con la implementación de  pruebas de depuración de registros </a:t>
            </a:r>
          </a:p>
          <a:p>
            <a:pPr marL="285750" lvl="0" indent="-285750" algn="just">
              <a:buFont typeface="Arial" panose="020B0604020202020204" pitchFamily="34" charset="0"/>
              <a:buChar char="•"/>
            </a:pPr>
            <a:r>
              <a:rPr lang="es-GT" sz="1700" b="1" dirty="0">
                <a:solidFill>
                  <a:srgbClr val="0B3963"/>
                </a:solidFill>
              </a:rPr>
              <a:t>En el GDD fase 2 se definieron criterios institucionales para la homologación de datos y cruce con FEL y bancario. </a:t>
            </a:r>
          </a:p>
          <a:p>
            <a:pPr marL="285750" lvl="0" indent="-285750" algn="just">
              <a:buFont typeface="Arial" panose="020B0604020202020204" pitchFamily="34" charset="0"/>
              <a:buChar char="•"/>
            </a:pPr>
            <a:r>
              <a:rPr lang="es-GT" sz="1700" b="1" dirty="0">
                <a:solidFill>
                  <a:srgbClr val="0385B3"/>
                </a:solidFill>
              </a:rPr>
              <a:t>En control de aduanas, se automatizó el registro de operadores, continúa con el fortalecimiento de la integración y facilitación del comercio de C.A, y la simplificación, automatización y transparencia en el ingreso y salida de carga.</a:t>
            </a:r>
          </a:p>
          <a:p>
            <a:pPr marL="285750" lvl="0" indent="-285750" algn="just">
              <a:buFont typeface="Arial" panose="020B0604020202020204" pitchFamily="34" charset="0"/>
              <a:buChar char="•"/>
            </a:pPr>
            <a:r>
              <a:rPr lang="es-GT" sz="1700" b="1" dirty="0">
                <a:solidFill>
                  <a:srgbClr val="0B3963"/>
                </a:solidFill>
              </a:rPr>
              <a:t>En fiscalización se han programado auditorias y se desarrolló un anexo al formulario de declaración jurada anual del ISR, se implementará el sistema integrado de fiscalización dinámica . </a:t>
            </a:r>
          </a:p>
          <a:p>
            <a:pPr marL="285750" indent="-285750">
              <a:buFont typeface="Arial" panose="020B0604020202020204" pitchFamily="34" charset="0"/>
              <a:buChar char="•"/>
            </a:pPr>
            <a:endParaRPr lang="es-GT" sz="1700" dirty="0">
              <a:solidFill>
                <a:srgbClr val="0B3963"/>
              </a:solidFill>
            </a:endParaRPr>
          </a:p>
        </p:txBody>
      </p:sp>
    </p:spTree>
    <p:custDataLst>
      <p:tags r:id="rId2"/>
    </p:custDataLst>
    <p:extLst>
      <p:ext uri="{BB962C8B-B14F-4D97-AF65-F5344CB8AC3E}">
        <p14:creationId xmlns:p14="http://schemas.microsoft.com/office/powerpoint/2010/main" val="32991880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276</TotalTime>
  <Words>2619</Words>
  <Application>Microsoft Macintosh PowerPoint</Application>
  <PresentationFormat>Panorámica</PresentationFormat>
  <Paragraphs>714</Paragraphs>
  <Slides>34</Slides>
  <Notes>25</Notes>
  <HiddenSlides>0</HiddenSlides>
  <MMClips>0</MMClips>
  <ScaleCrop>false</ScaleCrop>
  <HeadingPairs>
    <vt:vector size="8" baseType="variant">
      <vt:variant>
        <vt:lpstr>Fuentes usadas</vt:lpstr>
      </vt:variant>
      <vt:variant>
        <vt:i4>2</vt:i4>
      </vt:variant>
      <vt:variant>
        <vt:lpstr>Tema</vt:lpstr>
      </vt:variant>
      <vt:variant>
        <vt:i4>1</vt:i4>
      </vt:variant>
      <vt:variant>
        <vt:lpstr>Servidores OLE incrustados</vt:lpstr>
      </vt:variant>
      <vt:variant>
        <vt:i4>1</vt:i4>
      </vt:variant>
      <vt:variant>
        <vt:lpstr>Títulos de diapositiva</vt:lpstr>
      </vt:variant>
      <vt:variant>
        <vt:i4>34</vt:i4>
      </vt:variant>
    </vt:vector>
  </HeadingPairs>
  <TitlesOfParts>
    <vt:vector size="38" baseType="lpstr">
      <vt:lpstr>Arial</vt:lpstr>
      <vt:lpstr>Calibri</vt:lpstr>
      <vt:lpstr>Tema de Office</vt:lpstr>
      <vt:lpstr>Diapositiva de think-cell</vt:lpstr>
      <vt:lpstr>FORO  Macroeconómico y Fiscal</vt:lpstr>
      <vt:lpstr>Cuentas fiscales  para 2021 </vt:lpstr>
      <vt:lpstr>Asignación de 2021 opera con presupuesto de 2020</vt:lpstr>
      <vt:lpstr>Asignación de 2021 opera con presupuesto de 2020</vt:lpstr>
      <vt:lpstr>Modificaciones al presupuesto para viabilizar su ejecución en 2021</vt:lpstr>
      <vt:lpstr>Recaudación a julio 2021 muestra un alto dinamismo</vt:lpstr>
      <vt:lpstr>La brecha de recaudación tributaria respecto a la meta de presupuesto es positiva a julio y asciende a Q7,412.5 millones</vt:lpstr>
      <vt:lpstr>Evolución de las perspectivas macroeconómicas para 2021</vt:lpstr>
      <vt:lpstr>SAT implementó acciones establecidas en el Plan Operativo Anual que permitirán superar la meta establecida para 2021.</vt:lpstr>
      <vt:lpstr>Evolución de la recaudación en 2020-2021</vt:lpstr>
      <vt:lpstr>Gasto público 2021 crece a pesar de la restricción presupuestaria</vt:lpstr>
      <vt:lpstr>Las perspectivas fiscales para 2021 dan señales de consolidación fiscal</vt:lpstr>
      <vt:lpstr>Presentación de PowerPoint</vt:lpstr>
      <vt:lpstr>Presentación de PowerPoint</vt:lpstr>
      <vt:lpstr>Escenario de riesgo por variantes de COVID en 2021 </vt:lpstr>
      <vt:lpstr>La Pandemia del COVID-19 sigue influyendo en el comportamiento económico</vt:lpstr>
      <vt:lpstr>Presentación de PowerPoint</vt:lpstr>
      <vt:lpstr>Presentación de PowerPoint</vt:lpstr>
      <vt:lpstr>Supuestos y descripción  general del Proyecto de Presupuesto 2022</vt:lpstr>
      <vt:lpstr>Perspectivas macroeconómicas</vt:lpstr>
      <vt:lpstr>Perspectivas macroeconómicas</vt:lpstr>
      <vt:lpstr>Escenarios macro cambian estimaciones de carga tributaria</vt:lpstr>
      <vt:lpstr>Comportamiento histórico de la recaudación tributaria</vt:lpstr>
      <vt:lpstr>Financiamiento de los Techos Presupuestarios</vt:lpstr>
      <vt:lpstr>Presentación de PowerPoint</vt:lpstr>
      <vt:lpstr>Presentación de PowerPoint</vt:lpstr>
      <vt:lpstr>Presentación de PowerPoint</vt:lpstr>
      <vt:lpstr>Proyección  de Mediano plazo</vt:lpstr>
      <vt:lpstr>Perspectivas macroeconómicas</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uatemala   Desempeño Económico</dc:title>
  <dc:creator>raimundo rodas anleu</dc:creator>
  <cp:lastModifiedBy>Microsoft Office User</cp:lastModifiedBy>
  <cp:revision>32</cp:revision>
  <cp:lastPrinted>2021-07-21T14:27:35Z</cp:lastPrinted>
  <dcterms:created xsi:type="dcterms:W3CDTF">2021-07-08T15:51:27Z</dcterms:created>
  <dcterms:modified xsi:type="dcterms:W3CDTF">2021-08-25T14:44:10Z</dcterms:modified>
</cp:coreProperties>
</file>